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15" r:id="rId4"/>
  </p:sldMasterIdLst>
  <p:notesMasterIdLst>
    <p:notesMasterId r:id="rId127"/>
  </p:notesMasterIdLst>
  <p:handoutMasterIdLst>
    <p:handoutMasterId r:id="rId128"/>
  </p:handoutMasterIdLst>
  <p:sldIdLst>
    <p:sldId id="1881" r:id="rId5"/>
    <p:sldId id="2076136514" r:id="rId6"/>
    <p:sldId id="2076136515" r:id="rId7"/>
    <p:sldId id="2076137610" r:id="rId8"/>
    <p:sldId id="2076137606" r:id="rId9"/>
    <p:sldId id="2076137575" r:id="rId10"/>
    <p:sldId id="2076137531" r:id="rId11"/>
    <p:sldId id="2076137532" r:id="rId12"/>
    <p:sldId id="2076137576" r:id="rId13"/>
    <p:sldId id="2076137577" r:id="rId14"/>
    <p:sldId id="2076137570" r:id="rId15"/>
    <p:sldId id="2076136529" r:id="rId16"/>
    <p:sldId id="10812" r:id="rId17"/>
    <p:sldId id="2076137634" r:id="rId18"/>
    <p:sldId id="2076137615" r:id="rId19"/>
    <p:sldId id="2076137619" r:id="rId20"/>
    <p:sldId id="2076137583" r:id="rId21"/>
    <p:sldId id="2076137584" r:id="rId22"/>
    <p:sldId id="2076137585" r:id="rId23"/>
    <p:sldId id="2076137586" r:id="rId24"/>
    <p:sldId id="2076137587" r:id="rId25"/>
    <p:sldId id="2076137588" r:id="rId26"/>
    <p:sldId id="2076137601" r:id="rId27"/>
    <p:sldId id="2076137612" r:id="rId28"/>
    <p:sldId id="10351" r:id="rId29"/>
    <p:sldId id="2076136517" r:id="rId30"/>
    <p:sldId id="2076137635" r:id="rId31"/>
    <p:sldId id="2076137591" r:id="rId32"/>
    <p:sldId id="2076136533" r:id="rId33"/>
    <p:sldId id="1560" r:id="rId34"/>
    <p:sldId id="2076137636" r:id="rId35"/>
    <p:sldId id="2076137592" r:id="rId36"/>
    <p:sldId id="2076137589" r:id="rId37"/>
    <p:sldId id="2076137595" r:id="rId38"/>
    <p:sldId id="2076137593" r:id="rId39"/>
    <p:sldId id="10865" r:id="rId40"/>
    <p:sldId id="1600" r:id="rId41"/>
    <p:sldId id="2076137637" r:id="rId42"/>
    <p:sldId id="10819" r:id="rId43"/>
    <p:sldId id="10820" r:id="rId44"/>
    <p:sldId id="10821" r:id="rId45"/>
    <p:sldId id="8314" r:id="rId46"/>
    <p:sldId id="2076137518" r:id="rId47"/>
    <p:sldId id="10885" r:id="rId48"/>
    <p:sldId id="10871" r:id="rId49"/>
    <p:sldId id="2076136522" r:id="rId50"/>
    <p:sldId id="2076137638" r:id="rId51"/>
    <p:sldId id="2076137598" r:id="rId52"/>
    <p:sldId id="2076137604" r:id="rId53"/>
    <p:sldId id="2076136523" r:id="rId54"/>
    <p:sldId id="2076137639" r:id="rId55"/>
    <p:sldId id="2076137597" r:id="rId56"/>
    <p:sldId id="2076137644" r:id="rId57"/>
    <p:sldId id="2076137643" r:id="rId58"/>
    <p:sldId id="10896" r:id="rId59"/>
    <p:sldId id="2076137640" r:id="rId60"/>
    <p:sldId id="10350" r:id="rId61"/>
    <p:sldId id="10897" r:id="rId62"/>
    <p:sldId id="10910" r:id="rId63"/>
    <p:sldId id="10825" r:id="rId64"/>
    <p:sldId id="10830" r:id="rId65"/>
    <p:sldId id="2076137641" r:id="rId66"/>
    <p:sldId id="4586" r:id="rId67"/>
    <p:sldId id="4587" r:id="rId68"/>
    <p:sldId id="10888" r:id="rId69"/>
    <p:sldId id="4589" r:id="rId70"/>
    <p:sldId id="4590" r:id="rId71"/>
    <p:sldId id="4591" r:id="rId72"/>
    <p:sldId id="4592" r:id="rId73"/>
    <p:sldId id="4594" r:id="rId74"/>
    <p:sldId id="1571" r:id="rId75"/>
    <p:sldId id="4575" r:id="rId76"/>
    <p:sldId id="4576" r:id="rId77"/>
    <p:sldId id="4577" r:id="rId78"/>
    <p:sldId id="4578" r:id="rId79"/>
    <p:sldId id="1619" r:id="rId80"/>
    <p:sldId id="4585" r:id="rId81"/>
    <p:sldId id="4579" r:id="rId82"/>
    <p:sldId id="4580" r:id="rId83"/>
    <p:sldId id="4581" r:id="rId84"/>
    <p:sldId id="4582" r:id="rId85"/>
    <p:sldId id="4583" r:id="rId86"/>
    <p:sldId id="4584" r:id="rId87"/>
    <p:sldId id="10831" r:id="rId88"/>
    <p:sldId id="2076137630" r:id="rId89"/>
    <p:sldId id="10832" r:id="rId90"/>
    <p:sldId id="318" r:id="rId91"/>
    <p:sldId id="319" r:id="rId92"/>
    <p:sldId id="275" r:id="rId93"/>
    <p:sldId id="320" r:id="rId94"/>
    <p:sldId id="321" r:id="rId95"/>
    <p:sldId id="10833" r:id="rId96"/>
    <p:sldId id="10834" r:id="rId97"/>
    <p:sldId id="10835" r:id="rId98"/>
    <p:sldId id="10836" r:id="rId99"/>
    <p:sldId id="10837" r:id="rId100"/>
    <p:sldId id="10838" r:id="rId101"/>
    <p:sldId id="10334" r:id="rId102"/>
    <p:sldId id="10338" r:id="rId103"/>
    <p:sldId id="10839" r:id="rId104"/>
    <p:sldId id="10840" r:id="rId105"/>
    <p:sldId id="10841" r:id="rId106"/>
    <p:sldId id="286" r:id="rId107"/>
    <p:sldId id="2076137642" r:id="rId108"/>
    <p:sldId id="2076137620" r:id="rId109"/>
    <p:sldId id="10855" r:id="rId110"/>
    <p:sldId id="276" r:id="rId111"/>
    <p:sldId id="287" r:id="rId112"/>
    <p:sldId id="10854" r:id="rId113"/>
    <p:sldId id="302" r:id="rId114"/>
    <p:sldId id="303" r:id="rId115"/>
    <p:sldId id="309" r:id="rId116"/>
    <p:sldId id="283" r:id="rId117"/>
    <p:sldId id="298" r:id="rId118"/>
    <p:sldId id="299" r:id="rId119"/>
    <p:sldId id="10843" r:id="rId120"/>
    <p:sldId id="2076137559" r:id="rId121"/>
    <p:sldId id="2076137609" r:id="rId122"/>
    <p:sldId id="2076137563" r:id="rId123"/>
    <p:sldId id="2076137633" r:id="rId124"/>
    <p:sldId id="2076137645" r:id="rId125"/>
    <p:sldId id="1532" r:id="rId126"/>
  </p:sldIdLst>
  <p:sldSz cx="12192000" cy="6858000"/>
  <p:notesSz cx="6781800" cy="9067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Overview" id="{4EE615CB-7659-44EF-B34A-49148A2EC232}">
          <p14:sldIdLst>
            <p14:sldId id="1881"/>
            <p14:sldId id="2076136514"/>
            <p14:sldId id="2076136515"/>
            <p14:sldId id="2076137610"/>
            <p14:sldId id="2076137606"/>
            <p14:sldId id="2076137575"/>
            <p14:sldId id="2076137531"/>
            <p14:sldId id="2076137532"/>
            <p14:sldId id="2076137576"/>
            <p14:sldId id="2076137577"/>
            <p14:sldId id="2076137570"/>
            <p14:sldId id="2076136529"/>
          </p14:sldIdLst>
        </p14:section>
        <p14:section name="Section 2 Your first VA" id="{15176BF1-137A-4E0C-A30C-3AE3DD344FE5}">
          <p14:sldIdLst>
            <p14:sldId id="10812"/>
            <p14:sldId id="2076137634"/>
            <p14:sldId id="2076137615"/>
            <p14:sldId id="2076137619"/>
            <p14:sldId id="2076137583"/>
            <p14:sldId id="2076137584"/>
            <p14:sldId id="2076137585"/>
            <p14:sldId id="2076137586"/>
            <p14:sldId id="2076137587"/>
            <p14:sldId id="2076137588"/>
            <p14:sldId id="2076137601"/>
            <p14:sldId id="2076137612"/>
            <p14:sldId id="10351"/>
          </p14:sldIdLst>
        </p14:section>
        <p14:section name="Section 3 Topic suggestions" id="{3BD54119-547D-44B8-A93A-A1D501E734E0}">
          <p14:sldIdLst>
            <p14:sldId id="2076136517"/>
            <p14:sldId id="2076137635"/>
            <p14:sldId id="2076137591"/>
            <p14:sldId id="2076136533"/>
          </p14:sldIdLst>
        </p14:section>
        <p14:section name="Section 4 Variable and more" id="{8CFC7B64-555E-4CD4-BCE2-1210B4435AE0}">
          <p14:sldIdLst>
            <p14:sldId id="1560"/>
            <p14:sldId id="2076137636"/>
            <p14:sldId id="2076137592"/>
            <p14:sldId id="2076137589"/>
            <p14:sldId id="2076137595"/>
            <p14:sldId id="2076137593"/>
            <p14:sldId id="10865"/>
          </p14:sldIdLst>
        </p14:section>
        <p14:section name="Section 5 Power Automate" id="{C8535396-7A3B-4A78-86E0-77C26DEAE474}">
          <p14:sldIdLst>
            <p14:sldId id="1600"/>
            <p14:sldId id="2076137637"/>
            <p14:sldId id="10819"/>
            <p14:sldId id="10820"/>
            <p14:sldId id="10821"/>
            <p14:sldId id="8314"/>
            <p14:sldId id="2076137518"/>
            <p14:sldId id="10885"/>
            <p14:sldId id="10871"/>
          </p14:sldIdLst>
        </p14:section>
        <p14:section name="Section 6 Authentcation" id="{1664F4FD-7206-4295-8761-AF609FE2B37D}">
          <p14:sldIdLst>
            <p14:sldId id="2076136522"/>
            <p14:sldId id="2076137638"/>
            <p14:sldId id="2076137598"/>
            <p14:sldId id="2076137604"/>
          </p14:sldIdLst>
        </p14:section>
        <p14:section name="Section 7 Hand off to Omnichannel" id="{2C704EF1-97D7-4DEC-B0B1-9845F8D71255}">
          <p14:sldIdLst>
            <p14:sldId id="2076136523"/>
            <p14:sldId id="2076137639"/>
            <p14:sldId id="2076137597"/>
            <p14:sldId id="2076137644"/>
            <p14:sldId id="2076137643"/>
          </p14:sldIdLst>
        </p14:section>
        <p14:section name="Section 8 Topic Design" id="{4970B7F3-B929-48E7-BB58-FD55661B5508}">
          <p14:sldIdLst>
            <p14:sldId id="10896"/>
            <p14:sldId id="2076137640"/>
            <p14:sldId id="10350"/>
            <p14:sldId id="10897"/>
            <p14:sldId id="10910"/>
            <p14:sldId id="10825"/>
          </p14:sldIdLst>
        </p14:section>
        <p14:section name="Section 9 Triggering" id="{FB733C8D-BDE1-41A8-B639-7E66AA9FC3F7}">
          <p14:sldIdLst>
            <p14:sldId id="10830"/>
            <p14:sldId id="2076137641"/>
            <p14:sldId id="4586"/>
            <p14:sldId id="4587"/>
            <p14:sldId id="10888"/>
            <p14:sldId id="4589"/>
            <p14:sldId id="4590"/>
            <p14:sldId id="4591"/>
            <p14:sldId id="4592"/>
            <p14:sldId id="4594"/>
            <p14:sldId id="1571"/>
            <p14:sldId id="4575"/>
            <p14:sldId id="4576"/>
            <p14:sldId id="4577"/>
            <p14:sldId id="4578"/>
            <p14:sldId id="1619"/>
            <p14:sldId id="4585"/>
            <p14:sldId id="4579"/>
            <p14:sldId id="4580"/>
            <p14:sldId id="4581"/>
            <p14:sldId id="4582"/>
            <p14:sldId id="4583"/>
            <p14:sldId id="4584"/>
          </p14:sldIdLst>
        </p14:section>
        <p14:section name="Section 10 Conversation Style" id="{33BB268C-F1AF-4576-A834-D8F14839B5F9}">
          <p14:sldIdLst>
            <p14:sldId id="10831"/>
            <p14:sldId id="2076137630"/>
            <p14:sldId id="10832"/>
            <p14:sldId id="318"/>
            <p14:sldId id="319"/>
            <p14:sldId id="275"/>
            <p14:sldId id="320"/>
            <p14:sldId id="321"/>
            <p14:sldId id="10833"/>
            <p14:sldId id="10834"/>
            <p14:sldId id="10835"/>
            <p14:sldId id="10836"/>
            <p14:sldId id="10837"/>
            <p14:sldId id="10838"/>
            <p14:sldId id="10334"/>
            <p14:sldId id="10338"/>
            <p14:sldId id="10839"/>
            <p14:sldId id="10840"/>
            <p14:sldId id="10841"/>
          </p14:sldIdLst>
        </p14:section>
        <p14:section name="Section 11 Analytics" id="{046AB642-0514-4279-A589-41D7086F03EC}">
          <p14:sldIdLst>
            <p14:sldId id="286"/>
            <p14:sldId id="2076137642"/>
            <p14:sldId id="2076137620"/>
            <p14:sldId id="10855"/>
            <p14:sldId id="276"/>
            <p14:sldId id="287"/>
            <p14:sldId id="10854"/>
            <p14:sldId id="302"/>
            <p14:sldId id="303"/>
            <p14:sldId id="309"/>
            <p14:sldId id="283"/>
            <p14:sldId id="298"/>
            <p14:sldId id="299"/>
          </p14:sldIdLst>
        </p14:section>
        <p14:section name="Closing" id="{ED26163F-0956-4B62-9B29-550B085C8CED}">
          <p14:sldIdLst>
            <p14:sldId id="10843"/>
            <p14:sldId id="2076137559"/>
            <p14:sldId id="2076137609"/>
            <p14:sldId id="2076137563"/>
            <p14:sldId id="2076137633"/>
            <p14:sldId id="2076137645"/>
            <p14:sldId id="15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9885" userDrawn="1">
          <p15:clr>
            <a:srgbClr val="A4A3A4"/>
          </p15:clr>
        </p15:guide>
        <p15:guide id="2" pos="218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83CC06-4578-DF07-AED7-718D17A5F58B}" name="Lan Li (AI)" initials="L(" userId="S::lali@microsoft.com::ec6ad8ba-17e7-48f9-b472-64daf38a1647" providerId="AD"/>
  <p188:author id="{7EC4DA09-A143-8FFA-254E-10C8880A7B10}" name="Saku Uchikawa" initials="SU" userId="Anonymous_Saku Uchikawa" providerId="None"/>
  <p188:author id="{A55FE20D-D09E-25BB-92E7-7763C68620BD}" name="Murali Kumanduri" initials="MK" userId="S::murkum@microsoft.com::0587bd0b-6f86-4564-880f-e028cf2814af" providerId="AD"/>
  <p188:author id="{1B8D6913-5A34-4A20-66E3-E0FBE2D82C41}" name="Tianyun Lan (Adequada)" initials="TL(" userId="Tianyun Lan (Adequada)" providerId="None"/>
  <p188:author id="{C43C8014-8070-87A5-C548-986AFAFB40DB}" name="Omar Aftab" initials="OA" userId="S-1-5-21-2127521184-1604012920-1887927527-1243354" providerId="AD"/>
  <p188:author id="{2EFD172E-C533-0181-99D3-961D485BFB69}" name="Monica Lueder" initials="ML" userId="S-1-5-21-2127521184-1604012920-1887927527-2598260" providerId="AD"/>
  <p188:author id="{84DC5844-E5B7-2474-2176-EC54CF0FF595}" name="Philippe Brissaud" initials="PB" userId="S::philibri@microsoft.com::1f09da7b-259c-40fc-adc9-34b7a91c25dd" providerId="AD"/>
  <p188:author id="{5C10875E-D716-5151-F449-DD320172926B}" name="RJ Taylor" initials="RT" userId="S::rtaylor@allytics.com::3d481f19-f3f8-4727-aba4-8e14ecdf8fc6" providerId="AD"/>
  <p188:author id="{B3D18764-E50E-DF36-9CE8-061B19BE6AF6}" name="Mary Feil-Jacobs" initials="MFJ" userId="Anonymous_Mary Feil-Jacobs" providerId="None"/>
  <p188:author id="{1925B283-9136-614F-F273-EC82A49B765B}" name="Joel Schaeffer" initials="JS" userId="S::joelsch@microsoft.com::43f845d5-e08e-4884-84c8-2d8183b02b00" providerId="AD"/>
  <p188:author id="{6EE97C85-23B3-5BE9-FD1A-901E29CB6694}" name="Javann Jones" initials="JJ" userId="S::jjones@allytics.com::9c7d6b89-6281-4c3e-b718-70746d020c2b" providerId="AD"/>
  <p188:author id="{BA4DA892-F4F4-8B6C-2489-55441FB0A538}" name="Sally Shi" initials="SS" userId="S::sashi@microsoft.com::3dd53fc4-fdbd-42d3-9029-c880e2f871dc" providerId="AD"/>
  <p188:author id="{753DF1B6-ABFD-7668-9B23-AAE0AC5C0E9D}" name="Kathy Osborne" initials="KO" userId="S::kathyos@microsoft.com::5e652ab2-ef5c-43e0-afa2-e7467460655f" providerId="AD"/>
  <p188:author id="{371930C0-DEF3-A569-E7F7-B90F655CA329}" name="Tianyun Lan (Adequada)" initials="T(" userId="S::v-tianla@microsoft.com::7750e24d-3367-44fd-abf2-5fb4d1288d57" providerId="AD"/>
  <p188:author id="{BC8180DC-BE10-1821-D834-2E94554B023A}" name="Andrey Meleshko" initials="AM" userId="S::andreym@microsoft.com::e1cbb394-2fd3-4c12-8421-6f1cf7b02bf3" providerId="AD"/>
  <p188:author id="{903D06F5-1E01-5A4A-2E05-DDFB59BD23BB}" name="Mary Feil-Jacobs" initials="MF" userId="S-1-5-21-2127521184-1604012920-1887927527-65006" providerId="AD"/>
  <p188:author id="{446DC8FC-7093-E385-21EB-756D6FE5DCDB}" name="Frank Weigel" initials="FW [2]" userId="Frank Weigel"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Frank Weigel" initials="FW [2]" lastIdx="28" clrIdx="4">
    <p:extLst>
      <p:ext uri="{19B8F6BF-5375-455C-9EA6-DF929625EA0E}">
        <p15:presenceInfo xmlns:p15="http://schemas.microsoft.com/office/powerpoint/2012/main" userId="Frank Weigel" providerId="None"/>
      </p:ext>
    </p:extLst>
  </p:cmAuthor>
  <p:cmAuthor id="5" name="Omar Aftab" initials="OA" lastIdx="2" clrIdx="5">
    <p:extLst>
      <p:ext uri="{19B8F6BF-5375-455C-9EA6-DF929625EA0E}">
        <p15:presenceInfo xmlns:p15="http://schemas.microsoft.com/office/powerpoint/2012/main" userId="S-1-5-21-2127521184-1604012920-1887927527-1243354" providerId="AD"/>
      </p:ext>
    </p:extLst>
  </p:cmAuthor>
  <p:cmAuthor id="6" name="RJ Taylor" initials="RT" lastIdx="13" clrIdx="6">
    <p:extLst>
      <p:ext uri="{19B8F6BF-5375-455C-9EA6-DF929625EA0E}">
        <p15:presenceInfo xmlns:p15="http://schemas.microsoft.com/office/powerpoint/2012/main" userId="S::rtaylor@allytics.com::3d481f19-f3f8-4727-aba4-8e14ecdf8fc6" providerId="AD"/>
      </p:ext>
    </p:extLst>
  </p:cmAuthor>
  <p:cmAuthor id="7" name="Javann Jones" initials="JJ" lastIdx="1" clrIdx="7">
    <p:extLst>
      <p:ext uri="{19B8F6BF-5375-455C-9EA6-DF929625EA0E}">
        <p15:presenceInfo xmlns:p15="http://schemas.microsoft.com/office/powerpoint/2012/main" userId="S::jjones@allytics.com::9c7d6b89-6281-4c3e-b718-70746d020c2b" providerId="AD"/>
      </p:ext>
    </p:extLst>
  </p:cmAuthor>
  <p:cmAuthor id="8" name="Sally Shi" initials="SS" lastIdx="11" clrIdx="8">
    <p:extLst>
      <p:ext uri="{19B8F6BF-5375-455C-9EA6-DF929625EA0E}">
        <p15:presenceInfo xmlns:p15="http://schemas.microsoft.com/office/powerpoint/2012/main" userId="S::sashi@microsoft.com::3dd53fc4-fdbd-42d3-9029-c880e2f871dc" providerId="AD"/>
      </p:ext>
    </p:extLst>
  </p:cmAuthor>
  <p:cmAuthor id="9" name="Andrey Meleshko" initials="AM" lastIdx="3" clrIdx="9">
    <p:extLst>
      <p:ext uri="{19B8F6BF-5375-455C-9EA6-DF929625EA0E}">
        <p15:presenceInfo xmlns:p15="http://schemas.microsoft.com/office/powerpoint/2012/main" userId="S::andreym@microsoft.com::e1cbb394-2fd3-4c12-8421-6f1cf7b02bf3" providerId="AD"/>
      </p:ext>
    </p:extLst>
  </p:cmAuthor>
  <p:cmAuthor id="10" name="Tianyun Lan (Adequada)" initials="T(" lastIdx="1" clrIdx="10">
    <p:extLst>
      <p:ext uri="{19B8F6BF-5375-455C-9EA6-DF929625EA0E}">
        <p15:presenceInfo xmlns:p15="http://schemas.microsoft.com/office/powerpoint/2012/main" userId="S::v-tianla@microsoft.com::7750e24d-3367-44fd-abf2-5fb4d1288d57" providerId="AD"/>
      </p:ext>
    </p:extLst>
  </p:cmAuthor>
  <p:cmAuthor id="11" name="Murali Kumanduri" initials="MK" lastIdx="1" clrIdx="11">
    <p:extLst>
      <p:ext uri="{19B8F6BF-5375-455C-9EA6-DF929625EA0E}">
        <p15:presenceInfo xmlns:p15="http://schemas.microsoft.com/office/powerpoint/2012/main" userId="S::murkum@microsoft.com::0587bd0b-6f86-4564-880f-e028cf2814af" providerId="AD"/>
      </p:ext>
    </p:extLst>
  </p:cmAuthor>
  <p:cmAuthor id="12" name="Tianyun Lan (Adequada)" initials="TL(" lastIdx="4" clrIdx="12">
    <p:extLst>
      <p:ext uri="{19B8F6BF-5375-455C-9EA6-DF929625EA0E}">
        <p15:presenceInfo xmlns:p15="http://schemas.microsoft.com/office/powerpoint/2012/main" userId="Tianyun Lan (Adequada)" providerId="None"/>
      </p:ext>
    </p:extLst>
  </p:cmAuthor>
  <p:cmAuthor id="13" name="Philippe Brissaud" initials="PB" lastIdx="8" clrIdx="13">
    <p:extLst>
      <p:ext uri="{19B8F6BF-5375-455C-9EA6-DF929625EA0E}">
        <p15:presenceInfo xmlns:p15="http://schemas.microsoft.com/office/powerpoint/2012/main" userId="S::philibri@microsoft.com::1f09da7b-259c-40fc-adc9-34b7a91c25dd" providerId="AD"/>
      </p:ext>
    </p:extLst>
  </p:cmAuthor>
  <p:cmAuthor id="14" name="Joel Schaeffer" initials="JS" lastIdx="7" clrIdx="14">
    <p:extLst>
      <p:ext uri="{19B8F6BF-5375-455C-9EA6-DF929625EA0E}">
        <p15:presenceInfo xmlns:p15="http://schemas.microsoft.com/office/powerpoint/2012/main" userId="S::joelsch@microsoft.com::43f845d5-e08e-4884-84c8-2d8183b02b00" providerId="AD"/>
      </p:ext>
    </p:extLst>
  </p:cmAuthor>
  <p:cmAuthor id="15" name="Lan Li (AI)" initials="L(" lastIdx="5" clrIdx="15">
    <p:extLst>
      <p:ext uri="{19B8F6BF-5375-455C-9EA6-DF929625EA0E}">
        <p15:presenceInfo xmlns:p15="http://schemas.microsoft.com/office/powerpoint/2012/main" userId="S::lali@microsoft.com::ec6ad8ba-17e7-48f9-b472-64daf38a16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F6F9"/>
    <a:srgbClr val="FFFFFF"/>
    <a:srgbClr val="0B556A"/>
    <a:srgbClr val="959595"/>
    <a:srgbClr val="B7B7B7"/>
    <a:srgbClr val="FBFBFB"/>
    <a:srgbClr val="D9D9D9"/>
    <a:srgbClr val="B9B9B9"/>
    <a:srgbClr val="FF0000"/>
    <a:srgbClr val="007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7EAB63-3268-4C19-8418-0D6F9405B2D6}" v="4" dt="2020-03-28T02:21:45.6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13" autoAdjust="0"/>
    <p:restoredTop sz="74707" autoAdjust="0"/>
  </p:normalViewPr>
  <p:slideViewPr>
    <p:cSldViewPr snapToGrid="0">
      <p:cViewPr varScale="1">
        <p:scale>
          <a:sx n="50" d="100"/>
          <a:sy n="50" d="100"/>
        </p:scale>
        <p:origin x="1278" y="2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9885"/>
        <p:guide pos="218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handoutMaster" Target="handoutMasters/handout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slide" Target="slides/slide122.xml"/><Relationship Id="rId13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presProps" Target="presProps.xml"/><Relationship Id="rId13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viewProps" Target="viewProps.xml"/><Relationship Id="rId136"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lly Shi" userId="3dd53fc4-fdbd-42d3-9029-c880e2f871dc" providerId="ADAL" clId="{61AF1925-4BC6-4833-8A37-62DE6CE954DE}"/>
    <pc:docChg chg="undo custSel addSld delSld modSld sldOrd delSection modSection">
      <pc:chgData name="Sally Shi" userId="3dd53fc4-fdbd-42d3-9029-c880e2f871dc" providerId="ADAL" clId="{61AF1925-4BC6-4833-8A37-62DE6CE954DE}" dt="2020-03-14T00:30:17.673" v="385"/>
      <pc:docMkLst>
        <pc:docMk/>
      </pc:docMkLst>
      <pc:sldChg chg="del">
        <pc:chgData name="Sally Shi" userId="3dd53fc4-fdbd-42d3-9029-c880e2f871dc" providerId="ADAL" clId="{61AF1925-4BC6-4833-8A37-62DE6CE954DE}" dt="2020-03-13T23:40:10.151" v="354" actId="47"/>
        <pc:sldMkLst>
          <pc:docMk/>
          <pc:sldMk cId="2634707494" sldId="272"/>
        </pc:sldMkLst>
      </pc:sldChg>
      <pc:sldChg chg="add">
        <pc:chgData name="Sally Shi" userId="3dd53fc4-fdbd-42d3-9029-c880e2f871dc" providerId="ADAL" clId="{61AF1925-4BC6-4833-8A37-62DE6CE954DE}" dt="2020-03-13T23:39:44.098" v="353"/>
        <pc:sldMkLst>
          <pc:docMk/>
          <pc:sldMk cId="2577830251" sldId="276"/>
        </pc:sldMkLst>
      </pc:sldChg>
      <pc:sldChg chg="del">
        <pc:chgData name="Sally Shi" userId="3dd53fc4-fdbd-42d3-9029-c880e2f871dc" providerId="ADAL" clId="{61AF1925-4BC6-4833-8A37-62DE6CE954DE}" dt="2020-03-13T23:39:38.190" v="352" actId="2696"/>
        <pc:sldMkLst>
          <pc:docMk/>
          <pc:sldMk cId="3833191907" sldId="276"/>
        </pc:sldMkLst>
      </pc:sldChg>
      <pc:sldChg chg="del">
        <pc:chgData name="Sally Shi" userId="3dd53fc4-fdbd-42d3-9029-c880e2f871dc" providerId="ADAL" clId="{61AF1925-4BC6-4833-8A37-62DE6CE954DE}" dt="2020-03-13T23:40:12.182" v="355" actId="47"/>
        <pc:sldMkLst>
          <pc:docMk/>
          <pc:sldMk cId="2105770658" sldId="277"/>
        </pc:sldMkLst>
      </pc:sldChg>
      <pc:sldChg chg="add">
        <pc:chgData name="Sally Shi" userId="3dd53fc4-fdbd-42d3-9029-c880e2f871dc" providerId="ADAL" clId="{61AF1925-4BC6-4833-8A37-62DE6CE954DE}" dt="2020-03-13T23:39:44.098" v="353"/>
        <pc:sldMkLst>
          <pc:docMk/>
          <pc:sldMk cId="926709920" sldId="287"/>
        </pc:sldMkLst>
      </pc:sldChg>
      <pc:sldChg chg="del">
        <pc:chgData name="Sally Shi" userId="3dd53fc4-fdbd-42d3-9029-c880e2f871dc" providerId="ADAL" clId="{61AF1925-4BC6-4833-8A37-62DE6CE954DE}" dt="2020-03-13T23:39:38.190" v="352" actId="2696"/>
        <pc:sldMkLst>
          <pc:docMk/>
          <pc:sldMk cId="2468161513" sldId="287"/>
        </pc:sldMkLst>
      </pc:sldChg>
      <pc:sldChg chg="del">
        <pc:chgData name="Sally Shi" userId="3dd53fc4-fdbd-42d3-9029-c880e2f871dc" providerId="ADAL" clId="{61AF1925-4BC6-4833-8A37-62DE6CE954DE}" dt="2020-03-13T23:40:34.909" v="357" actId="47"/>
        <pc:sldMkLst>
          <pc:docMk/>
          <pc:sldMk cId="3329186295" sldId="295"/>
        </pc:sldMkLst>
      </pc:sldChg>
      <pc:sldChg chg="modSp mod">
        <pc:chgData name="Sally Shi" userId="3dd53fc4-fdbd-42d3-9029-c880e2f871dc" providerId="ADAL" clId="{61AF1925-4BC6-4833-8A37-62DE6CE954DE}" dt="2020-03-13T23:41:19.880" v="366" actId="20577"/>
        <pc:sldMkLst>
          <pc:docMk/>
          <pc:sldMk cId="2360380625" sldId="298"/>
        </pc:sldMkLst>
        <pc:spChg chg="mod">
          <ac:chgData name="Sally Shi" userId="3dd53fc4-fdbd-42d3-9029-c880e2f871dc" providerId="ADAL" clId="{61AF1925-4BC6-4833-8A37-62DE6CE954DE}" dt="2020-03-13T23:41:00.640" v="361" actId="20577"/>
          <ac:spMkLst>
            <pc:docMk/>
            <pc:sldMk cId="2360380625" sldId="298"/>
            <ac:spMk id="2" creationId="{24C7C901-A336-45DC-A4F0-EA1ECF67F755}"/>
          </ac:spMkLst>
        </pc:spChg>
        <pc:spChg chg="mod">
          <ac:chgData name="Sally Shi" userId="3dd53fc4-fdbd-42d3-9029-c880e2f871dc" providerId="ADAL" clId="{61AF1925-4BC6-4833-8A37-62DE6CE954DE}" dt="2020-03-13T23:41:19.880" v="366" actId="20577"/>
          <ac:spMkLst>
            <pc:docMk/>
            <pc:sldMk cId="2360380625" sldId="298"/>
            <ac:spMk id="19" creationId="{479362D3-77FC-41C9-9335-E2E12BA9E84E}"/>
          </ac:spMkLst>
        </pc:spChg>
      </pc:sldChg>
      <pc:sldChg chg="modSp mod">
        <pc:chgData name="Sally Shi" userId="3dd53fc4-fdbd-42d3-9029-c880e2f871dc" providerId="ADAL" clId="{61AF1925-4BC6-4833-8A37-62DE6CE954DE}" dt="2020-03-13T23:41:44.781" v="371" actId="20577"/>
        <pc:sldMkLst>
          <pc:docMk/>
          <pc:sldMk cId="3837525763" sldId="299"/>
        </pc:sldMkLst>
        <pc:spChg chg="mod">
          <ac:chgData name="Sally Shi" userId="3dd53fc4-fdbd-42d3-9029-c880e2f871dc" providerId="ADAL" clId="{61AF1925-4BC6-4833-8A37-62DE6CE954DE}" dt="2020-03-13T23:41:44.781" v="371" actId="20577"/>
          <ac:spMkLst>
            <pc:docMk/>
            <pc:sldMk cId="3837525763" sldId="299"/>
            <ac:spMk id="29" creationId="{404C93FC-23C1-4557-A82E-08FEF7E56426}"/>
          </ac:spMkLst>
        </pc:spChg>
      </pc:sldChg>
      <pc:sldChg chg="modSp mod">
        <pc:chgData name="Sally Shi" userId="3dd53fc4-fdbd-42d3-9029-c880e2f871dc" providerId="ADAL" clId="{61AF1925-4BC6-4833-8A37-62DE6CE954DE}" dt="2020-03-13T23:38:33.023" v="347" actId="108"/>
        <pc:sldMkLst>
          <pc:docMk/>
          <pc:sldMk cId="465348070" sldId="301"/>
        </pc:sldMkLst>
        <pc:spChg chg="mod">
          <ac:chgData name="Sally Shi" userId="3dd53fc4-fdbd-42d3-9029-c880e2f871dc" providerId="ADAL" clId="{61AF1925-4BC6-4833-8A37-62DE6CE954DE}" dt="2020-03-13T23:38:33.023" v="347" actId="108"/>
          <ac:spMkLst>
            <pc:docMk/>
            <pc:sldMk cId="465348070" sldId="301"/>
            <ac:spMk id="17" creationId="{B94C34F0-BCBF-441B-A79E-23E0CFDB7A52}"/>
          </ac:spMkLst>
        </pc:spChg>
      </pc:sldChg>
      <pc:sldChg chg="modSp">
        <pc:chgData name="Sally Shi" userId="3dd53fc4-fdbd-42d3-9029-c880e2f871dc" providerId="ADAL" clId="{61AF1925-4BC6-4833-8A37-62DE6CE954DE}" dt="2020-03-13T23:37:46.143" v="339" actId="207"/>
        <pc:sldMkLst>
          <pc:docMk/>
          <pc:sldMk cId="2871683913" sldId="303"/>
        </pc:sldMkLst>
        <pc:spChg chg="mod">
          <ac:chgData name="Sally Shi" userId="3dd53fc4-fdbd-42d3-9029-c880e2f871dc" providerId="ADAL" clId="{61AF1925-4BC6-4833-8A37-62DE6CE954DE}" dt="2020-03-13T23:37:46.143" v="339" actId="207"/>
          <ac:spMkLst>
            <pc:docMk/>
            <pc:sldMk cId="2871683913" sldId="303"/>
            <ac:spMk id="17" creationId="{7375B3EC-5E5C-4B7C-9905-8FF53F155401}"/>
          </ac:spMkLst>
        </pc:spChg>
      </pc:sldChg>
      <pc:sldChg chg="del">
        <pc:chgData name="Sally Shi" userId="3dd53fc4-fdbd-42d3-9029-c880e2f871dc" providerId="ADAL" clId="{61AF1925-4BC6-4833-8A37-62DE6CE954DE}" dt="2020-03-13T23:38:56.977" v="348" actId="47"/>
        <pc:sldMkLst>
          <pc:docMk/>
          <pc:sldMk cId="3765189294" sldId="304"/>
        </pc:sldMkLst>
      </pc:sldChg>
      <pc:sldChg chg="del">
        <pc:chgData name="Sally Shi" userId="3dd53fc4-fdbd-42d3-9029-c880e2f871dc" providerId="ADAL" clId="{61AF1925-4BC6-4833-8A37-62DE6CE954DE}" dt="2020-03-13T23:38:58.903" v="349" actId="47"/>
        <pc:sldMkLst>
          <pc:docMk/>
          <pc:sldMk cId="1605736352" sldId="305"/>
        </pc:sldMkLst>
      </pc:sldChg>
      <pc:sldChg chg="modSp mod">
        <pc:chgData name="Sally Shi" userId="3dd53fc4-fdbd-42d3-9029-c880e2f871dc" providerId="ADAL" clId="{61AF1925-4BC6-4833-8A37-62DE6CE954DE}" dt="2020-03-13T23:39:06.404" v="351" actId="20577"/>
        <pc:sldMkLst>
          <pc:docMk/>
          <pc:sldMk cId="1340112821" sldId="306"/>
        </pc:sldMkLst>
        <pc:spChg chg="mod">
          <ac:chgData name="Sally Shi" userId="3dd53fc4-fdbd-42d3-9029-c880e2f871dc" providerId="ADAL" clId="{61AF1925-4BC6-4833-8A37-62DE6CE954DE}" dt="2020-03-13T23:39:06.404" v="351" actId="20577"/>
          <ac:spMkLst>
            <pc:docMk/>
            <pc:sldMk cId="1340112821" sldId="306"/>
            <ac:spMk id="2" creationId="{24C7C901-A336-45DC-A4F0-EA1ECF67F755}"/>
          </ac:spMkLst>
        </pc:spChg>
      </pc:sldChg>
      <pc:sldChg chg="del">
        <pc:chgData name="Sally Shi" userId="3dd53fc4-fdbd-42d3-9029-c880e2f871dc" providerId="ADAL" clId="{61AF1925-4BC6-4833-8A37-62DE6CE954DE}" dt="2020-03-13T23:40:30.385" v="356" actId="47"/>
        <pc:sldMkLst>
          <pc:docMk/>
          <pc:sldMk cId="1047126255" sldId="307"/>
        </pc:sldMkLst>
      </pc:sldChg>
      <pc:sldChg chg="modSp mod">
        <pc:chgData name="Sally Shi" userId="3dd53fc4-fdbd-42d3-9029-c880e2f871dc" providerId="ADAL" clId="{61AF1925-4BC6-4833-8A37-62DE6CE954DE}" dt="2020-03-13T23:40:52.794" v="359" actId="20577"/>
        <pc:sldMkLst>
          <pc:docMk/>
          <pc:sldMk cId="692036809" sldId="309"/>
        </pc:sldMkLst>
        <pc:spChg chg="mod">
          <ac:chgData name="Sally Shi" userId="3dd53fc4-fdbd-42d3-9029-c880e2f871dc" providerId="ADAL" clId="{61AF1925-4BC6-4833-8A37-62DE6CE954DE}" dt="2020-03-13T23:40:52.794" v="359" actId="20577"/>
          <ac:spMkLst>
            <pc:docMk/>
            <pc:sldMk cId="692036809" sldId="309"/>
            <ac:spMk id="2" creationId="{729E159D-BEC3-487F-9F23-AB0DEF2A2A31}"/>
          </ac:spMkLst>
        </pc:spChg>
      </pc:sldChg>
      <pc:sldChg chg="ord">
        <pc:chgData name="Sally Shi" userId="3dd53fc4-fdbd-42d3-9029-c880e2f871dc" providerId="ADAL" clId="{61AF1925-4BC6-4833-8A37-62DE6CE954DE}" dt="2020-03-13T23:33:46.456" v="322"/>
        <pc:sldMkLst>
          <pc:docMk/>
          <pc:sldMk cId="2402828649" sldId="1532"/>
        </pc:sldMkLst>
      </pc:sldChg>
      <pc:sldChg chg="modSp">
        <pc:chgData name="Sally Shi" userId="3dd53fc4-fdbd-42d3-9029-c880e2f871dc" providerId="ADAL" clId="{61AF1925-4BC6-4833-8A37-62DE6CE954DE}" dt="2020-03-13T22:04:39.170" v="111" actId="207"/>
        <pc:sldMkLst>
          <pc:docMk/>
          <pc:sldMk cId="969820851" sldId="1600"/>
        </pc:sldMkLst>
        <pc:spChg chg="mod">
          <ac:chgData name="Sally Shi" userId="3dd53fc4-fdbd-42d3-9029-c880e2f871dc" providerId="ADAL" clId="{61AF1925-4BC6-4833-8A37-62DE6CE954DE}" dt="2020-03-13T22:04:39.170" v="111" actId="207"/>
          <ac:spMkLst>
            <pc:docMk/>
            <pc:sldMk cId="969820851" sldId="1600"/>
            <ac:spMk id="13" creationId="{00000000-0000-0000-0000-000000000000}"/>
          </ac:spMkLst>
        </pc:spChg>
      </pc:sldChg>
      <pc:sldChg chg="modSp mod">
        <pc:chgData name="Sally Shi" userId="3dd53fc4-fdbd-42d3-9029-c880e2f871dc" providerId="ADAL" clId="{61AF1925-4BC6-4833-8A37-62DE6CE954DE}" dt="2020-03-13T21:31:48.292" v="0" actId="1076"/>
        <pc:sldMkLst>
          <pc:docMk/>
          <pc:sldMk cId="3494433497" sldId="1881"/>
        </pc:sldMkLst>
        <pc:spChg chg="mod">
          <ac:chgData name="Sally Shi" userId="3dd53fc4-fdbd-42d3-9029-c880e2f871dc" providerId="ADAL" clId="{61AF1925-4BC6-4833-8A37-62DE6CE954DE}" dt="2020-03-13T21:31:48.292" v="0" actId="1076"/>
          <ac:spMkLst>
            <pc:docMk/>
            <pc:sldMk cId="3494433497" sldId="1881"/>
            <ac:spMk id="4" creationId="{D25A7097-F128-44C8-9EE0-1A9AAF0AF864}"/>
          </ac:spMkLst>
        </pc:spChg>
      </pc:sldChg>
      <pc:sldChg chg="del">
        <pc:chgData name="Sally Shi" userId="3dd53fc4-fdbd-42d3-9029-c880e2f871dc" providerId="ADAL" clId="{61AF1925-4BC6-4833-8A37-62DE6CE954DE}" dt="2020-03-14T00:30:05.897" v="384" actId="47"/>
        <pc:sldMkLst>
          <pc:docMk/>
          <pc:sldMk cId="1054769440" sldId="4545"/>
        </pc:sldMkLst>
      </pc:sldChg>
      <pc:sldChg chg="delCm">
        <pc:chgData name="Sally Shi" userId="3dd53fc4-fdbd-42d3-9029-c880e2f871dc" providerId="ADAL" clId="{61AF1925-4BC6-4833-8A37-62DE6CE954DE}" dt="2020-03-13T22:56:35.274" v="170"/>
        <pc:sldMkLst>
          <pc:docMk/>
          <pc:sldMk cId="1789492706" sldId="4587"/>
        </pc:sldMkLst>
      </pc:sldChg>
      <pc:sldChg chg="modSp mod">
        <pc:chgData name="Sally Shi" userId="3dd53fc4-fdbd-42d3-9029-c880e2f871dc" providerId="ADAL" clId="{61AF1925-4BC6-4833-8A37-62DE6CE954DE}" dt="2020-03-13T22:58:49.012" v="200" actId="1076"/>
        <pc:sldMkLst>
          <pc:docMk/>
          <pc:sldMk cId="2331720465" sldId="10334"/>
        </pc:sldMkLst>
        <pc:spChg chg="mod">
          <ac:chgData name="Sally Shi" userId="3dd53fc4-fdbd-42d3-9029-c880e2f871dc" providerId="ADAL" clId="{61AF1925-4BC6-4833-8A37-62DE6CE954DE}" dt="2020-03-13T22:58:49.012" v="200" actId="1076"/>
          <ac:spMkLst>
            <pc:docMk/>
            <pc:sldMk cId="2331720465" sldId="10334"/>
            <ac:spMk id="3" creationId="{297CCD2F-4FFC-4862-93FF-E902150B6111}"/>
          </ac:spMkLst>
        </pc:spChg>
        <pc:graphicFrameChg chg="mod modGraphic">
          <ac:chgData name="Sally Shi" userId="3dd53fc4-fdbd-42d3-9029-c880e2f871dc" providerId="ADAL" clId="{61AF1925-4BC6-4833-8A37-62DE6CE954DE}" dt="2020-03-13T22:58:43.012" v="199" actId="14734"/>
          <ac:graphicFrameMkLst>
            <pc:docMk/>
            <pc:sldMk cId="2331720465" sldId="10334"/>
            <ac:graphicFrameMk id="12" creationId="{7AC6595A-BF02-4921-B4EA-B8E98171A2E4}"/>
          </ac:graphicFrameMkLst>
        </pc:graphicFrameChg>
      </pc:sldChg>
      <pc:sldChg chg="modSp mod">
        <pc:chgData name="Sally Shi" userId="3dd53fc4-fdbd-42d3-9029-c880e2f871dc" providerId="ADAL" clId="{61AF1925-4BC6-4833-8A37-62DE6CE954DE}" dt="2020-03-14T00:17:08.997" v="375" actId="20577"/>
        <pc:sldMkLst>
          <pc:docMk/>
          <pc:sldMk cId="1297548876" sldId="10351"/>
        </pc:sldMkLst>
        <pc:spChg chg="mod">
          <ac:chgData name="Sally Shi" userId="3dd53fc4-fdbd-42d3-9029-c880e2f871dc" providerId="ADAL" clId="{61AF1925-4BC6-4833-8A37-62DE6CE954DE}" dt="2020-03-14T00:17:08.997" v="375" actId="20577"/>
          <ac:spMkLst>
            <pc:docMk/>
            <pc:sldMk cId="1297548876" sldId="10351"/>
            <ac:spMk id="4" creationId="{75A51585-12F1-4EA5-9878-13AAC4ADC925}"/>
          </ac:spMkLst>
        </pc:spChg>
      </pc:sldChg>
      <pc:sldChg chg="addSp delSp">
        <pc:chgData name="Sally Shi" userId="3dd53fc4-fdbd-42d3-9029-c880e2f871dc" providerId="ADAL" clId="{61AF1925-4BC6-4833-8A37-62DE6CE954DE}" dt="2020-03-13T22:02:29.063" v="90"/>
        <pc:sldMkLst>
          <pc:docMk/>
          <pc:sldMk cId="1620372502" sldId="10819"/>
        </pc:sldMkLst>
        <pc:picChg chg="add del">
          <ac:chgData name="Sally Shi" userId="3dd53fc4-fdbd-42d3-9029-c880e2f871dc" providerId="ADAL" clId="{61AF1925-4BC6-4833-8A37-62DE6CE954DE}" dt="2020-03-13T22:02:29.063" v="90"/>
          <ac:picMkLst>
            <pc:docMk/>
            <pc:sldMk cId="1620372502" sldId="10819"/>
            <ac:picMk id="3" creationId="{EB44DE69-877F-4BEA-9A52-32D43BFBEF0C}"/>
          </ac:picMkLst>
        </pc:picChg>
      </pc:sldChg>
      <pc:sldChg chg="modSp mod">
        <pc:chgData name="Sally Shi" userId="3dd53fc4-fdbd-42d3-9029-c880e2f871dc" providerId="ADAL" clId="{61AF1925-4BC6-4833-8A37-62DE6CE954DE}" dt="2020-03-13T22:58:29.470" v="196" actId="20577"/>
        <pc:sldMkLst>
          <pc:docMk/>
          <pc:sldMk cId="1618929033" sldId="10838"/>
        </pc:sldMkLst>
        <pc:spChg chg="mod">
          <ac:chgData name="Sally Shi" userId="3dd53fc4-fdbd-42d3-9029-c880e2f871dc" providerId="ADAL" clId="{61AF1925-4BC6-4833-8A37-62DE6CE954DE}" dt="2020-03-13T22:58:29.470" v="196" actId="20577"/>
          <ac:spMkLst>
            <pc:docMk/>
            <pc:sldMk cId="1618929033" sldId="10838"/>
            <ac:spMk id="6" creationId="{9E84C885-3693-483F-AEB4-86A01F8099F5}"/>
          </ac:spMkLst>
        </pc:spChg>
      </pc:sldChg>
      <pc:sldChg chg="modSp mod">
        <pc:chgData name="Sally Shi" userId="3dd53fc4-fdbd-42d3-9029-c880e2f871dc" providerId="ADAL" clId="{61AF1925-4BC6-4833-8A37-62DE6CE954DE}" dt="2020-03-13T23:35:36.297" v="338" actId="5793"/>
        <pc:sldMkLst>
          <pc:docMk/>
          <pc:sldMk cId="1038871160" sldId="10854"/>
        </pc:sldMkLst>
        <pc:spChg chg="mod">
          <ac:chgData name="Sally Shi" userId="3dd53fc4-fdbd-42d3-9029-c880e2f871dc" providerId="ADAL" clId="{61AF1925-4BC6-4833-8A37-62DE6CE954DE}" dt="2020-03-13T23:35:36.297" v="338" actId="5793"/>
          <ac:spMkLst>
            <pc:docMk/>
            <pc:sldMk cId="1038871160" sldId="10854"/>
            <ac:spMk id="3" creationId="{06BCDC47-4760-4C3B-9AC1-87DCC47E1CB9}"/>
          </ac:spMkLst>
        </pc:spChg>
      </pc:sldChg>
      <pc:sldChg chg="add">
        <pc:chgData name="Sally Shi" userId="3dd53fc4-fdbd-42d3-9029-c880e2f871dc" providerId="ADAL" clId="{61AF1925-4BC6-4833-8A37-62DE6CE954DE}" dt="2020-03-13T23:39:44.098" v="353"/>
        <pc:sldMkLst>
          <pc:docMk/>
          <pc:sldMk cId="2326427562" sldId="10855"/>
        </pc:sldMkLst>
      </pc:sldChg>
      <pc:sldChg chg="del">
        <pc:chgData name="Sally Shi" userId="3dd53fc4-fdbd-42d3-9029-c880e2f871dc" providerId="ADAL" clId="{61AF1925-4BC6-4833-8A37-62DE6CE954DE}" dt="2020-03-13T23:39:38.190" v="352" actId="2696"/>
        <pc:sldMkLst>
          <pc:docMk/>
          <pc:sldMk cId="3135541495" sldId="10855"/>
        </pc:sldMkLst>
      </pc:sldChg>
      <pc:sldChg chg="modSp mod">
        <pc:chgData name="Sally Shi" userId="3dd53fc4-fdbd-42d3-9029-c880e2f871dc" providerId="ADAL" clId="{61AF1925-4BC6-4833-8A37-62DE6CE954DE}" dt="2020-03-13T23:54:41.208" v="374" actId="20577"/>
        <pc:sldMkLst>
          <pc:docMk/>
          <pc:sldMk cId="4177417686" sldId="10865"/>
        </pc:sldMkLst>
        <pc:spChg chg="mod">
          <ac:chgData name="Sally Shi" userId="3dd53fc4-fdbd-42d3-9029-c880e2f871dc" providerId="ADAL" clId="{61AF1925-4BC6-4833-8A37-62DE6CE954DE}" dt="2020-03-13T23:54:41.208" v="374" actId="20577"/>
          <ac:spMkLst>
            <pc:docMk/>
            <pc:sldMk cId="4177417686" sldId="10865"/>
            <ac:spMk id="4" creationId="{75A51585-12F1-4EA5-9878-13AAC4ADC925}"/>
          </ac:spMkLst>
        </pc:spChg>
      </pc:sldChg>
      <pc:sldChg chg="modSp mod">
        <pc:chgData name="Sally Shi" userId="3dd53fc4-fdbd-42d3-9029-c880e2f871dc" providerId="ADAL" clId="{61AF1925-4BC6-4833-8A37-62DE6CE954DE}" dt="2020-03-13T23:54:24.832" v="373" actId="20577"/>
        <pc:sldMkLst>
          <pc:docMk/>
          <pc:sldMk cId="2829938703" sldId="10871"/>
        </pc:sldMkLst>
        <pc:spChg chg="mod">
          <ac:chgData name="Sally Shi" userId="3dd53fc4-fdbd-42d3-9029-c880e2f871dc" providerId="ADAL" clId="{61AF1925-4BC6-4833-8A37-62DE6CE954DE}" dt="2020-03-13T23:54:24.832" v="373" actId="20577"/>
          <ac:spMkLst>
            <pc:docMk/>
            <pc:sldMk cId="2829938703" sldId="10871"/>
            <ac:spMk id="2" creationId="{4967DB64-89F1-4E6E-BC2F-E72380584D1E}"/>
          </ac:spMkLst>
        </pc:spChg>
      </pc:sldChg>
      <pc:sldChg chg="modSp mod">
        <pc:chgData name="Sally Shi" userId="3dd53fc4-fdbd-42d3-9029-c880e2f871dc" providerId="ADAL" clId="{61AF1925-4BC6-4833-8A37-62DE6CE954DE}" dt="2020-03-13T23:17:44.848" v="254" actId="20577"/>
        <pc:sldMkLst>
          <pc:docMk/>
          <pc:sldMk cId="3380621522" sldId="2076136514"/>
        </pc:sldMkLst>
        <pc:graphicFrameChg chg="mod modGraphic">
          <ac:chgData name="Sally Shi" userId="3dd53fc4-fdbd-42d3-9029-c880e2f871dc" providerId="ADAL" clId="{61AF1925-4BC6-4833-8A37-62DE6CE954DE}" dt="2020-03-13T23:17:44.848" v="254" actId="20577"/>
          <ac:graphicFrameMkLst>
            <pc:docMk/>
            <pc:sldMk cId="3380621522" sldId="2076136514"/>
            <ac:graphicFrameMk id="7" creationId="{990DBDB5-9930-467E-BB02-6EEAE153D857}"/>
          </ac:graphicFrameMkLst>
        </pc:graphicFrameChg>
      </pc:sldChg>
      <pc:sldChg chg="delCm">
        <pc:chgData name="Sally Shi" userId="3dd53fc4-fdbd-42d3-9029-c880e2f871dc" providerId="ADAL" clId="{61AF1925-4BC6-4833-8A37-62DE6CE954DE}" dt="2020-03-14T00:17:22.143" v="376"/>
        <pc:sldMkLst>
          <pc:docMk/>
          <pc:sldMk cId="1876383935" sldId="2076136517"/>
        </pc:sldMkLst>
      </pc:sldChg>
      <pc:sldChg chg="delCm">
        <pc:chgData name="Sally Shi" userId="3dd53fc4-fdbd-42d3-9029-c880e2f871dc" providerId="ADAL" clId="{61AF1925-4BC6-4833-8A37-62DE6CE954DE}" dt="2020-03-14T00:30:17.673" v="385"/>
        <pc:sldMkLst>
          <pc:docMk/>
          <pc:sldMk cId="1704273010" sldId="2076136522"/>
        </pc:sldMkLst>
      </pc:sldChg>
      <pc:sldChg chg="delCm modCm">
        <pc:chgData name="Sally Shi" userId="3dd53fc4-fdbd-42d3-9029-c880e2f871dc" providerId="ADAL" clId="{61AF1925-4BC6-4833-8A37-62DE6CE954DE}" dt="2020-03-13T22:22:51.316" v="145"/>
        <pc:sldMkLst>
          <pc:docMk/>
          <pc:sldMk cId="3138878722" sldId="2076136523"/>
        </pc:sldMkLst>
      </pc:sldChg>
      <pc:sldChg chg="add del">
        <pc:chgData name="Sally Shi" userId="3dd53fc4-fdbd-42d3-9029-c880e2f871dc" providerId="ADAL" clId="{61AF1925-4BC6-4833-8A37-62DE6CE954DE}" dt="2020-03-13T23:35:09.025" v="323" actId="47"/>
        <pc:sldMkLst>
          <pc:docMk/>
          <pc:sldMk cId="1035935756" sldId="2076136530"/>
        </pc:sldMkLst>
      </pc:sldChg>
      <pc:sldChg chg="modSp mod">
        <pc:chgData name="Sally Shi" userId="3dd53fc4-fdbd-42d3-9029-c880e2f871dc" providerId="ADAL" clId="{61AF1925-4BC6-4833-8A37-62DE6CE954DE}" dt="2020-03-14T00:17:32.561" v="377" actId="20577"/>
        <pc:sldMkLst>
          <pc:docMk/>
          <pc:sldMk cId="2541952490" sldId="2076136533"/>
        </pc:sldMkLst>
        <pc:spChg chg="mod">
          <ac:chgData name="Sally Shi" userId="3dd53fc4-fdbd-42d3-9029-c880e2f871dc" providerId="ADAL" clId="{61AF1925-4BC6-4833-8A37-62DE6CE954DE}" dt="2020-03-14T00:17:32.561" v="377" actId="20577"/>
          <ac:spMkLst>
            <pc:docMk/>
            <pc:sldMk cId="2541952490" sldId="2076136533"/>
            <ac:spMk id="4" creationId="{75A51585-12F1-4EA5-9878-13AAC4ADC925}"/>
          </ac:spMkLst>
        </pc:spChg>
      </pc:sldChg>
      <pc:sldChg chg="ord modNotesTx">
        <pc:chgData name="Sally Shi" userId="3dd53fc4-fdbd-42d3-9029-c880e2f871dc" providerId="ADAL" clId="{61AF1925-4BC6-4833-8A37-62DE6CE954DE}" dt="2020-03-14T00:24:40.272" v="382" actId="6549"/>
        <pc:sldMkLst>
          <pc:docMk/>
          <pc:sldMk cId="2101590637" sldId="2076137597"/>
        </pc:sldMkLst>
      </pc:sldChg>
      <pc:sldChg chg="modSp mod">
        <pc:chgData name="Sally Shi" userId="3dd53fc4-fdbd-42d3-9029-c880e2f871dc" providerId="ADAL" clId="{61AF1925-4BC6-4833-8A37-62DE6CE954DE}" dt="2020-03-13T23:31:04.445" v="312" actId="20577"/>
        <pc:sldMkLst>
          <pc:docMk/>
          <pc:sldMk cId="4215038071" sldId="2076137620"/>
        </pc:sldMkLst>
        <pc:spChg chg="mod">
          <ac:chgData name="Sally Shi" userId="3dd53fc4-fdbd-42d3-9029-c880e2f871dc" providerId="ADAL" clId="{61AF1925-4BC6-4833-8A37-62DE6CE954DE}" dt="2020-03-13T23:31:04.445" v="312" actId="20577"/>
          <ac:spMkLst>
            <pc:docMk/>
            <pc:sldMk cId="4215038071" sldId="2076137620"/>
            <ac:spMk id="8" creationId="{00000000-0000-0000-0000-000000000000}"/>
          </ac:spMkLst>
        </pc:spChg>
      </pc:sldChg>
      <pc:sldChg chg="modSp add del mod">
        <pc:chgData name="Sally Shi" userId="3dd53fc4-fdbd-42d3-9029-c880e2f871dc" providerId="ADAL" clId="{61AF1925-4BC6-4833-8A37-62DE6CE954DE}" dt="2020-03-13T21:47:00.790" v="46" actId="47"/>
        <pc:sldMkLst>
          <pc:docMk/>
          <pc:sldMk cId="2567272675" sldId="2076137622"/>
        </pc:sldMkLst>
        <pc:graphicFrameChg chg="modGraphic">
          <ac:chgData name="Sally Shi" userId="3dd53fc4-fdbd-42d3-9029-c880e2f871dc" providerId="ADAL" clId="{61AF1925-4BC6-4833-8A37-62DE6CE954DE}" dt="2020-03-13T21:38:36.081" v="31" actId="207"/>
          <ac:graphicFrameMkLst>
            <pc:docMk/>
            <pc:sldMk cId="2567272675" sldId="2076137622"/>
            <ac:graphicFrameMk id="7" creationId="{990DBDB5-9930-467E-BB02-6EEAE153D857}"/>
          </ac:graphicFrameMkLst>
        </pc:graphicFrameChg>
      </pc:sldChg>
      <pc:sldChg chg="del">
        <pc:chgData name="Sally Shi" userId="3dd53fc4-fdbd-42d3-9029-c880e2f871dc" providerId="ADAL" clId="{61AF1925-4BC6-4833-8A37-62DE6CE954DE}" dt="2020-03-13T21:48:15.730" v="56" actId="47"/>
        <pc:sldMkLst>
          <pc:docMk/>
          <pc:sldMk cId="3701016253" sldId="2076137623"/>
        </pc:sldMkLst>
      </pc:sldChg>
      <pc:sldChg chg="del">
        <pc:chgData name="Sally Shi" userId="3dd53fc4-fdbd-42d3-9029-c880e2f871dc" providerId="ADAL" clId="{61AF1925-4BC6-4833-8A37-62DE6CE954DE}" dt="2020-03-13T21:49:53.014" v="78" actId="47"/>
        <pc:sldMkLst>
          <pc:docMk/>
          <pc:sldMk cId="3917317784" sldId="2076137624"/>
        </pc:sldMkLst>
      </pc:sldChg>
      <pc:sldChg chg="del">
        <pc:chgData name="Sally Shi" userId="3dd53fc4-fdbd-42d3-9029-c880e2f871dc" providerId="ADAL" clId="{61AF1925-4BC6-4833-8A37-62DE6CE954DE}" dt="2020-03-13T22:02:25.377" v="88" actId="47"/>
        <pc:sldMkLst>
          <pc:docMk/>
          <pc:sldMk cId="461654030" sldId="2076137625"/>
        </pc:sldMkLst>
      </pc:sldChg>
      <pc:sldChg chg="del">
        <pc:chgData name="Sally Shi" userId="3dd53fc4-fdbd-42d3-9029-c880e2f871dc" providerId="ADAL" clId="{61AF1925-4BC6-4833-8A37-62DE6CE954DE}" dt="2020-03-13T22:07:02.578" v="133" actId="47"/>
        <pc:sldMkLst>
          <pc:docMk/>
          <pc:sldMk cId="3409819043" sldId="2076137626"/>
        </pc:sldMkLst>
      </pc:sldChg>
      <pc:sldChg chg="del">
        <pc:chgData name="Sally Shi" userId="3dd53fc4-fdbd-42d3-9029-c880e2f871dc" providerId="ADAL" clId="{61AF1925-4BC6-4833-8A37-62DE6CE954DE}" dt="2020-03-13T22:52:06.445" v="148" actId="47"/>
        <pc:sldMkLst>
          <pc:docMk/>
          <pc:sldMk cId="500693307" sldId="2076137627"/>
        </pc:sldMkLst>
      </pc:sldChg>
      <pc:sldChg chg="del">
        <pc:chgData name="Sally Shi" userId="3dd53fc4-fdbd-42d3-9029-c880e2f871dc" providerId="ADAL" clId="{61AF1925-4BC6-4833-8A37-62DE6CE954DE}" dt="2020-03-13T22:53:57.298" v="163" actId="47"/>
        <pc:sldMkLst>
          <pc:docMk/>
          <pc:sldMk cId="2486495691" sldId="2076137628"/>
        </pc:sldMkLst>
      </pc:sldChg>
      <pc:sldChg chg="del">
        <pc:chgData name="Sally Shi" userId="3dd53fc4-fdbd-42d3-9029-c880e2f871dc" providerId="ADAL" clId="{61AF1925-4BC6-4833-8A37-62DE6CE954DE}" dt="2020-03-13T23:20:34.364" v="289" actId="47"/>
        <pc:sldMkLst>
          <pc:docMk/>
          <pc:sldMk cId="2680444240" sldId="2076137629"/>
        </pc:sldMkLst>
      </pc:sldChg>
      <pc:sldChg chg="ord">
        <pc:chgData name="Sally Shi" userId="3dd53fc4-fdbd-42d3-9029-c880e2f871dc" providerId="ADAL" clId="{61AF1925-4BC6-4833-8A37-62DE6CE954DE}" dt="2020-03-13T23:28:17.665" v="305"/>
        <pc:sldMkLst>
          <pc:docMk/>
          <pc:sldMk cId="2765841954" sldId="2076137630"/>
        </pc:sldMkLst>
      </pc:sldChg>
      <pc:sldChg chg="del">
        <pc:chgData name="Sally Shi" userId="3dd53fc4-fdbd-42d3-9029-c880e2f871dc" providerId="ADAL" clId="{61AF1925-4BC6-4833-8A37-62DE6CE954DE}" dt="2020-03-13T23:30:22.365" v="309" actId="47"/>
        <pc:sldMkLst>
          <pc:docMk/>
          <pc:sldMk cId="3052399524" sldId="2076137631"/>
        </pc:sldMkLst>
      </pc:sldChg>
      <pc:sldChg chg="modSp add del mod">
        <pc:chgData name="Sally Shi" userId="3dd53fc4-fdbd-42d3-9029-c880e2f871dc" providerId="ADAL" clId="{61AF1925-4BC6-4833-8A37-62DE6CE954DE}" dt="2020-03-13T21:47:00.039" v="45" actId="47"/>
        <pc:sldMkLst>
          <pc:docMk/>
          <pc:sldMk cId="2334134681" sldId="2076137634"/>
        </pc:sldMkLst>
        <pc:graphicFrameChg chg="mod modGraphic">
          <ac:chgData name="Sally Shi" userId="3dd53fc4-fdbd-42d3-9029-c880e2f871dc" providerId="ADAL" clId="{61AF1925-4BC6-4833-8A37-62DE6CE954DE}" dt="2020-03-13T21:42:37.187" v="39" actId="113"/>
          <ac:graphicFrameMkLst>
            <pc:docMk/>
            <pc:sldMk cId="2334134681" sldId="2076137634"/>
            <ac:graphicFrameMk id="7" creationId="{990DBDB5-9930-467E-BB02-6EEAE153D857}"/>
          </ac:graphicFrameMkLst>
        </pc:graphicFrameChg>
      </pc:sldChg>
      <pc:sldChg chg="modSp add mod">
        <pc:chgData name="Sally Shi" userId="3dd53fc4-fdbd-42d3-9029-c880e2f871dc" providerId="ADAL" clId="{61AF1925-4BC6-4833-8A37-62DE6CE954DE}" dt="2020-03-13T21:48:33.218" v="64" actId="20577"/>
        <pc:sldMkLst>
          <pc:docMk/>
          <pc:sldMk cId="3565521131" sldId="2076137634"/>
        </pc:sldMkLst>
        <pc:graphicFrameChg chg="mod modGraphic">
          <ac:chgData name="Sally Shi" userId="3dd53fc4-fdbd-42d3-9029-c880e2f871dc" providerId="ADAL" clId="{61AF1925-4BC6-4833-8A37-62DE6CE954DE}" dt="2020-03-13T21:48:33.218" v="64" actId="20577"/>
          <ac:graphicFrameMkLst>
            <pc:docMk/>
            <pc:sldMk cId="3565521131" sldId="2076137634"/>
            <ac:graphicFrameMk id="7" creationId="{990DBDB5-9930-467E-BB02-6EEAE153D857}"/>
          </ac:graphicFrameMkLst>
        </pc:graphicFrameChg>
      </pc:sldChg>
      <pc:sldChg chg="modSp add mod">
        <pc:chgData name="Sally Shi" userId="3dd53fc4-fdbd-42d3-9029-c880e2f871dc" providerId="ADAL" clId="{61AF1925-4BC6-4833-8A37-62DE6CE954DE}" dt="2020-03-13T21:49:42.344" v="77" actId="108"/>
        <pc:sldMkLst>
          <pc:docMk/>
          <pc:sldMk cId="3639649044" sldId="2076137635"/>
        </pc:sldMkLst>
        <pc:graphicFrameChg chg="mod modGraphic">
          <ac:chgData name="Sally Shi" userId="3dd53fc4-fdbd-42d3-9029-c880e2f871dc" providerId="ADAL" clId="{61AF1925-4BC6-4833-8A37-62DE6CE954DE}" dt="2020-03-13T21:49:42.344" v="77" actId="108"/>
          <ac:graphicFrameMkLst>
            <pc:docMk/>
            <pc:sldMk cId="3639649044" sldId="2076137635"/>
            <ac:graphicFrameMk id="7" creationId="{990DBDB5-9930-467E-BB02-6EEAE153D857}"/>
          </ac:graphicFrameMkLst>
        </pc:graphicFrameChg>
      </pc:sldChg>
      <pc:sldChg chg="modSp add mod ord">
        <pc:chgData name="Sally Shi" userId="3dd53fc4-fdbd-42d3-9029-c880e2f871dc" providerId="ADAL" clId="{61AF1925-4BC6-4833-8A37-62DE6CE954DE}" dt="2020-03-13T21:50:43.059" v="87" actId="108"/>
        <pc:sldMkLst>
          <pc:docMk/>
          <pc:sldMk cId="1306295949" sldId="2076137636"/>
        </pc:sldMkLst>
        <pc:graphicFrameChg chg="mod modGraphic">
          <ac:chgData name="Sally Shi" userId="3dd53fc4-fdbd-42d3-9029-c880e2f871dc" providerId="ADAL" clId="{61AF1925-4BC6-4833-8A37-62DE6CE954DE}" dt="2020-03-13T21:50:43.059" v="87" actId="108"/>
          <ac:graphicFrameMkLst>
            <pc:docMk/>
            <pc:sldMk cId="1306295949" sldId="2076137636"/>
            <ac:graphicFrameMk id="7" creationId="{990DBDB5-9930-467E-BB02-6EEAE153D857}"/>
          </ac:graphicFrameMkLst>
        </pc:graphicFrameChg>
      </pc:sldChg>
      <pc:sldChg chg="modSp add mod">
        <pc:chgData name="Sally Shi" userId="3dd53fc4-fdbd-42d3-9029-c880e2f871dc" providerId="ADAL" clId="{61AF1925-4BC6-4833-8A37-62DE6CE954DE}" dt="2020-03-13T23:18:00.672" v="288" actId="20577"/>
        <pc:sldMkLst>
          <pc:docMk/>
          <pc:sldMk cId="721865862" sldId="2076137637"/>
        </pc:sldMkLst>
        <pc:graphicFrameChg chg="mod modGraphic">
          <ac:chgData name="Sally Shi" userId="3dd53fc4-fdbd-42d3-9029-c880e2f871dc" providerId="ADAL" clId="{61AF1925-4BC6-4833-8A37-62DE6CE954DE}" dt="2020-03-13T23:18:00.672" v="288" actId="20577"/>
          <ac:graphicFrameMkLst>
            <pc:docMk/>
            <pc:sldMk cId="721865862" sldId="2076137637"/>
            <ac:graphicFrameMk id="7" creationId="{990DBDB5-9930-467E-BB02-6EEAE153D857}"/>
          </ac:graphicFrameMkLst>
        </pc:graphicFrameChg>
      </pc:sldChg>
      <pc:sldChg chg="modSp add mod ord">
        <pc:chgData name="Sally Shi" userId="3dd53fc4-fdbd-42d3-9029-c880e2f871dc" providerId="ADAL" clId="{61AF1925-4BC6-4833-8A37-62DE6CE954DE}" dt="2020-03-13T22:22:22.247" v="143" actId="108"/>
        <pc:sldMkLst>
          <pc:docMk/>
          <pc:sldMk cId="1144423436" sldId="2076137638"/>
        </pc:sldMkLst>
        <pc:graphicFrameChg chg="mod modGraphic">
          <ac:chgData name="Sally Shi" userId="3dd53fc4-fdbd-42d3-9029-c880e2f871dc" providerId="ADAL" clId="{61AF1925-4BC6-4833-8A37-62DE6CE954DE}" dt="2020-03-13T22:22:22.247" v="143" actId="108"/>
          <ac:graphicFrameMkLst>
            <pc:docMk/>
            <pc:sldMk cId="1144423436" sldId="2076137638"/>
            <ac:graphicFrameMk id="7" creationId="{990DBDB5-9930-467E-BB02-6EEAE153D857}"/>
          </ac:graphicFrameMkLst>
        </pc:graphicFrameChg>
      </pc:sldChg>
      <pc:sldChg chg="modSp add mod ord">
        <pc:chgData name="Sally Shi" userId="3dd53fc4-fdbd-42d3-9029-c880e2f871dc" providerId="ADAL" clId="{61AF1925-4BC6-4833-8A37-62DE6CE954DE}" dt="2020-03-14T00:23:59.951" v="381"/>
        <pc:sldMkLst>
          <pc:docMk/>
          <pc:sldMk cId="1163679897" sldId="2076137639"/>
        </pc:sldMkLst>
        <pc:graphicFrameChg chg="mod modGraphic">
          <ac:chgData name="Sally Shi" userId="3dd53fc4-fdbd-42d3-9029-c880e2f871dc" providerId="ADAL" clId="{61AF1925-4BC6-4833-8A37-62DE6CE954DE}" dt="2020-03-13T22:53:21.749" v="161" actId="108"/>
          <ac:graphicFrameMkLst>
            <pc:docMk/>
            <pc:sldMk cId="1163679897" sldId="2076137639"/>
            <ac:graphicFrameMk id="7" creationId="{990DBDB5-9930-467E-BB02-6EEAE153D857}"/>
          </ac:graphicFrameMkLst>
        </pc:graphicFrameChg>
      </pc:sldChg>
      <pc:sldChg chg="modSp add mod">
        <pc:chgData name="Sally Shi" userId="3dd53fc4-fdbd-42d3-9029-c880e2f871dc" providerId="ADAL" clId="{61AF1925-4BC6-4833-8A37-62DE6CE954DE}" dt="2020-03-13T22:54:31.933" v="169" actId="108"/>
        <pc:sldMkLst>
          <pc:docMk/>
          <pc:sldMk cId="1992993166" sldId="2076137640"/>
        </pc:sldMkLst>
        <pc:graphicFrameChg chg="mod modGraphic">
          <ac:chgData name="Sally Shi" userId="3dd53fc4-fdbd-42d3-9029-c880e2f871dc" providerId="ADAL" clId="{61AF1925-4BC6-4833-8A37-62DE6CE954DE}" dt="2020-03-13T22:54:31.933" v="169" actId="108"/>
          <ac:graphicFrameMkLst>
            <pc:docMk/>
            <pc:sldMk cId="1992993166" sldId="2076137640"/>
            <ac:graphicFrameMk id="7" creationId="{990DBDB5-9930-467E-BB02-6EEAE153D857}"/>
          </ac:graphicFrameMkLst>
        </pc:graphicFrameChg>
      </pc:sldChg>
      <pc:sldChg chg="modSp add mod ord">
        <pc:chgData name="Sally Shi" userId="3dd53fc4-fdbd-42d3-9029-c880e2f871dc" providerId="ADAL" clId="{61AF1925-4BC6-4833-8A37-62DE6CE954DE}" dt="2020-03-13T23:21:27.344" v="303" actId="108"/>
        <pc:sldMkLst>
          <pc:docMk/>
          <pc:sldMk cId="3069131816" sldId="2076137641"/>
        </pc:sldMkLst>
        <pc:graphicFrameChg chg="mod modGraphic">
          <ac:chgData name="Sally Shi" userId="3dd53fc4-fdbd-42d3-9029-c880e2f871dc" providerId="ADAL" clId="{61AF1925-4BC6-4833-8A37-62DE6CE954DE}" dt="2020-03-13T23:21:27.344" v="303" actId="108"/>
          <ac:graphicFrameMkLst>
            <pc:docMk/>
            <pc:sldMk cId="3069131816" sldId="2076137641"/>
            <ac:graphicFrameMk id="7" creationId="{990DBDB5-9930-467E-BB02-6EEAE153D857}"/>
          </ac:graphicFrameMkLst>
        </pc:graphicFrameChg>
      </pc:sldChg>
      <pc:sldChg chg="modSp add mod">
        <pc:chgData name="Sally Shi" userId="3dd53fc4-fdbd-42d3-9029-c880e2f871dc" providerId="ADAL" clId="{61AF1925-4BC6-4833-8A37-62DE6CE954DE}" dt="2020-03-13T23:32:30.964" v="320" actId="108"/>
        <pc:sldMkLst>
          <pc:docMk/>
          <pc:sldMk cId="3209519669" sldId="2076137642"/>
        </pc:sldMkLst>
        <pc:graphicFrameChg chg="mod modGraphic">
          <ac:chgData name="Sally Shi" userId="3dd53fc4-fdbd-42d3-9029-c880e2f871dc" providerId="ADAL" clId="{61AF1925-4BC6-4833-8A37-62DE6CE954DE}" dt="2020-03-13T23:32:30.964" v="320" actId="108"/>
          <ac:graphicFrameMkLst>
            <pc:docMk/>
            <pc:sldMk cId="3209519669" sldId="2076137642"/>
            <ac:graphicFrameMk id="7" creationId="{990DBDB5-9930-467E-BB02-6EEAE153D857}"/>
          </ac:graphicFrameMkLst>
        </pc:graphicFrameChg>
      </pc:sldChg>
      <pc:sldChg chg="add del">
        <pc:chgData name="Sally Shi" userId="3dd53fc4-fdbd-42d3-9029-c880e2f871dc" providerId="ADAL" clId="{61AF1925-4BC6-4833-8A37-62DE6CE954DE}" dt="2020-03-13T23:35:29.607" v="325"/>
        <pc:sldMkLst>
          <pc:docMk/>
          <pc:sldMk cId="804698758" sldId="2076137643"/>
        </pc:sldMkLst>
      </pc:sldChg>
      <pc:sldChg chg="add">
        <pc:chgData name="Sally Shi" userId="3dd53fc4-fdbd-42d3-9029-c880e2f871dc" providerId="ADAL" clId="{61AF1925-4BC6-4833-8A37-62DE6CE954DE}" dt="2020-03-14T00:29:48.064" v="383"/>
        <pc:sldMkLst>
          <pc:docMk/>
          <pc:sldMk cId="3135973267" sldId="2076137643"/>
        </pc:sldMkLst>
      </pc:sldChg>
    </pc:docChg>
  </pc:docChgLst>
  <pc:docChgLst>
    <pc:chgData name="Sally Shi" userId="S::sashi@microsoft.com::3dd53fc4-fdbd-42d3-9029-c880e2f871dc" providerId="AD" clId="Web-{B0BCCF03-F5F4-5D4F-1BFD-1287C8A0140D}"/>
    <pc:docChg chg="modSld">
      <pc:chgData name="Sally Shi" userId="S::sashi@microsoft.com::3dd53fc4-fdbd-42d3-9029-c880e2f871dc" providerId="AD" clId="Web-{B0BCCF03-F5F4-5D4F-1BFD-1287C8A0140D}" dt="2020-01-15T04:00:40.759" v="0" actId="20577"/>
      <pc:docMkLst>
        <pc:docMk/>
      </pc:docMkLst>
      <pc:sldChg chg="modSp">
        <pc:chgData name="Sally Shi" userId="S::sashi@microsoft.com::3dd53fc4-fdbd-42d3-9029-c880e2f871dc" providerId="AD" clId="Web-{B0BCCF03-F5F4-5D4F-1BFD-1287C8A0140D}" dt="2020-01-15T04:00:40.759" v="0" actId="20577"/>
        <pc:sldMkLst>
          <pc:docMk/>
          <pc:sldMk cId="3494433497" sldId="1881"/>
        </pc:sldMkLst>
        <pc:spChg chg="mod">
          <ac:chgData name="Sally Shi" userId="S::sashi@microsoft.com::3dd53fc4-fdbd-42d3-9029-c880e2f871dc" providerId="AD" clId="Web-{B0BCCF03-F5F4-5D4F-1BFD-1287C8A0140D}" dt="2020-01-15T04:00:40.759" v="0" actId="20577"/>
          <ac:spMkLst>
            <pc:docMk/>
            <pc:sldMk cId="3494433497" sldId="1881"/>
            <ac:spMk id="4" creationId="{D25A7097-F128-44C8-9EE0-1A9AAF0AF864}"/>
          </ac:spMkLst>
        </pc:spChg>
      </pc:sldChg>
    </pc:docChg>
  </pc:docChgLst>
  <pc:docChgLst>
    <pc:chgData name="Sally Shi" userId="3dd53fc4-fdbd-42d3-9029-c880e2f871dc" providerId="ADAL" clId="{88A769AC-810B-4827-A448-CC0C6BE8C895}"/>
    <pc:docChg chg="modSld">
      <pc:chgData name="Sally Shi" userId="3dd53fc4-fdbd-42d3-9029-c880e2f871dc" providerId="ADAL" clId="{88A769AC-810B-4827-A448-CC0C6BE8C895}" dt="2020-03-24T01:12:23.894" v="1" actId="6549"/>
      <pc:docMkLst>
        <pc:docMk/>
      </pc:docMkLst>
      <pc:sldChg chg="modNotesTx">
        <pc:chgData name="Sally Shi" userId="3dd53fc4-fdbd-42d3-9029-c880e2f871dc" providerId="ADAL" clId="{88A769AC-810B-4827-A448-CC0C6BE8C895}" dt="2020-03-24T01:12:23.894" v="1" actId="6549"/>
        <pc:sldMkLst>
          <pc:docMk/>
          <pc:sldMk cId="2333076610" sldId="2076137575"/>
        </pc:sldMkLst>
      </pc:sldChg>
      <pc:sldChg chg="modNotesTx">
        <pc:chgData name="Sally Shi" userId="3dd53fc4-fdbd-42d3-9029-c880e2f871dc" providerId="ADAL" clId="{88A769AC-810B-4827-A448-CC0C6BE8C895}" dt="2020-03-24T01:12:20.854" v="0" actId="6549"/>
        <pc:sldMkLst>
          <pc:docMk/>
          <pc:sldMk cId="549416382" sldId="2076137606"/>
        </pc:sldMkLst>
      </pc:sldChg>
    </pc:docChg>
  </pc:docChgLst>
  <pc:docChgLst>
    <pc:chgData name="Sally Shi" userId="3dd53fc4-fdbd-42d3-9029-c880e2f871dc" providerId="ADAL" clId="{3805CE6B-0C93-494E-84A7-5C072C666FC6}"/>
    <pc:docChg chg="undo custSel addSld delSld modSld sldOrd modSection">
      <pc:chgData name="Sally Shi" userId="3dd53fc4-fdbd-42d3-9029-c880e2f871dc" providerId="ADAL" clId="{3805CE6B-0C93-494E-84A7-5C072C666FC6}" dt="2020-01-29T23:13:28.248" v="689" actId="20577"/>
      <pc:docMkLst>
        <pc:docMk/>
      </pc:docMkLst>
      <pc:sldChg chg="modSp mod">
        <pc:chgData name="Sally Shi" userId="3dd53fc4-fdbd-42d3-9029-c880e2f871dc" providerId="ADAL" clId="{3805CE6B-0C93-494E-84A7-5C072C666FC6}" dt="2020-01-15T04:49:47.855" v="553" actId="20577"/>
        <pc:sldMkLst>
          <pc:docMk/>
          <pc:sldMk cId="623937337" sldId="1560"/>
        </pc:sldMkLst>
        <pc:spChg chg="mod">
          <ac:chgData name="Sally Shi" userId="3dd53fc4-fdbd-42d3-9029-c880e2f871dc" providerId="ADAL" clId="{3805CE6B-0C93-494E-84A7-5C072C666FC6}" dt="2020-01-15T04:49:47.855" v="553" actId="20577"/>
          <ac:spMkLst>
            <pc:docMk/>
            <pc:sldMk cId="623937337" sldId="1560"/>
            <ac:spMk id="13" creationId="{00000000-0000-0000-0000-000000000000}"/>
          </ac:spMkLst>
        </pc:spChg>
      </pc:sldChg>
      <pc:sldChg chg="modSp mod">
        <pc:chgData name="Sally Shi" userId="3dd53fc4-fdbd-42d3-9029-c880e2f871dc" providerId="ADAL" clId="{3805CE6B-0C93-494E-84A7-5C072C666FC6}" dt="2020-01-15T04:01:06.224" v="5" actId="20577"/>
        <pc:sldMkLst>
          <pc:docMk/>
          <pc:sldMk cId="3494433497" sldId="1881"/>
        </pc:sldMkLst>
        <pc:spChg chg="mod">
          <ac:chgData name="Sally Shi" userId="3dd53fc4-fdbd-42d3-9029-c880e2f871dc" providerId="ADAL" clId="{3805CE6B-0C93-494E-84A7-5C072C666FC6}" dt="2020-01-15T04:01:06.224" v="5" actId="20577"/>
          <ac:spMkLst>
            <pc:docMk/>
            <pc:sldMk cId="3494433497" sldId="1881"/>
            <ac:spMk id="4" creationId="{D25A7097-F128-44C8-9EE0-1A9AAF0AF864}"/>
          </ac:spMkLst>
        </pc:spChg>
      </pc:sldChg>
      <pc:sldChg chg="mod modShow">
        <pc:chgData name="Sally Shi" userId="3dd53fc4-fdbd-42d3-9029-c880e2f871dc" providerId="ADAL" clId="{3805CE6B-0C93-494E-84A7-5C072C666FC6}" dt="2020-01-15T04:53:25.258" v="575" actId="729"/>
        <pc:sldMkLst>
          <pc:docMk/>
          <pc:sldMk cId="688806861" sldId="10336"/>
        </pc:sldMkLst>
      </pc:sldChg>
      <pc:sldChg chg="addSp delSp modSp mod">
        <pc:chgData name="Sally Shi" userId="3dd53fc4-fdbd-42d3-9029-c880e2f871dc" providerId="ADAL" clId="{3805CE6B-0C93-494E-84A7-5C072C666FC6}" dt="2020-01-15T04:04:24.160" v="17" actId="1076"/>
        <pc:sldMkLst>
          <pc:docMk/>
          <pc:sldMk cId="1287064046" sldId="10346"/>
        </pc:sldMkLst>
        <pc:spChg chg="del">
          <ac:chgData name="Sally Shi" userId="3dd53fc4-fdbd-42d3-9029-c880e2f871dc" providerId="ADAL" clId="{3805CE6B-0C93-494E-84A7-5C072C666FC6}" dt="2020-01-15T04:04:04.975" v="10" actId="478"/>
          <ac:spMkLst>
            <pc:docMk/>
            <pc:sldMk cId="1287064046" sldId="10346"/>
            <ac:spMk id="11" creationId="{9592A7DB-16CA-4A24-9D09-781FEB4D074E}"/>
          </ac:spMkLst>
        </pc:spChg>
        <pc:spChg chg="del">
          <ac:chgData name="Sally Shi" userId="3dd53fc4-fdbd-42d3-9029-c880e2f871dc" providerId="ADAL" clId="{3805CE6B-0C93-494E-84A7-5C072C666FC6}" dt="2020-01-15T04:04:07.152" v="11" actId="478"/>
          <ac:spMkLst>
            <pc:docMk/>
            <pc:sldMk cId="1287064046" sldId="10346"/>
            <ac:spMk id="18" creationId="{EC1B2178-8B73-43AE-BFF7-DDAAF1287C5B}"/>
          </ac:spMkLst>
        </pc:spChg>
        <pc:spChg chg="del mod">
          <ac:chgData name="Sally Shi" userId="3dd53fc4-fdbd-42d3-9029-c880e2f871dc" providerId="ADAL" clId="{3805CE6B-0C93-494E-84A7-5C072C666FC6}" dt="2020-01-15T04:04:02.460" v="9" actId="478"/>
          <ac:spMkLst>
            <pc:docMk/>
            <pc:sldMk cId="1287064046" sldId="10346"/>
            <ac:spMk id="19" creationId="{25B2EC06-E961-4038-8E73-3C7CB3CCF725}"/>
          </ac:spMkLst>
        </pc:spChg>
        <pc:spChg chg="add">
          <ac:chgData name="Sally Shi" userId="3dd53fc4-fdbd-42d3-9029-c880e2f871dc" providerId="ADAL" clId="{3805CE6B-0C93-494E-84A7-5C072C666FC6}" dt="2020-01-15T04:04:08.070" v="12"/>
          <ac:spMkLst>
            <pc:docMk/>
            <pc:sldMk cId="1287064046" sldId="10346"/>
            <ac:spMk id="23" creationId="{FAEA42D8-A9C1-4C76-A24B-6069A659A524}"/>
          </ac:spMkLst>
        </pc:spChg>
        <pc:spChg chg="add mod">
          <ac:chgData name="Sally Shi" userId="3dd53fc4-fdbd-42d3-9029-c880e2f871dc" providerId="ADAL" clId="{3805CE6B-0C93-494E-84A7-5C072C666FC6}" dt="2020-01-15T04:04:19.178" v="15" actId="1076"/>
          <ac:spMkLst>
            <pc:docMk/>
            <pc:sldMk cId="1287064046" sldId="10346"/>
            <ac:spMk id="24" creationId="{D51354C2-510C-49FF-949B-5886FDB70C6A}"/>
          </ac:spMkLst>
        </pc:spChg>
        <pc:spChg chg="add mod">
          <ac:chgData name="Sally Shi" userId="3dd53fc4-fdbd-42d3-9029-c880e2f871dc" providerId="ADAL" clId="{3805CE6B-0C93-494E-84A7-5C072C666FC6}" dt="2020-01-15T04:04:24.160" v="17" actId="1076"/>
          <ac:spMkLst>
            <pc:docMk/>
            <pc:sldMk cId="1287064046" sldId="10346"/>
            <ac:spMk id="25" creationId="{0654A7FC-D10F-4C99-B793-FE5E858CF1A9}"/>
          </ac:spMkLst>
        </pc:spChg>
        <pc:cxnChg chg="add del">
          <ac:chgData name="Sally Shi" userId="3dd53fc4-fdbd-42d3-9029-c880e2f871dc" providerId="ADAL" clId="{3805CE6B-0C93-494E-84A7-5C072C666FC6}" dt="2020-01-15T04:04:13.184" v="13" actId="478"/>
          <ac:cxnSpMkLst>
            <pc:docMk/>
            <pc:sldMk cId="1287064046" sldId="10346"/>
            <ac:cxnSpMk id="22" creationId="{E2BD4E4E-1B68-463F-AC68-FF30603FE714}"/>
          </ac:cxnSpMkLst>
        </pc:cxnChg>
      </pc:sldChg>
      <pc:sldChg chg="addSp delSp modSp mod modShow">
        <pc:chgData name="Sally Shi" userId="3dd53fc4-fdbd-42d3-9029-c880e2f871dc" providerId="ADAL" clId="{3805CE6B-0C93-494E-84A7-5C072C666FC6}" dt="2020-01-15T04:14:32.478" v="169" actId="20577"/>
        <pc:sldMkLst>
          <pc:docMk/>
          <pc:sldMk cId="3108269840" sldId="10347"/>
        </pc:sldMkLst>
        <pc:spChg chg="mod">
          <ac:chgData name="Sally Shi" userId="3dd53fc4-fdbd-42d3-9029-c880e2f871dc" providerId="ADAL" clId="{3805CE6B-0C93-494E-84A7-5C072C666FC6}" dt="2020-01-15T04:04:58.019" v="35" actId="20577"/>
          <ac:spMkLst>
            <pc:docMk/>
            <pc:sldMk cId="3108269840" sldId="10347"/>
            <ac:spMk id="6" creationId="{4BA4A258-F0F4-4541-9F92-2FAC2F37DF38}"/>
          </ac:spMkLst>
        </pc:spChg>
        <pc:spChg chg="mod">
          <ac:chgData name="Sally Shi" userId="3dd53fc4-fdbd-42d3-9029-c880e2f871dc" providerId="ADAL" clId="{3805CE6B-0C93-494E-84A7-5C072C666FC6}" dt="2020-01-15T04:14:32.478" v="169" actId="20577"/>
          <ac:spMkLst>
            <pc:docMk/>
            <pc:sldMk cId="3108269840" sldId="10347"/>
            <ac:spMk id="15" creationId="{DF99734A-E41A-4492-8004-577E338EB8EA}"/>
          </ac:spMkLst>
        </pc:spChg>
        <pc:spChg chg="mod">
          <ac:chgData name="Sally Shi" userId="3dd53fc4-fdbd-42d3-9029-c880e2f871dc" providerId="ADAL" clId="{3805CE6B-0C93-494E-84A7-5C072C666FC6}" dt="2020-01-15T04:11:11.174" v="57" actId="1076"/>
          <ac:spMkLst>
            <pc:docMk/>
            <pc:sldMk cId="3108269840" sldId="10347"/>
            <ac:spMk id="22" creationId="{E9B4386C-C119-4762-910F-535349E0BDBA}"/>
          </ac:spMkLst>
        </pc:spChg>
        <pc:picChg chg="del">
          <ac:chgData name="Sally Shi" userId="3dd53fc4-fdbd-42d3-9029-c880e2f871dc" providerId="ADAL" clId="{3805CE6B-0C93-494E-84A7-5C072C666FC6}" dt="2020-01-15T04:07:24.374" v="36" actId="478"/>
          <ac:picMkLst>
            <pc:docMk/>
            <pc:sldMk cId="3108269840" sldId="10347"/>
            <ac:picMk id="3" creationId="{95CF9F44-B8CA-4884-BFE1-17FF87B35F2D}"/>
          </ac:picMkLst>
        </pc:picChg>
        <pc:picChg chg="add del mod">
          <ac:chgData name="Sally Shi" userId="3dd53fc4-fdbd-42d3-9029-c880e2f871dc" providerId="ADAL" clId="{3805CE6B-0C93-494E-84A7-5C072C666FC6}" dt="2020-01-15T04:10:08.677" v="40" actId="478"/>
          <ac:picMkLst>
            <pc:docMk/>
            <pc:sldMk cId="3108269840" sldId="10347"/>
            <ac:picMk id="4" creationId="{EB6084B0-2099-49A0-8400-A2C6E7FB2B8A}"/>
          </ac:picMkLst>
        </pc:picChg>
        <pc:picChg chg="add mod ord modCrop">
          <ac:chgData name="Sally Shi" userId="3dd53fc4-fdbd-42d3-9029-c880e2f871dc" providerId="ADAL" clId="{3805CE6B-0C93-494E-84A7-5C072C666FC6}" dt="2020-01-15T04:11:21.519" v="58" actId="732"/>
          <ac:picMkLst>
            <pc:docMk/>
            <pc:sldMk cId="3108269840" sldId="10347"/>
            <ac:picMk id="8" creationId="{9B4AB08A-85E6-48B6-A54F-8570B52B4225}"/>
          </ac:picMkLst>
        </pc:picChg>
      </pc:sldChg>
      <pc:sldChg chg="addSp delSp modSp mod">
        <pc:chgData name="Sally Shi" userId="3dd53fc4-fdbd-42d3-9029-c880e2f871dc" providerId="ADAL" clId="{3805CE6B-0C93-494E-84A7-5C072C666FC6}" dt="2020-01-15T04:15:10.982" v="178" actId="1076"/>
        <pc:sldMkLst>
          <pc:docMk/>
          <pc:sldMk cId="3302623565" sldId="10348"/>
        </pc:sldMkLst>
        <pc:spChg chg="mod">
          <ac:chgData name="Sally Shi" userId="3dd53fc4-fdbd-42d3-9029-c880e2f871dc" providerId="ADAL" clId="{3805CE6B-0C93-494E-84A7-5C072C666FC6}" dt="2020-01-15T04:15:10.982" v="178" actId="1076"/>
          <ac:spMkLst>
            <pc:docMk/>
            <pc:sldMk cId="3302623565" sldId="10348"/>
            <ac:spMk id="19" creationId="{7660B8B1-93AF-470E-AA70-8663EA931042}"/>
          </ac:spMkLst>
        </pc:spChg>
        <pc:picChg chg="del">
          <ac:chgData name="Sally Shi" userId="3dd53fc4-fdbd-42d3-9029-c880e2f871dc" providerId="ADAL" clId="{3805CE6B-0C93-494E-84A7-5C072C666FC6}" dt="2020-01-15T04:14:52.388" v="170" actId="478"/>
          <ac:picMkLst>
            <pc:docMk/>
            <pc:sldMk cId="3302623565" sldId="10348"/>
            <ac:picMk id="16" creationId="{60575E8F-F958-4C06-9100-BAA2FDB86784}"/>
          </ac:picMkLst>
        </pc:picChg>
        <pc:picChg chg="add ord">
          <ac:chgData name="Sally Shi" userId="3dd53fc4-fdbd-42d3-9029-c880e2f871dc" providerId="ADAL" clId="{3805CE6B-0C93-494E-84A7-5C072C666FC6}" dt="2020-01-15T04:15:05.561" v="175" actId="171"/>
          <ac:picMkLst>
            <pc:docMk/>
            <pc:sldMk cId="3302623565" sldId="10348"/>
            <ac:picMk id="18" creationId="{02DF8034-0C43-41A6-8157-F35D4B20BAA2}"/>
          </ac:picMkLst>
        </pc:picChg>
      </pc:sldChg>
      <pc:sldChg chg="modSp mod modShow">
        <pc:chgData name="Sally Shi" userId="3dd53fc4-fdbd-42d3-9029-c880e2f871dc" providerId="ADAL" clId="{3805CE6B-0C93-494E-84A7-5C072C666FC6}" dt="2020-01-15T04:15:32.977" v="182" actId="729"/>
        <pc:sldMkLst>
          <pc:docMk/>
          <pc:sldMk cId="1689281788" sldId="10349"/>
        </pc:sldMkLst>
        <pc:spChg chg="mod">
          <ac:chgData name="Sally Shi" userId="3dd53fc4-fdbd-42d3-9029-c880e2f871dc" providerId="ADAL" clId="{3805CE6B-0C93-494E-84A7-5C072C666FC6}" dt="2020-01-15T04:15:18.825" v="180" actId="20577"/>
          <ac:spMkLst>
            <pc:docMk/>
            <pc:sldMk cId="1689281788" sldId="10349"/>
            <ac:spMk id="19" creationId="{632FA7B3-B0DA-4E79-AC81-277288EE720D}"/>
          </ac:spMkLst>
        </pc:spChg>
      </pc:sldChg>
      <pc:sldChg chg="modSp mod">
        <pc:chgData name="Sally Shi" userId="3dd53fc4-fdbd-42d3-9029-c880e2f871dc" providerId="ADAL" clId="{3805CE6B-0C93-494E-84A7-5C072C666FC6}" dt="2020-01-15T04:19:14.303" v="489" actId="20577"/>
        <pc:sldMkLst>
          <pc:docMk/>
          <pc:sldMk cId="1297548876" sldId="10351"/>
        </pc:sldMkLst>
        <pc:spChg chg="mod">
          <ac:chgData name="Sally Shi" userId="3dd53fc4-fdbd-42d3-9029-c880e2f871dc" providerId="ADAL" clId="{3805CE6B-0C93-494E-84A7-5C072C666FC6}" dt="2020-01-15T04:19:14.303" v="489" actId="20577"/>
          <ac:spMkLst>
            <pc:docMk/>
            <pc:sldMk cId="1297548876" sldId="10351"/>
            <ac:spMk id="4" creationId="{75A51585-12F1-4EA5-9878-13AAC4ADC925}"/>
          </ac:spMkLst>
        </pc:spChg>
      </pc:sldChg>
      <pc:sldChg chg="mod modShow">
        <pc:chgData name="Sally Shi" userId="3dd53fc4-fdbd-42d3-9029-c880e2f871dc" providerId="ADAL" clId="{3805CE6B-0C93-494E-84A7-5C072C666FC6}" dt="2020-01-15T04:53:22.227" v="574" actId="729"/>
        <pc:sldMkLst>
          <pc:docMk/>
          <pc:sldMk cId="3704894611" sldId="10813"/>
        </pc:sldMkLst>
      </pc:sldChg>
      <pc:sldChg chg="mod modShow">
        <pc:chgData name="Sally Shi" userId="3dd53fc4-fdbd-42d3-9029-c880e2f871dc" providerId="ADAL" clId="{3805CE6B-0C93-494E-84A7-5C072C666FC6}" dt="2020-01-15T04:22:53.638" v="520" actId="729"/>
        <pc:sldMkLst>
          <pc:docMk/>
          <pc:sldMk cId="3758059688" sldId="10822"/>
        </pc:sldMkLst>
      </pc:sldChg>
      <pc:sldChg chg="modSp mod">
        <pc:chgData name="Sally Shi" userId="3dd53fc4-fdbd-42d3-9029-c880e2f871dc" providerId="ADAL" clId="{3805CE6B-0C93-494E-84A7-5C072C666FC6}" dt="2020-01-29T23:12:57.286" v="679" actId="20577"/>
        <pc:sldMkLst>
          <pc:docMk/>
          <pc:sldMk cId="2926883594" sldId="10850"/>
        </pc:sldMkLst>
        <pc:spChg chg="mod">
          <ac:chgData name="Sally Shi" userId="3dd53fc4-fdbd-42d3-9029-c880e2f871dc" providerId="ADAL" clId="{3805CE6B-0C93-494E-84A7-5C072C666FC6}" dt="2020-01-29T23:12:57.286" v="679" actId="20577"/>
          <ac:spMkLst>
            <pc:docMk/>
            <pc:sldMk cId="2926883594" sldId="10850"/>
            <ac:spMk id="4" creationId="{25F1562B-2F3B-4475-A14B-4E54D23B37EB}"/>
          </ac:spMkLst>
        </pc:spChg>
      </pc:sldChg>
      <pc:sldChg chg="modSp mod">
        <pc:chgData name="Sally Shi" userId="3dd53fc4-fdbd-42d3-9029-c880e2f871dc" providerId="ADAL" clId="{3805CE6B-0C93-494E-84A7-5C072C666FC6}" dt="2020-01-15T04:54:24.450" v="625" actId="20577"/>
        <pc:sldMkLst>
          <pc:docMk/>
          <pc:sldMk cId="4177417686" sldId="10865"/>
        </pc:sldMkLst>
        <pc:spChg chg="mod">
          <ac:chgData name="Sally Shi" userId="3dd53fc4-fdbd-42d3-9029-c880e2f871dc" providerId="ADAL" clId="{3805CE6B-0C93-494E-84A7-5C072C666FC6}" dt="2020-01-15T04:54:24.450" v="625" actId="20577"/>
          <ac:spMkLst>
            <pc:docMk/>
            <pc:sldMk cId="4177417686" sldId="10865"/>
            <ac:spMk id="4" creationId="{75A51585-12F1-4EA5-9878-13AAC4ADC925}"/>
          </ac:spMkLst>
        </pc:spChg>
      </pc:sldChg>
      <pc:sldChg chg="mod modShow">
        <pc:chgData name="Sally Shi" userId="3dd53fc4-fdbd-42d3-9029-c880e2f871dc" providerId="ADAL" clId="{3805CE6B-0C93-494E-84A7-5C072C666FC6}" dt="2020-01-15T04:22:36.343" v="517" actId="729"/>
        <pc:sldMkLst>
          <pc:docMk/>
          <pc:sldMk cId="1821894117" sldId="10869"/>
        </pc:sldMkLst>
      </pc:sldChg>
      <pc:sldChg chg="modSp mod">
        <pc:chgData name="Sally Shi" userId="3dd53fc4-fdbd-42d3-9029-c880e2f871dc" providerId="ADAL" clId="{3805CE6B-0C93-494E-84A7-5C072C666FC6}" dt="2020-01-15T04:56:07.896" v="646" actId="20577"/>
        <pc:sldMkLst>
          <pc:docMk/>
          <pc:sldMk cId="2829938703" sldId="10871"/>
        </pc:sldMkLst>
        <pc:spChg chg="mod">
          <ac:chgData name="Sally Shi" userId="3dd53fc4-fdbd-42d3-9029-c880e2f871dc" providerId="ADAL" clId="{3805CE6B-0C93-494E-84A7-5C072C666FC6}" dt="2020-01-15T04:56:07.896" v="646" actId="20577"/>
          <ac:spMkLst>
            <pc:docMk/>
            <pc:sldMk cId="2829938703" sldId="10871"/>
            <ac:spMk id="2" creationId="{4967DB64-89F1-4E6E-BC2F-E72380584D1E}"/>
          </ac:spMkLst>
        </pc:spChg>
      </pc:sldChg>
      <pc:sldChg chg="modSp del mod">
        <pc:chgData name="Sally Shi" userId="3dd53fc4-fdbd-42d3-9029-c880e2f871dc" providerId="ADAL" clId="{3805CE6B-0C93-494E-84A7-5C072C666FC6}" dt="2020-01-15T04:55:27.646" v="633" actId="47"/>
        <pc:sldMkLst>
          <pc:docMk/>
          <pc:sldMk cId="3903838352" sldId="10880"/>
        </pc:sldMkLst>
        <pc:spChg chg="mod">
          <ac:chgData name="Sally Shi" userId="3dd53fc4-fdbd-42d3-9029-c880e2f871dc" providerId="ADAL" clId="{3805CE6B-0C93-494E-84A7-5C072C666FC6}" dt="2020-01-15T04:55:18.398" v="632"/>
          <ac:spMkLst>
            <pc:docMk/>
            <pc:sldMk cId="3903838352" sldId="10880"/>
            <ac:spMk id="4" creationId="{94B42BE1-D516-4AB1-BCF4-A4847C32D2BE}"/>
          </ac:spMkLst>
        </pc:spChg>
      </pc:sldChg>
      <pc:sldChg chg="ord">
        <pc:chgData name="Sally Shi" userId="3dd53fc4-fdbd-42d3-9029-c880e2f871dc" providerId="ADAL" clId="{3805CE6B-0C93-494E-84A7-5C072C666FC6}" dt="2020-01-15T04:22:44.624" v="519"/>
        <pc:sldMkLst>
          <pc:docMk/>
          <pc:sldMk cId="437806450" sldId="10885"/>
        </pc:sldMkLst>
      </pc:sldChg>
      <pc:sldChg chg="modSp mod">
        <pc:chgData name="Sally Shi" userId="3dd53fc4-fdbd-42d3-9029-c880e2f871dc" providerId="ADAL" clId="{3805CE6B-0C93-494E-84A7-5C072C666FC6}" dt="2020-01-29T23:13:28.248" v="689" actId="20577"/>
        <pc:sldMkLst>
          <pc:docMk/>
          <pc:sldMk cId="3380621522" sldId="2076136514"/>
        </pc:sldMkLst>
        <pc:graphicFrameChg chg="modGraphic">
          <ac:chgData name="Sally Shi" userId="3dd53fc4-fdbd-42d3-9029-c880e2f871dc" providerId="ADAL" clId="{3805CE6B-0C93-494E-84A7-5C072C666FC6}" dt="2020-01-29T23:13:28.248" v="689" actId="20577"/>
          <ac:graphicFrameMkLst>
            <pc:docMk/>
            <pc:sldMk cId="3380621522" sldId="2076136514"/>
            <ac:graphicFrameMk id="7" creationId="{990DBDB5-9930-467E-BB02-6EEAE153D857}"/>
          </ac:graphicFrameMkLst>
        </pc:graphicFrameChg>
      </pc:sldChg>
      <pc:sldChg chg="modSp mod">
        <pc:chgData name="Sally Shi" userId="3dd53fc4-fdbd-42d3-9029-c880e2f871dc" providerId="ADAL" clId="{3805CE6B-0C93-494E-84A7-5C072C666FC6}" dt="2020-01-15T04:50:20.948" v="573" actId="20577"/>
        <pc:sldMkLst>
          <pc:docMk/>
          <pc:sldMk cId="2644170674" sldId="2076136519"/>
        </pc:sldMkLst>
        <pc:graphicFrameChg chg="mod modGraphic">
          <ac:chgData name="Sally Shi" userId="3dd53fc4-fdbd-42d3-9029-c880e2f871dc" providerId="ADAL" clId="{3805CE6B-0C93-494E-84A7-5C072C666FC6}" dt="2020-01-15T04:50:20.948" v="573" actId="20577"/>
          <ac:graphicFrameMkLst>
            <pc:docMk/>
            <pc:sldMk cId="2644170674" sldId="2076136519"/>
            <ac:graphicFrameMk id="7" creationId="{990DBDB5-9930-467E-BB02-6EEAE153D857}"/>
          </ac:graphicFrameMkLst>
        </pc:graphicFrameChg>
      </pc:sldChg>
      <pc:sldChg chg="modSp mod">
        <pc:chgData name="Sally Shi" userId="3dd53fc4-fdbd-42d3-9029-c880e2f871dc" providerId="ADAL" clId="{3805CE6B-0C93-494E-84A7-5C072C666FC6}" dt="2020-01-15T04:19:26.406" v="497" actId="20577"/>
        <pc:sldMkLst>
          <pc:docMk/>
          <pc:sldMk cId="2991714122" sldId="2076136529"/>
        </pc:sldMkLst>
        <pc:spChg chg="mod">
          <ac:chgData name="Sally Shi" userId="3dd53fc4-fdbd-42d3-9029-c880e2f871dc" providerId="ADAL" clId="{3805CE6B-0C93-494E-84A7-5C072C666FC6}" dt="2020-01-15T04:19:26.406" v="497" actId="20577"/>
          <ac:spMkLst>
            <pc:docMk/>
            <pc:sldMk cId="2991714122" sldId="2076136529"/>
            <ac:spMk id="4" creationId="{75A51585-12F1-4EA5-9878-13AAC4ADC925}"/>
          </ac:spMkLst>
        </pc:spChg>
      </pc:sldChg>
      <pc:sldChg chg="addSp delSp modSp add mod">
        <pc:chgData name="Sally Shi" userId="3dd53fc4-fdbd-42d3-9029-c880e2f871dc" providerId="ADAL" clId="{3805CE6B-0C93-494E-84A7-5C072C666FC6}" dt="2020-01-15T04:18:37.911" v="476" actId="20577"/>
        <pc:sldMkLst>
          <pc:docMk/>
          <pc:sldMk cId="2282767029" sldId="2076136531"/>
        </pc:sldMkLst>
        <pc:spChg chg="mod">
          <ac:chgData name="Sally Shi" userId="3dd53fc4-fdbd-42d3-9029-c880e2f871dc" providerId="ADAL" clId="{3805CE6B-0C93-494E-84A7-5C072C666FC6}" dt="2020-01-15T04:15:44.479" v="200" actId="20577"/>
          <ac:spMkLst>
            <pc:docMk/>
            <pc:sldMk cId="2282767029" sldId="2076136531"/>
            <ac:spMk id="6" creationId="{4BA4A258-F0F4-4541-9F92-2FAC2F37DF38}"/>
          </ac:spMkLst>
        </pc:spChg>
        <pc:spChg chg="mod">
          <ac:chgData name="Sally Shi" userId="3dd53fc4-fdbd-42d3-9029-c880e2f871dc" providerId="ADAL" clId="{3805CE6B-0C93-494E-84A7-5C072C666FC6}" dt="2020-01-15T04:17:49.246" v="464" actId="1076"/>
          <ac:spMkLst>
            <pc:docMk/>
            <pc:sldMk cId="2282767029" sldId="2076136531"/>
            <ac:spMk id="15" creationId="{DF99734A-E41A-4492-8004-577E338EB8EA}"/>
          </ac:spMkLst>
        </pc:spChg>
        <pc:spChg chg="mod">
          <ac:chgData name="Sally Shi" userId="3dd53fc4-fdbd-42d3-9029-c880e2f871dc" providerId="ADAL" clId="{3805CE6B-0C93-494E-84A7-5C072C666FC6}" dt="2020-01-15T04:18:37.911" v="476" actId="20577"/>
          <ac:spMkLst>
            <pc:docMk/>
            <pc:sldMk cId="2282767029" sldId="2076136531"/>
            <ac:spMk id="19" creationId="{632FA7B3-B0DA-4E79-AC81-277288EE720D}"/>
          </ac:spMkLst>
        </pc:spChg>
        <pc:picChg chg="add mod ord modCrop">
          <ac:chgData name="Sally Shi" userId="3dd53fc4-fdbd-42d3-9029-c880e2f871dc" providerId="ADAL" clId="{3805CE6B-0C93-494E-84A7-5C072C666FC6}" dt="2020-01-15T04:18:29.274" v="472" actId="171"/>
          <ac:picMkLst>
            <pc:docMk/>
            <pc:sldMk cId="2282767029" sldId="2076136531"/>
            <ac:picMk id="3" creationId="{2C20FA83-CBEB-47F0-BCE5-4BD7A50A8D9B}"/>
          </ac:picMkLst>
        </pc:picChg>
        <pc:picChg chg="del">
          <ac:chgData name="Sally Shi" userId="3dd53fc4-fdbd-42d3-9029-c880e2f871dc" providerId="ADAL" clId="{3805CE6B-0C93-494E-84A7-5C072C666FC6}" dt="2020-01-15T04:15:50.004" v="201" actId="478"/>
          <ac:picMkLst>
            <pc:docMk/>
            <pc:sldMk cId="2282767029" sldId="2076136531"/>
            <ac:picMk id="4" creationId="{C386A9C7-62CF-4502-ADF6-29A956BEC972}"/>
          </ac:picMkLst>
        </pc:picChg>
      </pc:sldChg>
      <pc:sldChg chg="addSp delSp new del">
        <pc:chgData name="Sally Shi" userId="3dd53fc4-fdbd-42d3-9029-c880e2f871dc" providerId="ADAL" clId="{3805CE6B-0C93-494E-84A7-5C072C666FC6}" dt="2020-01-15T04:21:50.141" v="516" actId="47"/>
        <pc:sldMkLst>
          <pc:docMk/>
          <pc:sldMk cId="3544712972" sldId="2076136532"/>
        </pc:sldMkLst>
        <pc:picChg chg="add del">
          <ac:chgData name="Sally Shi" userId="3dd53fc4-fdbd-42d3-9029-c880e2f871dc" providerId="ADAL" clId="{3805CE6B-0C93-494E-84A7-5C072C666FC6}" dt="2020-01-15T04:21:13.837" v="502"/>
          <ac:picMkLst>
            <pc:docMk/>
            <pc:sldMk cId="3544712972" sldId="2076136532"/>
            <ac:picMk id="4" creationId="{4920D31D-5C36-4936-91A2-3DC18AB7EC21}"/>
          </ac:picMkLst>
        </pc:picChg>
      </pc:sldChg>
      <pc:sldChg chg="modSp add mod ord">
        <pc:chgData name="Sally Shi" userId="3dd53fc4-fdbd-42d3-9029-c880e2f871dc" providerId="ADAL" clId="{3805CE6B-0C93-494E-84A7-5C072C666FC6}" dt="2020-01-15T04:21:45.239" v="515" actId="20577"/>
        <pc:sldMkLst>
          <pc:docMk/>
          <pc:sldMk cId="2541952490" sldId="2076136533"/>
        </pc:sldMkLst>
        <pc:spChg chg="mod">
          <ac:chgData name="Sally Shi" userId="3dd53fc4-fdbd-42d3-9029-c880e2f871dc" providerId="ADAL" clId="{3805CE6B-0C93-494E-84A7-5C072C666FC6}" dt="2020-01-15T04:21:45.239" v="515" actId="20577"/>
          <ac:spMkLst>
            <pc:docMk/>
            <pc:sldMk cId="2541952490" sldId="2076136533"/>
            <ac:spMk id="4" creationId="{75A51585-12F1-4EA5-9878-13AAC4ADC925}"/>
          </ac:spMkLst>
        </pc:spChg>
      </pc:sldChg>
      <pc:sldChg chg="new del">
        <pc:chgData name="Sally Shi" userId="3dd53fc4-fdbd-42d3-9029-c880e2f871dc" providerId="ADAL" clId="{3805CE6B-0C93-494E-84A7-5C072C666FC6}" dt="2020-01-15T04:56:30.584" v="649" actId="47"/>
        <pc:sldMkLst>
          <pc:docMk/>
          <pc:sldMk cId="3935433582" sldId="2076136534"/>
        </pc:sldMkLst>
      </pc:sldChg>
      <pc:sldChg chg="modSp add mod ord">
        <pc:chgData name="Sally Shi" userId="3dd53fc4-fdbd-42d3-9029-c880e2f871dc" providerId="ADAL" clId="{3805CE6B-0C93-494E-84A7-5C072C666FC6}" dt="2020-01-15T04:57:05.299" v="672"/>
        <pc:sldMkLst>
          <pc:docMk/>
          <pc:sldMk cId="2527200547" sldId="2076136535"/>
        </pc:sldMkLst>
        <pc:spChg chg="mod">
          <ac:chgData name="Sally Shi" userId="3dd53fc4-fdbd-42d3-9029-c880e2f871dc" providerId="ADAL" clId="{3805CE6B-0C93-494E-84A7-5C072C666FC6}" dt="2020-01-15T04:56:57.683" v="670" actId="20577"/>
          <ac:spMkLst>
            <pc:docMk/>
            <pc:sldMk cId="2527200547" sldId="2076136535"/>
            <ac:spMk id="2" creationId="{4967DB64-89F1-4E6E-BC2F-E72380584D1E}"/>
          </ac:spMkLst>
        </pc:spChg>
      </pc:sldChg>
    </pc:docChg>
  </pc:docChgLst>
  <pc:docChgLst>
    <pc:chgData name="Sally Shi" userId="3dd53fc4-fdbd-42d3-9029-c880e2f871dc" providerId="ADAL" clId="{C8AB38FB-FA8F-41D9-9EAC-5272E0AEFB98}"/>
    <pc:docChg chg="undo redo custSel addSld delSld modSld sldOrd addSection modSection">
      <pc:chgData name="Sally Shi" userId="3dd53fc4-fdbd-42d3-9029-c880e2f871dc" providerId="ADAL" clId="{C8AB38FB-FA8F-41D9-9EAC-5272E0AEFB98}" dt="2020-02-26T06:15:29.169" v="851" actId="47"/>
      <pc:docMkLst>
        <pc:docMk/>
      </pc:docMkLst>
      <pc:sldChg chg="addSp delSp modSp del mod">
        <pc:chgData name="Sally Shi" userId="3dd53fc4-fdbd-42d3-9029-c880e2f871dc" providerId="ADAL" clId="{C8AB38FB-FA8F-41D9-9EAC-5272E0AEFB98}" dt="2020-01-30T04:14:23.483" v="767" actId="47"/>
        <pc:sldMkLst>
          <pc:docMk/>
          <pc:sldMk cId="4057974295" sldId="259"/>
        </pc:sldMkLst>
        <pc:picChg chg="add mod modCrop">
          <ac:chgData name="Sally Shi" userId="3dd53fc4-fdbd-42d3-9029-c880e2f871dc" providerId="ADAL" clId="{C8AB38FB-FA8F-41D9-9EAC-5272E0AEFB98}" dt="2020-01-30T03:04:38.829" v="427" actId="1038"/>
          <ac:picMkLst>
            <pc:docMk/>
            <pc:sldMk cId="4057974295" sldId="259"/>
            <ac:picMk id="3" creationId="{394DB63F-1BF4-4EEC-AFE8-9037F87552F2}"/>
          </ac:picMkLst>
        </pc:picChg>
        <pc:picChg chg="del">
          <ac:chgData name="Sally Shi" userId="3dd53fc4-fdbd-42d3-9029-c880e2f871dc" providerId="ADAL" clId="{C8AB38FB-FA8F-41D9-9EAC-5272E0AEFB98}" dt="2020-01-30T03:03:29.104" v="405" actId="478"/>
          <ac:picMkLst>
            <pc:docMk/>
            <pc:sldMk cId="4057974295" sldId="259"/>
            <ac:picMk id="8" creationId="{CC98FCD6-0891-4A58-851B-7A35251C684A}"/>
          </ac:picMkLst>
        </pc:picChg>
      </pc:sldChg>
      <pc:sldChg chg="del mod ord modShow">
        <pc:chgData name="Sally Shi" userId="3dd53fc4-fdbd-42d3-9029-c880e2f871dc" providerId="ADAL" clId="{C8AB38FB-FA8F-41D9-9EAC-5272E0AEFB98}" dt="2020-02-26T06:14:03.700" v="820" actId="47"/>
        <pc:sldMkLst>
          <pc:docMk/>
          <pc:sldMk cId="3480625456" sldId="260"/>
        </pc:sldMkLst>
      </pc:sldChg>
      <pc:sldChg chg="del ord">
        <pc:chgData name="Sally Shi" userId="3dd53fc4-fdbd-42d3-9029-c880e2f871dc" providerId="ADAL" clId="{C8AB38FB-FA8F-41D9-9EAC-5272E0AEFB98}" dt="2020-01-30T04:14:24.753" v="768" actId="47"/>
        <pc:sldMkLst>
          <pc:docMk/>
          <pc:sldMk cId="3524136653" sldId="261"/>
        </pc:sldMkLst>
      </pc:sldChg>
      <pc:sldChg chg="del ord">
        <pc:chgData name="Sally Shi" userId="3dd53fc4-fdbd-42d3-9029-c880e2f871dc" providerId="ADAL" clId="{C8AB38FB-FA8F-41D9-9EAC-5272E0AEFB98}" dt="2020-01-30T04:14:25.656" v="769" actId="47"/>
        <pc:sldMkLst>
          <pc:docMk/>
          <pc:sldMk cId="607472284" sldId="262"/>
        </pc:sldMkLst>
      </pc:sldChg>
      <pc:sldChg chg="delSp modSp del mod ord">
        <pc:chgData name="Sally Shi" userId="3dd53fc4-fdbd-42d3-9029-c880e2f871dc" providerId="ADAL" clId="{C8AB38FB-FA8F-41D9-9EAC-5272E0AEFB98}" dt="2020-01-30T04:14:26.751" v="770" actId="47"/>
        <pc:sldMkLst>
          <pc:docMk/>
          <pc:sldMk cId="347957308" sldId="263"/>
        </pc:sldMkLst>
        <pc:picChg chg="del mod modCrop">
          <ac:chgData name="Sally Shi" userId="3dd53fc4-fdbd-42d3-9029-c880e2f871dc" providerId="ADAL" clId="{C8AB38FB-FA8F-41D9-9EAC-5272E0AEFB98}" dt="2020-01-30T03:03:18" v="404" actId="478"/>
          <ac:picMkLst>
            <pc:docMk/>
            <pc:sldMk cId="347957308" sldId="263"/>
            <ac:picMk id="7" creationId="{D045D741-D0B2-4495-8846-25623EAE2D73}"/>
          </ac:picMkLst>
        </pc:picChg>
      </pc:sldChg>
      <pc:sldChg chg="addSp delSp modSp del mod">
        <pc:chgData name="Sally Shi" userId="3dd53fc4-fdbd-42d3-9029-c880e2f871dc" providerId="ADAL" clId="{C8AB38FB-FA8F-41D9-9EAC-5272E0AEFB98}" dt="2020-01-30T04:14:27.408" v="771" actId="47"/>
        <pc:sldMkLst>
          <pc:docMk/>
          <pc:sldMk cId="3225054486" sldId="264"/>
        </pc:sldMkLst>
        <pc:picChg chg="add mod">
          <ac:chgData name="Sally Shi" userId="3dd53fc4-fdbd-42d3-9029-c880e2f871dc" providerId="ADAL" clId="{C8AB38FB-FA8F-41D9-9EAC-5272E0AEFB98}" dt="2020-01-30T02:57:52.474" v="395" actId="1076"/>
          <ac:picMkLst>
            <pc:docMk/>
            <pc:sldMk cId="3225054486" sldId="264"/>
            <ac:picMk id="3" creationId="{80D08B33-E0B1-4A69-90AF-C85C24FBB00C}"/>
          </ac:picMkLst>
        </pc:picChg>
        <pc:picChg chg="add del">
          <ac:chgData name="Sally Shi" userId="3dd53fc4-fdbd-42d3-9029-c880e2f871dc" providerId="ADAL" clId="{C8AB38FB-FA8F-41D9-9EAC-5272E0AEFB98}" dt="2020-01-30T02:54:58.215" v="391" actId="478"/>
          <ac:picMkLst>
            <pc:docMk/>
            <pc:sldMk cId="3225054486" sldId="264"/>
            <ac:picMk id="8" creationId="{E2692868-85A6-459C-A2DA-9651E6887507}"/>
          </ac:picMkLst>
        </pc:picChg>
      </pc:sldChg>
      <pc:sldChg chg="del mod modShow">
        <pc:chgData name="Sally Shi" userId="3dd53fc4-fdbd-42d3-9029-c880e2f871dc" providerId="ADAL" clId="{C8AB38FB-FA8F-41D9-9EAC-5272E0AEFB98}" dt="2020-01-30T04:14:49.044" v="772" actId="47"/>
        <pc:sldMkLst>
          <pc:docMk/>
          <pc:sldMk cId="63901831" sldId="288"/>
        </pc:sldMkLst>
      </pc:sldChg>
      <pc:sldChg chg="del mod modShow">
        <pc:chgData name="Sally Shi" userId="3dd53fc4-fdbd-42d3-9029-c880e2f871dc" providerId="ADAL" clId="{C8AB38FB-FA8F-41D9-9EAC-5272E0AEFB98}" dt="2020-01-30T04:14:50.206" v="773" actId="47"/>
        <pc:sldMkLst>
          <pc:docMk/>
          <pc:sldMk cId="1474625644" sldId="289"/>
        </pc:sldMkLst>
      </pc:sldChg>
      <pc:sldChg chg="del">
        <pc:chgData name="Sally Shi" userId="3dd53fc4-fdbd-42d3-9029-c880e2f871dc" providerId="ADAL" clId="{C8AB38FB-FA8F-41D9-9EAC-5272E0AEFB98}" dt="2020-01-30T04:16:05.510" v="777" actId="47"/>
        <pc:sldMkLst>
          <pc:docMk/>
          <pc:sldMk cId="2896549416" sldId="296"/>
        </pc:sldMkLst>
      </pc:sldChg>
      <pc:sldChg chg="modSp mod">
        <pc:chgData name="Sally Shi" userId="3dd53fc4-fdbd-42d3-9029-c880e2f871dc" providerId="ADAL" clId="{C8AB38FB-FA8F-41D9-9EAC-5272E0AEFB98}" dt="2020-01-30T04:16:15.690" v="781" actId="20577"/>
        <pc:sldMkLst>
          <pc:docMk/>
          <pc:sldMk cId="2360380625" sldId="298"/>
        </pc:sldMkLst>
        <pc:spChg chg="mod">
          <ac:chgData name="Sally Shi" userId="3dd53fc4-fdbd-42d3-9029-c880e2f871dc" providerId="ADAL" clId="{C8AB38FB-FA8F-41D9-9EAC-5272E0AEFB98}" dt="2020-01-30T04:16:15.690" v="781" actId="20577"/>
          <ac:spMkLst>
            <pc:docMk/>
            <pc:sldMk cId="2360380625" sldId="298"/>
            <ac:spMk id="2" creationId="{24C7C901-A336-45DC-A4F0-EA1ECF67F755}"/>
          </ac:spMkLst>
        </pc:spChg>
      </pc:sldChg>
      <pc:sldChg chg="add del">
        <pc:chgData name="Sally Shi" userId="3dd53fc4-fdbd-42d3-9029-c880e2f871dc" providerId="ADAL" clId="{C8AB38FB-FA8F-41D9-9EAC-5272E0AEFB98}" dt="2020-01-30T04:15:20.971" v="775" actId="47"/>
        <pc:sldMkLst>
          <pc:docMk/>
          <pc:sldMk cId="1047126255" sldId="307"/>
        </pc:sldMkLst>
      </pc:sldChg>
      <pc:sldChg chg="del">
        <pc:chgData name="Sally Shi" userId="3dd53fc4-fdbd-42d3-9029-c880e2f871dc" providerId="ADAL" clId="{C8AB38FB-FA8F-41D9-9EAC-5272E0AEFB98}" dt="2020-01-30T04:16:03.584" v="776" actId="47"/>
        <pc:sldMkLst>
          <pc:docMk/>
          <pc:sldMk cId="3339465624" sldId="308"/>
        </pc:sldMkLst>
      </pc:sldChg>
      <pc:sldChg chg="modSp mod">
        <pc:chgData name="Sally Shi" userId="3dd53fc4-fdbd-42d3-9029-c880e2f871dc" providerId="ADAL" clId="{C8AB38FB-FA8F-41D9-9EAC-5272E0AEFB98}" dt="2020-01-30T04:16:09.714" v="779" actId="20577"/>
        <pc:sldMkLst>
          <pc:docMk/>
          <pc:sldMk cId="692036809" sldId="309"/>
        </pc:sldMkLst>
        <pc:spChg chg="mod">
          <ac:chgData name="Sally Shi" userId="3dd53fc4-fdbd-42d3-9029-c880e2f871dc" providerId="ADAL" clId="{C8AB38FB-FA8F-41D9-9EAC-5272E0AEFB98}" dt="2020-01-30T04:16:09.714" v="779" actId="20577"/>
          <ac:spMkLst>
            <pc:docMk/>
            <pc:sldMk cId="692036809" sldId="309"/>
            <ac:spMk id="2" creationId="{729E159D-BEC3-487F-9F23-AB0DEF2A2A31}"/>
          </ac:spMkLst>
        </pc:spChg>
      </pc:sldChg>
      <pc:sldChg chg="add">
        <pc:chgData name="Sally Shi" userId="3dd53fc4-fdbd-42d3-9029-c880e2f871dc" providerId="ADAL" clId="{C8AB38FB-FA8F-41D9-9EAC-5272E0AEFB98}" dt="2020-01-30T03:49:31.201" v="589"/>
        <pc:sldMkLst>
          <pc:docMk/>
          <pc:sldMk cId="2402828649" sldId="1532"/>
        </pc:sldMkLst>
      </pc:sldChg>
      <pc:sldChg chg="modSp mod">
        <pc:chgData name="Sally Shi" userId="3dd53fc4-fdbd-42d3-9029-c880e2f871dc" providerId="ADAL" clId="{C8AB38FB-FA8F-41D9-9EAC-5272E0AEFB98}" dt="2020-01-30T00:54:09.768" v="264" actId="20577"/>
        <pc:sldMkLst>
          <pc:docMk/>
          <pc:sldMk cId="969820851" sldId="1600"/>
        </pc:sldMkLst>
        <pc:spChg chg="mod">
          <ac:chgData name="Sally Shi" userId="3dd53fc4-fdbd-42d3-9029-c880e2f871dc" providerId="ADAL" clId="{C8AB38FB-FA8F-41D9-9EAC-5272E0AEFB98}" dt="2020-01-30T00:54:09.768" v="264" actId="20577"/>
          <ac:spMkLst>
            <pc:docMk/>
            <pc:sldMk cId="969820851" sldId="1600"/>
            <ac:spMk id="13" creationId="{00000000-0000-0000-0000-000000000000}"/>
          </ac:spMkLst>
        </pc:spChg>
      </pc:sldChg>
      <pc:sldChg chg="del">
        <pc:chgData name="Sally Shi" userId="3dd53fc4-fdbd-42d3-9029-c880e2f871dc" providerId="ADAL" clId="{C8AB38FB-FA8F-41D9-9EAC-5272E0AEFB98}" dt="2020-01-30T03:19:12.613" v="459" actId="47"/>
        <pc:sldMkLst>
          <pc:docMk/>
          <pc:sldMk cId="2391456441" sldId="10293"/>
        </pc:sldMkLst>
      </pc:sldChg>
      <pc:sldChg chg="del">
        <pc:chgData name="Sally Shi" userId="3dd53fc4-fdbd-42d3-9029-c880e2f871dc" providerId="ADAL" clId="{C8AB38FB-FA8F-41D9-9EAC-5272E0AEFB98}" dt="2020-01-30T03:40:41.208" v="559" actId="47"/>
        <pc:sldMkLst>
          <pc:docMk/>
          <pc:sldMk cId="688806861" sldId="10336"/>
        </pc:sldMkLst>
      </pc:sldChg>
      <pc:sldChg chg="del">
        <pc:chgData name="Sally Shi" userId="3dd53fc4-fdbd-42d3-9029-c880e2f871dc" providerId="ADAL" clId="{C8AB38FB-FA8F-41D9-9EAC-5272E0AEFB98}" dt="2020-01-30T03:30:21.204" v="489" actId="47"/>
        <pc:sldMkLst>
          <pc:docMk/>
          <pc:sldMk cId="2269699521" sldId="10344"/>
        </pc:sldMkLst>
      </pc:sldChg>
      <pc:sldChg chg="del">
        <pc:chgData name="Sally Shi" userId="3dd53fc4-fdbd-42d3-9029-c880e2f871dc" providerId="ADAL" clId="{C8AB38FB-FA8F-41D9-9EAC-5272E0AEFB98}" dt="2020-01-30T03:30:22.230" v="490" actId="47"/>
        <pc:sldMkLst>
          <pc:docMk/>
          <pc:sldMk cId="1440651533" sldId="10345"/>
        </pc:sldMkLst>
      </pc:sldChg>
      <pc:sldChg chg="del mod ord modShow">
        <pc:chgData name="Sally Shi" userId="3dd53fc4-fdbd-42d3-9029-c880e2f871dc" providerId="ADAL" clId="{C8AB38FB-FA8F-41D9-9EAC-5272E0AEFB98}" dt="2020-02-26T06:14:00.766" v="815" actId="47"/>
        <pc:sldMkLst>
          <pc:docMk/>
          <pc:sldMk cId="1287064046" sldId="10346"/>
        </pc:sldMkLst>
      </pc:sldChg>
      <pc:sldChg chg="del mod ord modShow">
        <pc:chgData name="Sally Shi" userId="3dd53fc4-fdbd-42d3-9029-c880e2f871dc" providerId="ADAL" clId="{C8AB38FB-FA8F-41D9-9EAC-5272E0AEFB98}" dt="2020-02-26T06:14:01.386" v="816" actId="47"/>
        <pc:sldMkLst>
          <pc:docMk/>
          <pc:sldMk cId="3108269840" sldId="10347"/>
        </pc:sldMkLst>
      </pc:sldChg>
      <pc:sldChg chg="del mod ord modShow">
        <pc:chgData name="Sally Shi" userId="3dd53fc4-fdbd-42d3-9029-c880e2f871dc" providerId="ADAL" clId="{C8AB38FB-FA8F-41D9-9EAC-5272E0AEFB98}" dt="2020-02-26T06:14:01.998" v="817" actId="47"/>
        <pc:sldMkLst>
          <pc:docMk/>
          <pc:sldMk cId="3302623565" sldId="10348"/>
        </pc:sldMkLst>
      </pc:sldChg>
      <pc:sldChg chg="del mod ord modShow">
        <pc:chgData name="Sally Shi" userId="3dd53fc4-fdbd-42d3-9029-c880e2f871dc" providerId="ADAL" clId="{C8AB38FB-FA8F-41D9-9EAC-5272E0AEFB98}" dt="2020-02-26T06:14:02.539" v="818" actId="47"/>
        <pc:sldMkLst>
          <pc:docMk/>
          <pc:sldMk cId="1689281788" sldId="10349"/>
        </pc:sldMkLst>
      </pc:sldChg>
      <pc:sldChg chg="add">
        <pc:chgData name="Sally Shi" userId="3dd53fc4-fdbd-42d3-9029-c880e2f871dc" providerId="ADAL" clId="{C8AB38FB-FA8F-41D9-9EAC-5272E0AEFB98}" dt="2020-01-30T03:30:49.923" v="494"/>
        <pc:sldMkLst>
          <pc:docMk/>
          <pc:sldMk cId="649541084" sldId="10350"/>
        </pc:sldMkLst>
      </pc:sldChg>
      <pc:sldChg chg="del">
        <pc:chgData name="Sally Shi" userId="3dd53fc4-fdbd-42d3-9029-c880e2f871dc" providerId="ADAL" clId="{C8AB38FB-FA8F-41D9-9EAC-5272E0AEFB98}" dt="2020-01-30T03:30:33.997" v="493" actId="2696"/>
        <pc:sldMkLst>
          <pc:docMk/>
          <pc:sldMk cId="3335617822" sldId="10350"/>
        </pc:sldMkLst>
      </pc:sldChg>
      <pc:sldChg chg="modSp del mod">
        <pc:chgData name="Sally Shi" userId="3dd53fc4-fdbd-42d3-9029-c880e2f871dc" providerId="ADAL" clId="{C8AB38FB-FA8F-41D9-9EAC-5272E0AEFB98}" dt="2020-01-30T03:30:26.377" v="492" actId="47"/>
        <pc:sldMkLst>
          <pc:docMk/>
          <pc:sldMk cId="1239154541" sldId="10352"/>
        </pc:sldMkLst>
        <pc:spChg chg="mod">
          <ac:chgData name="Sally Shi" userId="3dd53fc4-fdbd-42d3-9029-c880e2f871dc" providerId="ADAL" clId="{C8AB38FB-FA8F-41D9-9EAC-5272E0AEFB98}" dt="2020-01-30T03:11:37.677" v="449" actId="20577"/>
          <ac:spMkLst>
            <pc:docMk/>
            <pc:sldMk cId="1239154541" sldId="10352"/>
            <ac:spMk id="3" creationId="{2CBEA8A3-0C3D-462D-978C-81B3A46E2AB2}"/>
          </ac:spMkLst>
        </pc:spChg>
      </pc:sldChg>
      <pc:sldChg chg="del">
        <pc:chgData name="Sally Shi" userId="3dd53fc4-fdbd-42d3-9029-c880e2f871dc" providerId="ADAL" clId="{C8AB38FB-FA8F-41D9-9EAC-5272E0AEFB98}" dt="2020-01-30T03:30:24.561" v="491" actId="47"/>
        <pc:sldMkLst>
          <pc:docMk/>
          <pc:sldMk cId="2467903190" sldId="10354"/>
        </pc:sldMkLst>
      </pc:sldChg>
      <pc:sldChg chg="ord">
        <pc:chgData name="Sally Shi" userId="3dd53fc4-fdbd-42d3-9029-c880e2f871dc" providerId="ADAL" clId="{C8AB38FB-FA8F-41D9-9EAC-5272E0AEFB98}" dt="2020-01-30T00:47:31.308" v="219"/>
        <pc:sldMkLst>
          <pc:docMk/>
          <pc:sldMk cId="2942961453" sldId="10812"/>
        </pc:sldMkLst>
      </pc:sldChg>
      <pc:sldChg chg="del">
        <pc:chgData name="Sally Shi" userId="3dd53fc4-fdbd-42d3-9029-c880e2f871dc" providerId="ADAL" clId="{C8AB38FB-FA8F-41D9-9EAC-5272E0AEFB98}" dt="2020-01-30T03:40:24.210" v="555" actId="47"/>
        <pc:sldMkLst>
          <pc:docMk/>
          <pc:sldMk cId="3704894611" sldId="10813"/>
        </pc:sldMkLst>
      </pc:sldChg>
      <pc:sldChg chg="del">
        <pc:chgData name="Sally Shi" userId="3dd53fc4-fdbd-42d3-9029-c880e2f871dc" providerId="ADAL" clId="{C8AB38FB-FA8F-41D9-9EAC-5272E0AEFB98}" dt="2020-01-30T03:40:34.038" v="556" actId="47"/>
        <pc:sldMkLst>
          <pc:docMk/>
          <pc:sldMk cId="515383190" sldId="10814"/>
        </pc:sldMkLst>
      </pc:sldChg>
      <pc:sldChg chg="del">
        <pc:chgData name="Sally Shi" userId="3dd53fc4-fdbd-42d3-9029-c880e2f871dc" providerId="ADAL" clId="{C8AB38FB-FA8F-41D9-9EAC-5272E0AEFB98}" dt="2020-01-30T03:40:36.075" v="557" actId="47"/>
        <pc:sldMkLst>
          <pc:docMk/>
          <pc:sldMk cId="946899708" sldId="10815"/>
        </pc:sldMkLst>
      </pc:sldChg>
      <pc:sldChg chg="del">
        <pc:chgData name="Sally Shi" userId="3dd53fc4-fdbd-42d3-9029-c880e2f871dc" providerId="ADAL" clId="{C8AB38FB-FA8F-41D9-9EAC-5272E0AEFB98}" dt="2020-01-30T03:40:38.038" v="558" actId="47"/>
        <pc:sldMkLst>
          <pc:docMk/>
          <pc:sldMk cId="3432383258" sldId="10816"/>
        </pc:sldMkLst>
      </pc:sldChg>
      <pc:sldChg chg="del">
        <pc:chgData name="Sally Shi" userId="3dd53fc4-fdbd-42d3-9029-c880e2f871dc" providerId="ADAL" clId="{C8AB38FB-FA8F-41D9-9EAC-5272E0AEFB98}" dt="2020-01-30T03:43:37.671" v="584" actId="47"/>
        <pc:sldMkLst>
          <pc:docMk/>
          <pc:sldMk cId="78920928" sldId="10817"/>
        </pc:sldMkLst>
      </pc:sldChg>
      <pc:sldChg chg="del">
        <pc:chgData name="Sally Shi" userId="3dd53fc4-fdbd-42d3-9029-c880e2f871dc" providerId="ADAL" clId="{C8AB38FB-FA8F-41D9-9EAC-5272E0AEFB98}" dt="2020-01-30T00:55:49.929" v="280" actId="47"/>
        <pc:sldMkLst>
          <pc:docMk/>
          <pc:sldMk cId="3758059688" sldId="10822"/>
        </pc:sldMkLst>
      </pc:sldChg>
      <pc:sldChg chg="modSp mod">
        <pc:chgData name="Sally Shi" userId="3dd53fc4-fdbd-42d3-9029-c880e2f871dc" providerId="ADAL" clId="{C8AB38FB-FA8F-41D9-9EAC-5272E0AEFB98}" dt="2020-01-30T01:04:07.043" v="321" actId="20577"/>
        <pc:sldMkLst>
          <pc:docMk/>
          <pc:sldMk cId="3445495120" sldId="10825"/>
        </pc:sldMkLst>
        <pc:spChg chg="mod">
          <ac:chgData name="Sally Shi" userId="3dd53fc4-fdbd-42d3-9029-c880e2f871dc" providerId="ADAL" clId="{C8AB38FB-FA8F-41D9-9EAC-5272E0AEFB98}" dt="2020-01-30T01:04:07.043" v="321" actId="20577"/>
          <ac:spMkLst>
            <pc:docMk/>
            <pc:sldMk cId="3445495120" sldId="10825"/>
            <ac:spMk id="6" creationId="{70D63658-82A2-4738-975A-7ADB3750EE37}"/>
          </ac:spMkLst>
        </pc:spChg>
      </pc:sldChg>
      <pc:sldChg chg="modSp mod">
        <pc:chgData name="Sally Shi" userId="3dd53fc4-fdbd-42d3-9029-c880e2f871dc" providerId="ADAL" clId="{C8AB38FB-FA8F-41D9-9EAC-5272E0AEFB98}" dt="2020-01-30T01:04:27" v="348" actId="20577"/>
        <pc:sldMkLst>
          <pc:docMk/>
          <pc:sldMk cId="1589309361" sldId="10830"/>
        </pc:sldMkLst>
        <pc:spChg chg="mod">
          <ac:chgData name="Sally Shi" userId="3dd53fc4-fdbd-42d3-9029-c880e2f871dc" providerId="ADAL" clId="{C8AB38FB-FA8F-41D9-9EAC-5272E0AEFB98}" dt="2020-01-30T01:04:27" v="348" actId="20577"/>
          <ac:spMkLst>
            <pc:docMk/>
            <pc:sldMk cId="1589309361" sldId="10830"/>
            <ac:spMk id="13" creationId="{00000000-0000-0000-0000-000000000000}"/>
          </ac:spMkLst>
        </pc:spChg>
      </pc:sldChg>
      <pc:sldChg chg="modSp mod">
        <pc:chgData name="Sally Shi" userId="3dd53fc4-fdbd-42d3-9029-c880e2f871dc" providerId="ADAL" clId="{C8AB38FB-FA8F-41D9-9EAC-5272E0AEFB98}" dt="2020-01-30T01:12:07.833" v="379" actId="20577"/>
        <pc:sldMkLst>
          <pc:docMk/>
          <pc:sldMk cId="282351483" sldId="10837"/>
        </pc:sldMkLst>
        <pc:spChg chg="mod">
          <ac:chgData name="Sally Shi" userId="3dd53fc4-fdbd-42d3-9029-c880e2f871dc" providerId="ADAL" clId="{C8AB38FB-FA8F-41D9-9EAC-5272E0AEFB98}" dt="2020-01-30T01:12:07.833" v="379" actId="20577"/>
          <ac:spMkLst>
            <pc:docMk/>
            <pc:sldMk cId="282351483" sldId="10837"/>
            <ac:spMk id="6" creationId="{70D63658-82A2-4738-975A-7ADB3750EE37}"/>
          </ac:spMkLst>
        </pc:spChg>
      </pc:sldChg>
      <pc:sldChg chg="ord">
        <pc:chgData name="Sally Shi" userId="3dd53fc4-fdbd-42d3-9029-c880e2f871dc" providerId="ADAL" clId="{C8AB38FB-FA8F-41D9-9EAC-5272E0AEFB98}" dt="2020-01-30T04:20:04.890" v="789"/>
        <pc:sldMkLst>
          <pc:docMk/>
          <pc:sldMk cId="1068180065" sldId="10843"/>
        </pc:sldMkLst>
      </pc:sldChg>
      <pc:sldChg chg="del mod modShow">
        <pc:chgData name="Sally Shi" userId="3dd53fc4-fdbd-42d3-9029-c880e2f871dc" providerId="ADAL" clId="{C8AB38FB-FA8F-41D9-9EAC-5272E0AEFB98}" dt="2020-02-26T06:13:57.639" v="813" actId="47"/>
        <pc:sldMkLst>
          <pc:docMk/>
          <pc:sldMk cId="2656724971" sldId="10844"/>
        </pc:sldMkLst>
      </pc:sldChg>
      <pc:sldChg chg="del mod modShow">
        <pc:chgData name="Sally Shi" userId="3dd53fc4-fdbd-42d3-9029-c880e2f871dc" providerId="ADAL" clId="{C8AB38FB-FA8F-41D9-9EAC-5272E0AEFB98}" dt="2020-01-30T03:19:14.165" v="460" actId="47"/>
        <pc:sldMkLst>
          <pc:docMk/>
          <pc:sldMk cId="2926883594" sldId="10850"/>
        </pc:sldMkLst>
      </pc:sldChg>
      <pc:sldChg chg="del mod ord modShow">
        <pc:chgData name="Sally Shi" userId="3dd53fc4-fdbd-42d3-9029-c880e2f871dc" providerId="ADAL" clId="{C8AB38FB-FA8F-41D9-9EAC-5272E0AEFB98}" dt="2020-02-26T06:15:29.169" v="851" actId="47"/>
        <pc:sldMkLst>
          <pc:docMk/>
          <pc:sldMk cId="451814284" sldId="10852"/>
        </pc:sldMkLst>
      </pc:sldChg>
      <pc:sldChg chg="del">
        <pc:chgData name="Sally Shi" userId="3dd53fc4-fdbd-42d3-9029-c880e2f871dc" providerId="ADAL" clId="{C8AB38FB-FA8F-41D9-9EAC-5272E0AEFB98}" dt="2020-02-26T06:13:59.420" v="814" actId="47"/>
        <pc:sldMkLst>
          <pc:docMk/>
          <pc:sldMk cId="2415900689" sldId="10853"/>
        </pc:sldMkLst>
      </pc:sldChg>
      <pc:sldChg chg="del">
        <pc:chgData name="Sally Shi" userId="3dd53fc4-fdbd-42d3-9029-c880e2f871dc" providerId="ADAL" clId="{C8AB38FB-FA8F-41D9-9EAC-5272E0AEFB98}" dt="2020-01-30T00:55:41.181" v="279" actId="47"/>
        <pc:sldMkLst>
          <pc:docMk/>
          <pc:sldMk cId="1821894117" sldId="10869"/>
        </pc:sldMkLst>
      </pc:sldChg>
      <pc:sldChg chg="modSp mod">
        <pc:chgData name="Sally Shi" userId="3dd53fc4-fdbd-42d3-9029-c880e2f871dc" providerId="ADAL" clId="{C8AB38FB-FA8F-41D9-9EAC-5272E0AEFB98}" dt="2020-01-30T00:56:04.817" v="282" actId="20577"/>
        <pc:sldMkLst>
          <pc:docMk/>
          <pc:sldMk cId="2829938703" sldId="10871"/>
        </pc:sldMkLst>
        <pc:spChg chg="mod">
          <ac:chgData name="Sally Shi" userId="3dd53fc4-fdbd-42d3-9029-c880e2f871dc" providerId="ADAL" clId="{C8AB38FB-FA8F-41D9-9EAC-5272E0AEFB98}" dt="2020-01-30T00:56:04.817" v="282" actId="20577"/>
          <ac:spMkLst>
            <pc:docMk/>
            <pc:sldMk cId="2829938703" sldId="10871"/>
            <ac:spMk id="2" creationId="{4967DB64-89F1-4E6E-BC2F-E72380584D1E}"/>
          </ac:spMkLst>
        </pc:spChg>
      </pc:sldChg>
      <pc:sldChg chg="modSp mod">
        <pc:chgData name="Sally Shi" userId="3dd53fc4-fdbd-42d3-9029-c880e2f871dc" providerId="ADAL" clId="{C8AB38FB-FA8F-41D9-9EAC-5272E0AEFB98}" dt="2020-01-30T00:55:34.745" v="278" actId="20577"/>
        <pc:sldMkLst>
          <pc:docMk/>
          <pc:sldMk cId="437806450" sldId="10885"/>
        </pc:sldMkLst>
        <pc:spChg chg="mod">
          <ac:chgData name="Sally Shi" userId="3dd53fc4-fdbd-42d3-9029-c880e2f871dc" providerId="ADAL" clId="{C8AB38FB-FA8F-41D9-9EAC-5272E0AEFB98}" dt="2020-01-30T00:55:34.745" v="278" actId="20577"/>
          <ac:spMkLst>
            <pc:docMk/>
            <pc:sldMk cId="437806450" sldId="10885"/>
            <ac:spMk id="2" creationId="{0FF5E11B-6F0C-44D7-85CD-B6AB664EE64F}"/>
          </ac:spMkLst>
        </pc:spChg>
      </pc:sldChg>
      <pc:sldChg chg="delSp modSp mod ord">
        <pc:chgData name="Sally Shi" userId="3dd53fc4-fdbd-42d3-9029-c880e2f871dc" providerId="ADAL" clId="{C8AB38FB-FA8F-41D9-9EAC-5272E0AEFB98}" dt="2020-02-26T06:11:34.160" v="812" actId="20577"/>
        <pc:sldMkLst>
          <pc:docMk/>
          <pc:sldMk cId="3380621522" sldId="2076136514"/>
        </pc:sldMkLst>
        <pc:spChg chg="del">
          <ac:chgData name="Sally Shi" userId="3dd53fc4-fdbd-42d3-9029-c880e2f871dc" providerId="ADAL" clId="{C8AB38FB-FA8F-41D9-9EAC-5272E0AEFB98}" dt="2020-01-30T03:59:19.947" v="634" actId="478"/>
          <ac:spMkLst>
            <pc:docMk/>
            <pc:sldMk cId="3380621522" sldId="2076136514"/>
            <ac:spMk id="9" creationId="{A17BF62C-1E67-4177-A736-1CE43173F27C}"/>
          </ac:spMkLst>
        </pc:spChg>
        <pc:graphicFrameChg chg="mod modGraphic">
          <ac:chgData name="Sally Shi" userId="3dd53fc4-fdbd-42d3-9029-c880e2f871dc" providerId="ADAL" clId="{C8AB38FB-FA8F-41D9-9EAC-5272E0AEFB98}" dt="2020-02-26T06:11:34.160" v="812" actId="20577"/>
          <ac:graphicFrameMkLst>
            <pc:docMk/>
            <pc:sldMk cId="3380621522" sldId="2076136514"/>
            <ac:graphicFrameMk id="7" creationId="{990DBDB5-9930-467E-BB02-6EEAE153D857}"/>
          </ac:graphicFrameMkLst>
        </pc:graphicFrameChg>
      </pc:sldChg>
      <pc:sldChg chg="modSp del mod">
        <pc:chgData name="Sally Shi" userId="3dd53fc4-fdbd-42d3-9029-c880e2f871dc" providerId="ADAL" clId="{C8AB38FB-FA8F-41D9-9EAC-5272E0AEFB98}" dt="2020-01-30T00:44:10.445" v="195" actId="47"/>
        <pc:sldMkLst>
          <pc:docMk/>
          <pc:sldMk cId="487409132" sldId="2076136516"/>
        </pc:sldMkLst>
        <pc:graphicFrameChg chg="modGraphic">
          <ac:chgData name="Sally Shi" userId="3dd53fc4-fdbd-42d3-9029-c880e2f871dc" providerId="ADAL" clId="{C8AB38FB-FA8F-41D9-9EAC-5272E0AEFB98}" dt="2020-01-30T00:21:01.401" v="20" actId="20577"/>
          <ac:graphicFrameMkLst>
            <pc:docMk/>
            <pc:sldMk cId="487409132" sldId="2076136516"/>
            <ac:graphicFrameMk id="7" creationId="{990DBDB5-9930-467E-BB02-6EEAE153D857}"/>
          </ac:graphicFrameMkLst>
        </pc:graphicFrameChg>
      </pc:sldChg>
      <pc:sldChg chg="modSp del mod">
        <pc:chgData name="Sally Shi" userId="3dd53fc4-fdbd-42d3-9029-c880e2f871dc" providerId="ADAL" clId="{C8AB38FB-FA8F-41D9-9EAC-5272E0AEFB98}" dt="2020-01-30T00:52:12.109" v="245" actId="47"/>
        <pc:sldMkLst>
          <pc:docMk/>
          <pc:sldMk cId="223848221" sldId="2076136518"/>
        </pc:sldMkLst>
        <pc:graphicFrameChg chg="modGraphic">
          <ac:chgData name="Sally Shi" userId="3dd53fc4-fdbd-42d3-9029-c880e2f871dc" providerId="ADAL" clId="{C8AB38FB-FA8F-41D9-9EAC-5272E0AEFB98}" dt="2020-01-30T00:48:03.983" v="234" actId="20577"/>
          <ac:graphicFrameMkLst>
            <pc:docMk/>
            <pc:sldMk cId="223848221" sldId="2076136518"/>
            <ac:graphicFrameMk id="7" creationId="{990DBDB5-9930-467E-BB02-6EEAE153D857}"/>
          </ac:graphicFrameMkLst>
        </pc:graphicFrameChg>
      </pc:sldChg>
      <pc:sldChg chg="del">
        <pc:chgData name="Sally Shi" userId="3dd53fc4-fdbd-42d3-9029-c880e2f871dc" providerId="ADAL" clId="{C8AB38FB-FA8F-41D9-9EAC-5272E0AEFB98}" dt="2020-01-30T00:53:38.130" v="257" actId="47"/>
        <pc:sldMkLst>
          <pc:docMk/>
          <pc:sldMk cId="2644170674" sldId="2076136519"/>
        </pc:sldMkLst>
      </pc:sldChg>
      <pc:sldChg chg="del">
        <pc:chgData name="Sally Shi" userId="3dd53fc4-fdbd-42d3-9029-c880e2f871dc" providerId="ADAL" clId="{C8AB38FB-FA8F-41D9-9EAC-5272E0AEFB98}" dt="2020-01-30T00:54:19.106" v="267" actId="47"/>
        <pc:sldMkLst>
          <pc:docMk/>
          <pc:sldMk cId="314432270" sldId="2076136520"/>
        </pc:sldMkLst>
      </pc:sldChg>
      <pc:sldChg chg="del">
        <pc:chgData name="Sally Shi" userId="3dd53fc4-fdbd-42d3-9029-c880e2f871dc" providerId="ADAL" clId="{C8AB38FB-FA8F-41D9-9EAC-5272E0AEFB98}" dt="2020-01-30T00:56:28.612" v="284" actId="47"/>
        <pc:sldMkLst>
          <pc:docMk/>
          <pc:sldMk cId="1986177697" sldId="2076136521"/>
        </pc:sldMkLst>
      </pc:sldChg>
      <pc:sldChg chg="del">
        <pc:chgData name="Sally Shi" userId="3dd53fc4-fdbd-42d3-9029-c880e2f871dc" providerId="ADAL" clId="{C8AB38FB-FA8F-41D9-9EAC-5272E0AEFB98}" dt="2020-01-30T00:57:08.456" v="290" actId="47"/>
        <pc:sldMkLst>
          <pc:docMk/>
          <pc:sldMk cId="120585436" sldId="2076136524"/>
        </pc:sldMkLst>
      </pc:sldChg>
      <pc:sldChg chg="del">
        <pc:chgData name="Sally Shi" userId="3dd53fc4-fdbd-42d3-9029-c880e2f871dc" providerId="ADAL" clId="{C8AB38FB-FA8F-41D9-9EAC-5272E0AEFB98}" dt="2020-01-30T00:57:49.266" v="301" actId="47"/>
        <pc:sldMkLst>
          <pc:docMk/>
          <pc:sldMk cId="2315257321" sldId="2076136525"/>
        </pc:sldMkLst>
      </pc:sldChg>
      <pc:sldChg chg="del">
        <pc:chgData name="Sally Shi" userId="3dd53fc4-fdbd-42d3-9029-c880e2f871dc" providerId="ADAL" clId="{C8AB38FB-FA8F-41D9-9EAC-5272E0AEFB98}" dt="2020-01-30T01:04:50.948" v="350" actId="47"/>
        <pc:sldMkLst>
          <pc:docMk/>
          <pc:sldMk cId="3211657377" sldId="2076136526"/>
        </pc:sldMkLst>
      </pc:sldChg>
      <pc:sldChg chg="del">
        <pc:chgData name="Sally Shi" userId="3dd53fc4-fdbd-42d3-9029-c880e2f871dc" providerId="ADAL" clId="{C8AB38FB-FA8F-41D9-9EAC-5272E0AEFB98}" dt="2020-01-30T01:06:25.424" v="356" actId="47"/>
        <pc:sldMkLst>
          <pc:docMk/>
          <pc:sldMk cId="3267820207" sldId="2076136527"/>
        </pc:sldMkLst>
      </pc:sldChg>
      <pc:sldChg chg="del">
        <pc:chgData name="Sally Shi" userId="3dd53fc4-fdbd-42d3-9029-c880e2f871dc" providerId="ADAL" clId="{C8AB38FB-FA8F-41D9-9EAC-5272E0AEFB98}" dt="2020-01-30T04:13:04.446" v="759" actId="47"/>
        <pc:sldMkLst>
          <pc:docMk/>
          <pc:sldMk cId="2348713834" sldId="2076136528"/>
        </pc:sldMkLst>
      </pc:sldChg>
      <pc:sldChg chg="ord">
        <pc:chgData name="Sally Shi" userId="3dd53fc4-fdbd-42d3-9029-c880e2f871dc" providerId="ADAL" clId="{C8AB38FB-FA8F-41D9-9EAC-5272E0AEFB98}" dt="2020-01-30T04:19:38.478" v="785"/>
        <pc:sldMkLst>
          <pc:docMk/>
          <pc:sldMk cId="1035935756" sldId="2076136530"/>
        </pc:sldMkLst>
      </pc:sldChg>
      <pc:sldChg chg="del mod ord modShow">
        <pc:chgData name="Sally Shi" userId="3dd53fc4-fdbd-42d3-9029-c880e2f871dc" providerId="ADAL" clId="{C8AB38FB-FA8F-41D9-9EAC-5272E0AEFB98}" dt="2020-02-26T06:14:03.120" v="819" actId="47"/>
        <pc:sldMkLst>
          <pc:docMk/>
          <pc:sldMk cId="2282767029" sldId="2076136531"/>
        </pc:sldMkLst>
      </pc:sldChg>
      <pc:sldChg chg="ord">
        <pc:chgData name="Sally Shi" userId="3dd53fc4-fdbd-42d3-9029-c880e2f871dc" providerId="ADAL" clId="{C8AB38FB-FA8F-41D9-9EAC-5272E0AEFB98}" dt="2020-01-30T00:52:00.019" v="244"/>
        <pc:sldMkLst>
          <pc:docMk/>
          <pc:sldMk cId="2541952490" sldId="2076136533"/>
        </pc:sldMkLst>
      </pc:sldChg>
      <pc:sldChg chg="del">
        <pc:chgData name="Sally Shi" userId="3dd53fc4-fdbd-42d3-9029-c880e2f871dc" providerId="ADAL" clId="{C8AB38FB-FA8F-41D9-9EAC-5272E0AEFB98}" dt="2020-01-30T00:57:00.089" v="289" actId="47"/>
        <pc:sldMkLst>
          <pc:docMk/>
          <pc:sldMk cId="2527200547" sldId="2076136535"/>
        </pc:sldMkLst>
      </pc:sldChg>
      <pc:sldChg chg="delSp modSp add del mod ord">
        <pc:chgData name="Sally Shi" userId="3dd53fc4-fdbd-42d3-9029-c880e2f871dc" providerId="ADAL" clId="{C8AB38FB-FA8F-41D9-9EAC-5272E0AEFB98}" dt="2020-01-30T04:00:05.473" v="638" actId="47"/>
        <pc:sldMkLst>
          <pc:docMk/>
          <pc:sldMk cId="293909247" sldId="2076136536"/>
        </pc:sldMkLst>
        <pc:spChg chg="del mod">
          <ac:chgData name="Sally Shi" userId="3dd53fc4-fdbd-42d3-9029-c880e2f871dc" providerId="ADAL" clId="{C8AB38FB-FA8F-41D9-9EAC-5272E0AEFB98}" dt="2020-01-30T00:48:40.600" v="240" actId="478"/>
          <ac:spMkLst>
            <pc:docMk/>
            <pc:sldMk cId="293909247" sldId="2076136536"/>
            <ac:spMk id="9" creationId="{A17BF62C-1E67-4177-A736-1CE43173F27C}"/>
          </ac:spMkLst>
        </pc:spChg>
        <pc:graphicFrameChg chg="mod modGraphic">
          <ac:chgData name="Sally Shi" userId="3dd53fc4-fdbd-42d3-9029-c880e2f871dc" providerId="ADAL" clId="{C8AB38FB-FA8F-41D9-9EAC-5272E0AEFB98}" dt="2020-01-30T03:32:58.426" v="538" actId="20577"/>
          <ac:graphicFrameMkLst>
            <pc:docMk/>
            <pc:sldMk cId="293909247" sldId="2076136536"/>
            <ac:graphicFrameMk id="7" creationId="{990DBDB5-9930-467E-BB02-6EEAE153D857}"/>
          </ac:graphicFrameMkLst>
        </pc:graphicFrameChg>
      </pc:sldChg>
      <pc:sldChg chg="delSp modSp add del mod ord">
        <pc:chgData name="Sally Shi" userId="3dd53fc4-fdbd-42d3-9029-c880e2f871dc" providerId="ADAL" clId="{C8AB38FB-FA8F-41D9-9EAC-5272E0AEFB98}" dt="2020-01-30T04:01:00.669" v="650" actId="47"/>
        <pc:sldMkLst>
          <pc:docMk/>
          <pc:sldMk cId="104304883" sldId="2076136537"/>
        </pc:sldMkLst>
        <pc:spChg chg="del mod">
          <ac:chgData name="Sally Shi" userId="3dd53fc4-fdbd-42d3-9029-c880e2f871dc" providerId="ADAL" clId="{C8AB38FB-FA8F-41D9-9EAC-5272E0AEFB98}" dt="2020-01-30T00:48:31.175" v="239" actId="478"/>
          <ac:spMkLst>
            <pc:docMk/>
            <pc:sldMk cId="104304883" sldId="2076136537"/>
            <ac:spMk id="9" creationId="{A17BF62C-1E67-4177-A736-1CE43173F27C}"/>
          </ac:spMkLst>
        </pc:spChg>
        <pc:graphicFrameChg chg="mod modGraphic">
          <ac:chgData name="Sally Shi" userId="3dd53fc4-fdbd-42d3-9029-c880e2f871dc" providerId="ADAL" clId="{C8AB38FB-FA8F-41D9-9EAC-5272E0AEFB98}" dt="2020-01-30T03:33:08.399" v="546" actId="20577"/>
          <ac:graphicFrameMkLst>
            <pc:docMk/>
            <pc:sldMk cId="104304883" sldId="2076136537"/>
            <ac:graphicFrameMk id="7" creationId="{990DBDB5-9930-467E-BB02-6EEAE153D857}"/>
          </ac:graphicFrameMkLst>
        </pc:graphicFrameChg>
      </pc:sldChg>
      <pc:sldChg chg="modSp add del mod ord">
        <pc:chgData name="Sally Shi" userId="3dd53fc4-fdbd-42d3-9029-c880e2f871dc" providerId="ADAL" clId="{C8AB38FB-FA8F-41D9-9EAC-5272E0AEFB98}" dt="2020-01-30T04:03:53.079" v="661" actId="47"/>
        <pc:sldMkLst>
          <pc:docMk/>
          <pc:sldMk cId="68484501" sldId="2076136538"/>
        </pc:sldMkLst>
        <pc:graphicFrameChg chg="mod modGraphic">
          <ac:chgData name="Sally Shi" userId="3dd53fc4-fdbd-42d3-9029-c880e2f871dc" providerId="ADAL" clId="{C8AB38FB-FA8F-41D9-9EAC-5272E0AEFB98}" dt="2020-01-30T00:53:25.952" v="256" actId="108"/>
          <ac:graphicFrameMkLst>
            <pc:docMk/>
            <pc:sldMk cId="68484501" sldId="2076136538"/>
            <ac:graphicFrameMk id="7" creationId="{990DBDB5-9930-467E-BB02-6EEAE153D857}"/>
          </ac:graphicFrameMkLst>
        </pc:graphicFrameChg>
      </pc:sldChg>
      <pc:sldChg chg="new del">
        <pc:chgData name="Sally Shi" userId="3dd53fc4-fdbd-42d3-9029-c880e2f871dc" providerId="ADAL" clId="{C8AB38FB-FA8F-41D9-9EAC-5272E0AEFB98}" dt="2020-01-30T00:54:22.306" v="268" actId="47"/>
        <pc:sldMkLst>
          <pc:docMk/>
          <pc:sldMk cId="1858955725" sldId="2076136539"/>
        </pc:sldMkLst>
      </pc:sldChg>
      <pc:sldChg chg="modSp add del mod">
        <pc:chgData name="Sally Shi" userId="3dd53fc4-fdbd-42d3-9029-c880e2f871dc" providerId="ADAL" clId="{C8AB38FB-FA8F-41D9-9EAC-5272E0AEFB98}" dt="2020-01-30T04:04:32.367" v="671" actId="47"/>
        <pc:sldMkLst>
          <pc:docMk/>
          <pc:sldMk cId="1844984315" sldId="2076136540"/>
        </pc:sldMkLst>
        <pc:graphicFrameChg chg="mod modGraphic">
          <ac:chgData name="Sally Shi" userId="3dd53fc4-fdbd-42d3-9029-c880e2f871dc" providerId="ADAL" clId="{C8AB38FB-FA8F-41D9-9EAC-5272E0AEFB98}" dt="2020-01-30T00:55:09.145" v="277" actId="113"/>
          <ac:graphicFrameMkLst>
            <pc:docMk/>
            <pc:sldMk cId="1844984315" sldId="2076136540"/>
            <ac:graphicFrameMk id="7" creationId="{990DBDB5-9930-467E-BB02-6EEAE153D857}"/>
          </ac:graphicFrameMkLst>
        </pc:graphicFrameChg>
      </pc:sldChg>
      <pc:sldChg chg="modSp add del mod">
        <pc:chgData name="Sally Shi" userId="3dd53fc4-fdbd-42d3-9029-c880e2f871dc" providerId="ADAL" clId="{C8AB38FB-FA8F-41D9-9EAC-5272E0AEFB98}" dt="2020-01-30T04:05:41.820" v="683" actId="47"/>
        <pc:sldMkLst>
          <pc:docMk/>
          <pc:sldMk cId="532251708" sldId="2076136541"/>
        </pc:sldMkLst>
        <pc:graphicFrameChg chg="mod modGraphic">
          <ac:chgData name="Sally Shi" userId="3dd53fc4-fdbd-42d3-9029-c880e2f871dc" providerId="ADAL" clId="{C8AB38FB-FA8F-41D9-9EAC-5272E0AEFB98}" dt="2020-01-30T00:56:52.707" v="288" actId="108"/>
          <ac:graphicFrameMkLst>
            <pc:docMk/>
            <pc:sldMk cId="532251708" sldId="2076136541"/>
            <ac:graphicFrameMk id="7" creationId="{990DBDB5-9930-467E-BB02-6EEAE153D857}"/>
          </ac:graphicFrameMkLst>
        </pc:graphicFrameChg>
      </pc:sldChg>
      <pc:sldChg chg="modSp add del mod ord">
        <pc:chgData name="Sally Shi" userId="3dd53fc4-fdbd-42d3-9029-c880e2f871dc" providerId="ADAL" clId="{C8AB38FB-FA8F-41D9-9EAC-5272E0AEFB98}" dt="2020-01-30T04:06:20.424" v="693" actId="47"/>
        <pc:sldMkLst>
          <pc:docMk/>
          <pc:sldMk cId="3453472030" sldId="2076136542"/>
        </pc:sldMkLst>
        <pc:graphicFrameChg chg="mod modGraphic">
          <ac:chgData name="Sally Shi" userId="3dd53fc4-fdbd-42d3-9029-c880e2f871dc" providerId="ADAL" clId="{C8AB38FB-FA8F-41D9-9EAC-5272E0AEFB98}" dt="2020-01-30T00:57:24.864" v="299" actId="108"/>
          <ac:graphicFrameMkLst>
            <pc:docMk/>
            <pc:sldMk cId="3453472030" sldId="2076136542"/>
            <ac:graphicFrameMk id="7" creationId="{990DBDB5-9930-467E-BB02-6EEAE153D857}"/>
          </ac:graphicFrameMkLst>
        </pc:graphicFrameChg>
      </pc:sldChg>
      <pc:sldChg chg="modSp add del mod">
        <pc:chgData name="Sally Shi" userId="3dd53fc4-fdbd-42d3-9029-c880e2f871dc" providerId="ADAL" clId="{C8AB38FB-FA8F-41D9-9EAC-5272E0AEFB98}" dt="2020-01-30T04:08:57.192" v="715" actId="47"/>
        <pc:sldMkLst>
          <pc:docMk/>
          <pc:sldMk cId="1520318987" sldId="2076136543"/>
        </pc:sldMkLst>
        <pc:graphicFrameChg chg="mod modGraphic">
          <ac:chgData name="Sally Shi" userId="3dd53fc4-fdbd-42d3-9029-c880e2f871dc" providerId="ADAL" clId="{C8AB38FB-FA8F-41D9-9EAC-5272E0AEFB98}" dt="2020-01-30T01:03:33.880" v="312" actId="207"/>
          <ac:graphicFrameMkLst>
            <pc:docMk/>
            <pc:sldMk cId="1520318987" sldId="2076136543"/>
            <ac:graphicFrameMk id="7" creationId="{990DBDB5-9930-467E-BB02-6EEAE153D857}"/>
          </ac:graphicFrameMkLst>
        </pc:graphicFrameChg>
      </pc:sldChg>
      <pc:sldChg chg="modSp add del mod">
        <pc:chgData name="Sally Shi" userId="3dd53fc4-fdbd-42d3-9029-c880e2f871dc" providerId="ADAL" clId="{C8AB38FB-FA8F-41D9-9EAC-5272E0AEFB98}" dt="2020-01-30T04:10:27.988" v="734" actId="47"/>
        <pc:sldMkLst>
          <pc:docMk/>
          <pc:sldMk cId="165448247" sldId="2076136544"/>
        </pc:sldMkLst>
        <pc:graphicFrameChg chg="mod modGraphic">
          <ac:chgData name="Sally Shi" userId="3dd53fc4-fdbd-42d3-9029-c880e2f871dc" providerId="ADAL" clId="{C8AB38FB-FA8F-41D9-9EAC-5272E0AEFB98}" dt="2020-01-30T01:05:03.586" v="354" actId="108"/>
          <ac:graphicFrameMkLst>
            <pc:docMk/>
            <pc:sldMk cId="165448247" sldId="2076136544"/>
            <ac:graphicFrameMk id="7" creationId="{990DBDB5-9930-467E-BB02-6EEAE153D857}"/>
          </ac:graphicFrameMkLst>
        </pc:graphicFrameChg>
      </pc:sldChg>
      <pc:sldChg chg="modSp add del mod">
        <pc:chgData name="Sally Shi" userId="3dd53fc4-fdbd-42d3-9029-c880e2f871dc" providerId="ADAL" clId="{C8AB38FB-FA8F-41D9-9EAC-5272E0AEFB98}" dt="2020-01-30T04:11:54.603" v="750" actId="47"/>
        <pc:sldMkLst>
          <pc:docMk/>
          <pc:sldMk cId="1884503134" sldId="2076136545"/>
        </pc:sldMkLst>
        <pc:graphicFrameChg chg="mod modGraphic">
          <ac:chgData name="Sally Shi" userId="3dd53fc4-fdbd-42d3-9029-c880e2f871dc" providerId="ADAL" clId="{C8AB38FB-FA8F-41D9-9EAC-5272E0AEFB98}" dt="2020-01-30T01:10:26.082" v="364" actId="108"/>
          <ac:graphicFrameMkLst>
            <pc:docMk/>
            <pc:sldMk cId="1884503134" sldId="2076136545"/>
            <ac:graphicFrameMk id="7" creationId="{990DBDB5-9930-467E-BB02-6EEAE153D857}"/>
          </ac:graphicFrameMkLst>
        </pc:graphicFrameChg>
      </pc:sldChg>
      <pc:sldChg chg="add mod modShow">
        <pc:chgData name="Sally Shi" userId="3dd53fc4-fdbd-42d3-9029-c880e2f871dc" providerId="ADAL" clId="{C8AB38FB-FA8F-41D9-9EAC-5272E0AEFB98}" dt="2020-01-30T03:30:13.938" v="487" actId="729"/>
        <pc:sldMkLst>
          <pc:docMk/>
          <pc:sldMk cId="3270718505" sldId="2076137518"/>
        </pc:sldMkLst>
      </pc:sldChg>
      <pc:sldChg chg="add setBg">
        <pc:chgData name="Sally Shi" userId="3dd53fc4-fdbd-42d3-9029-c880e2f871dc" providerId="ADAL" clId="{C8AB38FB-FA8F-41D9-9EAC-5272E0AEFB98}" dt="2020-01-30T03:18:27.136" v="458"/>
        <pc:sldMkLst>
          <pc:docMk/>
          <pc:sldMk cId="3501971501" sldId="2076137531"/>
        </pc:sldMkLst>
      </pc:sldChg>
      <pc:sldChg chg="add">
        <pc:chgData name="Sally Shi" userId="3dd53fc4-fdbd-42d3-9029-c880e2f871dc" providerId="ADAL" clId="{C8AB38FB-FA8F-41D9-9EAC-5272E0AEFB98}" dt="2020-01-30T03:18:27.136" v="458"/>
        <pc:sldMkLst>
          <pc:docMk/>
          <pc:sldMk cId="2096698302" sldId="2076137532"/>
        </pc:sldMkLst>
      </pc:sldChg>
      <pc:sldChg chg="add del">
        <pc:chgData name="Sally Shi" userId="3dd53fc4-fdbd-42d3-9029-c880e2f871dc" providerId="ADAL" clId="{C8AB38FB-FA8F-41D9-9EAC-5272E0AEFB98}" dt="2020-01-30T03:55:24.212" v="597" actId="2696"/>
        <pc:sldMkLst>
          <pc:docMk/>
          <pc:sldMk cId="592122947" sldId="2076137559"/>
        </pc:sldMkLst>
      </pc:sldChg>
      <pc:sldChg chg="add del">
        <pc:chgData name="Sally Shi" userId="3dd53fc4-fdbd-42d3-9029-c880e2f871dc" providerId="ADAL" clId="{C8AB38FB-FA8F-41D9-9EAC-5272E0AEFB98}" dt="2020-01-30T03:55:35.340" v="599"/>
        <pc:sldMkLst>
          <pc:docMk/>
          <pc:sldMk cId="2437441972" sldId="2076137559"/>
        </pc:sldMkLst>
      </pc:sldChg>
      <pc:sldChg chg="add">
        <pc:chgData name="Sally Shi" userId="3dd53fc4-fdbd-42d3-9029-c880e2f871dc" providerId="ADAL" clId="{C8AB38FB-FA8F-41D9-9EAC-5272E0AEFB98}" dt="2020-01-30T03:55:48.374" v="600"/>
        <pc:sldMkLst>
          <pc:docMk/>
          <pc:sldMk cId="3887289494" sldId="2076137559"/>
        </pc:sldMkLst>
      </pc:sldChg>
      <pc:sldChg chg="add ord">
        <pc:chgData name="Sally Shi" userId="3dd53fc4-fdbd-42d3-9029-c880e2f871dc" providerId="ADAL" clId="{C8AB38FB-FA8F-41D9-9EAC-5272E0AEFB98}" dt="2020-02-26T06:15:17.777" v="849"/>
        <pc:sldMkLst>
          <pc:docMk/>
          <pc:sldMk cId="681837135" sldId="2076137563"/>
        </pc:sldMkLst>
      </pc:sldChg>
      <pc:sldChg chg="add del">
        <pc:chgData name="Sally Shi" userId="3dd53fc4-fdbd-42d3-9029-c880e2f871dc" providerId="ADAL" clId="{C8AB38FB-FA8F-41D9-9EAC-5272E0AEFB98}" dt="2020-01-30T03:55:35.340" v="599"/>
        <pc:sldMkLst>
          <pc:docMk/>
          <pc:sldMk cId="1162313327" sldId="2076137563"/>
        </pc:sldMkLst>
      </pc:sldChg>
      <pc:sldChg chg="add del">
        <pc:chgData name="Sally Shi" userId="3dd53fc4-fdbd-42d3-9029-c880e2f871dc" providerId="ADAL" clId="{C8AB38FB-FA8F-41D9-9EAC-5272E0AEFB98}" dt="2020-01-30T03:55:24.212" v="597" actId="2696"/>
        <pc:sldMkLst>
          <pc:docMk/>
          <pc:sldMk cId="3298172820" sldId="2076137563"/>
        </pc:sldMkLst>
      </pc:sldChg>
      <pc:sldChg chg="add">
        <pc:chgData name="Sally Shi" userId="3dd53fc4-fdbd-42d3-9029-c880e2f871dc" providerId="ADAL" clId="{C8AB38FB-FA8F-41D9-9EAC-5272E0AEFB98}" dt="2020-01-30T03:18:27.136" v="458"/>
        <pc:sldMkLst>
          <pc:docMk/>
          <pc:sldMk cId="2041838740" sldId="2076137570"/>
        </pc:sldMkLst>
      </pc:sldChg>
      <pc:sldChg chg="add">
        <pc:chgData name="Sally Shi" userId="3dd53fc4-fdbd-42d3-9029-c880e2f871dc" providerId="ADAL" clId="{C8AB38FB-FA8F-41D9-9EAC-5272E0AEFB98}" dt="2020-01-30T03:18:27.136" v="458"/>
        <pc:sldMkLst>
          <pc:docMk/>
          <pc:sldMk cId="2333076610" sldId="2076137575"/>
        </pc:sldMkLst>
      </pc:sldChg>
      <pc:sldChg chg="add">
        <pc:chgData name="Sally Shi" userId="3dd53fc4-fdbd-42d3-9029-c880e2f871dc" providerId="ADAL" clId="{C8AB38FB-FA8F-41D9-9EAC-5272E0AEFB98}" dt="2020-01-30T03:18:27.136" v="458"/>
        <pc:sldMkLst>
          <pc:docMk/>
          <pc:sldMk cId="3652869751" sldId="2076137576"/>
        </pc:sldMkLst>
      </pc:sldChg>
      <pc:sldChg chg="add">
        <pc:chgData name="Sally Shi" userId="3dd53fc4-fdbd-42d3-9029-c880e2f871dc" providerId="ADAL" clId="{C8AB38FB-FA8F-41D9-9EAC-5272E0AEFB98}" dt="2020-01-30T03:18:27.136" v="458"/>
        <pc:sldMkLst>
          <pc:docMk/>
          <pc:sldMk cId="2349612387" sldId="2076137577"/>
        </pc:sldMkLst>
      </pc:sldChg>
      <pc:sldChg chg="add">
        <pc:chgData name="Sally Shi" userId="3dd53fc4-fdbd-42d3-9029-c880e2f871dc" providerId="ADAL" clId="{C8AB38FB-FA8F-41D9-9EAC-5272E0AEFB98}" dt="2020-01-30T03:26:45.216" v="461"/>
        <pc:sldMkLst>
          <pc:docMk/>
          <pc:sldMk cId="1701049164" sldId="2076137583"/>
        </pc:sldMkLst>
      </pc:sldChg>
      <pc:sldChg chg="add">
        <pc:chgData name="Sally Shi" userId="3dd53fc4-fdbd-42d3-9029-c880e2f871dc" providerId="ADAL" clId="{C8AB38FB-FA8F-41D9-9EAC-5272E0AEFB98}" dt="2020-01-30T03:26:45.216" v="461"/>
        <pc:sldMkLst>
          <pc:docMk/>
          <pc:sldMk cId="1489951590" sldId="2076137584"/>
        </pc:sldMkLst>
      </pc:sldChg>
      <pc:sldChg chg="add">
        <pc:chgData name="Sally Shi" userId="3dd53fc4-fdbd-42d3-9029-c880e2f871dc" providerId="ADAL" clId="{C8AB38FB-FA8F-41D9-9EAC-5272E0AEFB98}" dt="2020-01-30T03:26:45.216" v="461"/>
        <pc:sldMkLst>
          <pc:docMk/>
          <pc:sldMk cId="352906775" sldId="2076137585"/>
        </pc:sldMkLst>
      </pc:sldChg>
      <pc:sldChg chg="add">
        <pc:chgData name="Sally Shi" userId="3dd53fc4-fdbd-42d3-9029-c880e2f871dc" providerId="ADAL" clId="{C8AB38FB-FA8F-41D9-9EAC-5272E0AEFB98}" dt="2020-01-30T03:26:45.216" v="461"/>
        <pc:sldMkLst>
          <pc:docMk/>
          <pc:sldMk cId="3850394758" sldId="2076137586"/>
        </pc:sldMkLst>
      </pc:sldChg>
      <pc:sldChg chg="add">
        <pc:chgData name="Sally Shi" userId="3dd53fc4-fdbd-42d3-9029-c880e2f871dc" providerId="ADAL" clId="{C8AB38FB-FA8F-41D9-9EAC-5272E0AEFB98}" dt="2020-01-30T03:26:45.216" v="461"/>
        <pc:sldMkLst>
          <pc:docMk/>
          <pc:sldMk cId="3702118164" sldId="2076137587"/>
        </pc:sldMkLst>
      </pc:sldChg>
      <pc:sldChg chg="add">
        <pc:chgData name="Sally Shi" userId="3dd53fc4-fdbd-42d3-9029-c880e2f871dc" providerId="ADAL" clId="{C8AB38FB-FA8F-41D9-9EAC-5272E0AEFB98}" dt="2020-01-30T03:26:45.216" v="461"/>
        <pc:sldMkLst>
          <pc:docMk/>
          <pc:sldMk cId="431392093" sldId="2076137588"/>
        </pc:sldMkLst>
      </pc:sldChg>
      <pc:sldChg chg="add del">
        <pc:chgData name="Sally Shi" userId="3dd53fc4-fdbd-42d3-9029-c880e2f871dc" providerId="ADAL" clId="{C8AB38FB-FA8F-41D9-9EAC-5272E0AEFB98}" dt="2020-01-30T03:16:22.811" v="452"/>
        <pc:sldMkLst>
          <pc:docMk/>
          <pc:sldMk cId="4226857016" sldId="2076137589"/>
        </pc:sldMkLst>
      </pc:sldChg>
      <pc:sldChg chg="add del">
        <pc:chgData name="Sally Shi" userId="3dd53fc4-fdbd-42d3-9029-c880e2f871dc" providerId="ADAL" clId="{C8AB38FB-FA8F-41D9-9EAC-5272E0AEFB98}" dt="2020-01-30T03:39:57.606" v="552" actId="47"/>
        <pc:sldMkLst>
          <pc:docMk/>
          <pc:sldMk cId="1073181725" sldId="2076137590"/>
        </pc:sldMkLst>
      </pc:sldChg>
      <pc:sldChg chg="add">
        <pc:chgData name="Sally Shi" userId="3dd53fc4-fdbd-42d3-9029-c880e2f871dc" providerId="ADAL" clId="{C8AB38FB-FA8F-41D9-9EAC-5272E0AEFB98}" dt="2020-01-30T03:28:16.539" v="465"/>
        <pc:sldMkLst>
          <pc:docMk/>
          <pc:sldMk cId="1659910127" sldId="2076137591"/>
        </pc:sldMkLst>
      </pc:sldChg>
      <pc:sldChg chg="add del">
        <pc:chgData name="Sally Shi" userId="3dd53fc4-fdbd-42d3-9029-c880e2f871dc" providerId="ADAL" clId="{C8AB38FB-FA8F-41D9-9EAC-5272E0AEFB98}" dt="2020-01-30T03:28:08.318" v="463" actId="2696"/>
        <pc:sldMkLst>
          <pc:docMk/>
          <pc:sldMk cId="2305570569" sldId="2076137591"/>
        </pc:sldMkLst>
      </pc:sldChg>
      <pc:sldChg chg="add ord">
        <pc:chgData name="Sally Shi" userId="3dd53fc4-fdbd-42d3-9029-c880e2f871dc" providerId="ADAL" clId="{C8AB38FB-FA8F-41D9-9EAC-5272E0AEFB98}" dt="2020-01-30T03:39:23.410" v="550"/>
        <pc:sldMkLst>
          <pc:docMk/>
          <pc:sldMk cId="747484056" sldId="2076137592"/>
        </pc:sldMkLst>
      </pc:sldChg>
      <pc:sldChg chg="addSp delSp modSp add mod">
        <pc:chgData name="Sally Shi" userId="3dd53fc4-fdbd-42d3-9029-c880e2f871dc" providerId="ADAL" clId="{C8AB38FB-FA8F-41D9-9EAC-5272E0AEFB98}" dt="2020-01-30T03:43:31.103" v="583" actId="1076"/>
        <pc:sldMkLst>
          <pc:docMk/>
          <pc:sldMk cId="1873493179" sldId="2076137593"/>
        </pc:sldMkLst>
        <pc:spChg chg="mod">
          <ac:chgData name="Sally Shi" userId="3dd53fc4-fdbd-42d3-9029-c880e2f871dc" providerId="ADAL" clId="{C8AB38FB-FA8F-41D9-9EAC-5272E0AEFB98}" dt="2020-01-30T03:42:26.406" v="565" actId="1076"/>
          <ac:spMkLst>
            <pc:docMk/>
            <pc:sldMk cId="1873493179" sldId="2076137593"/>
            <ac:spMk id="17" creationId="{6B5F52FE-C7AC-43BA-BC6B-AF8F7F811F8E}"/>
          </ac:spMkLst>
        </pc:spChg>
        <pc:spChg chg="add mod">
          <ac:chgData name="Sally Shi" userId="3dd53fc4-fdbd-42d3-9029-c880e2f871dc" providerId="ADAL" clId="{C8AB38FB-FA8F-41D9-9EAC-5272E0AEFB98}" dt="2020-01-30T03:42:38.495" v="569" actId="207"/>
          <ac:spMkLst>
            <pc:docMk/>
            <pc:sldMk cId="1873493179" sldId="2076137593"/>
            <ac:spMk id="19" creationId="{2400197B-E0C8-4FEB-96F6-AC2203551242}"/>
          </ac:spMkLst>
        </pc:spChg>
        <pc:spChg chg="add mod">
          <ac:chgData name="Sally Shi" userId="3dd53fc4-fdbd-42d3-9029-c880e2f871dc" providerId="ADAL" clId="{C8AB38FB-FA8F-41D9-9EAC-5272E0AEFB98}" dt="2020-01-30T03:42:40.725" v="570" actId="207"/>
          <ac:spMkLst>
            <pc:docMk/>
            <pc:sldMk cId="1873493179" sldId="2076137593"/>
            <ac:spMk id="20" creationId="{CD98BA6E-0543-4CB1-A308-ED813DAE84FC}"/>
          </ac:spMkLst>
        </pc:spChg>
        <pc:spChg chg="mod">
          <ac:chgData name="Sally Shi" userId="3dd53fc4-fdbd-42d3-9029-c880e2f871dc" providerId="ADAL" clId="{C8AB38FB-FA8F-41D9-9EAC-5272E0AEFB98}" dt="2020-01-30T03:42:29.775" v="566" actId="1076"/>
          <ac:spMkLst>
            <pc:docMk/>
            <pc:sldMk cId="1873493179" sldId="2076137593"/>
            <ac:spMk id="33" creationId="{32CEB7D3-E4AF-471A-A434-3CDD52CC8D8B}"/>
          </ac:spMkLst>
        </pc:spChg>
        <pc:spChg chg="add del mod">
          <ac:chgData name="Sally Shi" userId="3dd53fc4-fdbd-42d3-9029-c880e2f871dc" providerId="ADAL" clId="{C8AB38FB-FA8F-41D9-9EAC-5272E0AEFB98}" dt="2020-01-30T03:43:31.103" v="583" actId="1076"/>
          <ac:spMkLst>
            <pc:docMk/>
            <pc:sldMk cId="1873493179" sldId="2076137593"/>
            <ac:spMk id="37" creationId="{8A015674-8BE6-41C1-974F-030D15DBC2D4}"/>
          </ac:spMkLst>
        </pc:spChg>
        <pc:grpChg chg="mod">
          <ac:chgData name="Sally Shi" userId="3dd53fc4-fdbd-42d3-9029-c880e2f871dc" providerId="ADAL" clId="{C8AB38FB-FA8F-41D9-9EAC-5272E0AEFB98}" dt="2020-01-30T03:42:29.775" v="566" actId="1076"/>
          <ac:grpSpMkLst>
            <pc:docMk/>
            <pc:sldMk cId="1873493179" sldId="2076137593"/>
            <ac:grpSpMk id="4" creationId="{3B3C22A0-FE98-48F2-B0A4-1695D8ACC67C}"/>
          </ac:grpSpMkLst>
        </pc:grpChg>
        <pc:grpChg chg="del">
          <ac:chgData name="Sally Shi" userId="3dd53fc4-fdbd-42d3-9029-c880e2f871dc" providerId="ADAL" clId="{C8AB38FB-FA8F-41D9-9EAC-5272E0AEFB98}" dt="2020-01-30T03:43:13.556" v="575" actId="478"/>
          <ac:grpSpMkLst>
            <pc:docMk/>
            <pc:sldMk cId="1873493179" sldId="2076137593"/>
            <ac:grpSpMk id="7" creationId="{9E52195A-341A-41F4-B35B-5FE7ABBA7FC4}"/>
          </ac:grpSpMkLst>
        </pc:grpChg>
        <pc:grpChg chg="add del">
          <ac:chgData name="Sally Shi" userId="3dd53fc4-fdbd-42d3-9029-c880e2f871dc" providerId="ADAL" clId="{C8AB38FB-FA8F-41D9-9EAC-5272E0AEFB98}" dt="2020-01-30T03:43:07.069" v="572" actId="478"/>
          <ac:grpSpMkLst>
            <pc:docMk/>
            <pc:sldMk cId="1873493179" sldId="2076137593"/>
            <ac:grpSpMk id="35" creationId="{C7440AFD-286A-4308-B4BC-FD741C9E9EAC}"/>
          </ac:grpSpMkLst>
        </pc:grpChg>
        <pc:grpChg chg="del">
          <ac:chgData name="Sally Shi" userId="3dd53fc4-fdbd-42d3-9029-c880e2f871dc" providerId="ADAL" clId="{C8AB38FB-FA8F-41D9-9EAC-5272E0AEFB98}" dt="2020-01-30T03:43:10.540" v="574" actId="478"/>
          <ac:grpSpMkLst>
            <pc:docMk/>
            <pc:sldMk cId="1873493179" sldId="2076137593"/>
            <ac:grpSpMk id="36" creationId="{3CE0B367-B09A-4A12-A62A-1D0176DB0D9D}"/>
          </ac:grpSpMkLst>
        </pc:grpChg>
        <pc:picChg chg="add mod">
          <ac:chgData name="Sally Shi" userId="3dd53fc4-fdbd-42d3-9029-c880e2f871dc" providerId="ADAL" clId="{C8AB38FB-FA8F-41D9-9EAC-5272E0AEFB98}" dt="2020-01-30T03:43:25.924" v="582" actId="1076"/>
          <ac:picMkLst>
            <pc:docMk/>
            <pc:sldMk cId="1873493179" sldId="2076137593"/>
            <ac:picMk id="21" creationId="{6678BE85-FCBD-4C97-B2F6-38398385E873}"/>
          </ac:picMkLst>
        </pc:picChg>
        <pc:picChg chg="del">
          <ac:chgData name="Sally Shi" userId="3dd53fc4-fdbd-42d3-9029-c880e2f871dc" providerId="ADAL" clId="{C8AB38FB-FA8F-41D9-9EAC-5272E0AEFB98}" dt="2020-01-30T03:43:13.556" v="575" actId="478"/>
          <ac:picMkLst>
            <pc:docMk/>
            <pc:sldMk cId="1873493179" sldId="2076137593"/>
            <ac:picMk id="34" creationId="{AB17B1FF-E1A8-45B1-BD5D-B20F00A48C8E}"/>
          </ac:picMkLst>
        </pc:picChg>
        <pc:picChg chg="del">
          <ac:chgData name="Sally Shi" userId="3dd53fc4-fdbd-42d3-9029-c880e2f871dc" providerId="ADAL" clId="{C8AB38FB-FA8F-41D9-9EAC-5272E0AEFB98}" dt="2020-01-30T03:43:10.540" v="574" actId="478"/>
          <ac:picMkLst>
            <pc:docMk/>
            <pc:sldMk cId="1873493179" sldId="2076137593"/>
            <ac:picMk id="38" creationId="{20DA59FF-44A6-4FFD-B927-284845237BB8}"/>
          </ac:picMkLst>
        </pc:picChg>
      </pc:sldChg>
      <pc:sldChg chg="add del">
        <pc:chgData name="Sally Shi" userId="3dd53fc4-fdbd-42d3-9029-c880e2f871dc" providerId="ADAL" clId="{C8AB38FB-FA8F-41D9-9EAC-5272E0AEFB98}" dt="2020-01-30T03:41:07.934" v="560" actId="47"/>
        <pc:sldMkLst>
          <pc:docMk/>
          <pc:sldMk cId="4098236198" sldId="2076137594"/>
        </pc:sldMkLst>
      </pc:sldChg>
      <pc:sldChg chg="add del">
        <pc:chgData name="Sally Shi" userId="3dd53fc4-fdbd-42d3-9029-c880e2f871dc" providerId="ADAL" clId="{C8AB38FB-FA8F-41D9-9EAC-5272E0AEFB98}" dt="2020-01-30T03:16:22.811" v="452"/>
        <pc:sldMkLst>
          <pc:docMk/>
          <pc:sldMk cId="3036878123" sldId="2076137595"/>
        </pc:sldMkLst>
      </pc:sldChg>
      <pc:sldChg chg="new del">
        <pc:chgData name="Sally Shi" userId="3dd53fc4-fdbd-42d3-9029-c880e2f871dc" providerId="ADAL" clId="{C8AB38FB-FA8F-41D9-9EAC-5272E0AEFB98}" dt="2020-01-30T03:17:20.734" v="455" actId="47"/>
        <pc:sldMkLst>
          <pc:docMk/>
          <pc:sldMk cId="1499315013" sldId="2076137596"/>
        </pc:sldMkLst>
      </pc:sldChg>
      <pc:sldChg chg="add del">
        <pc:chgData name="Sally Shi" userId="3dd53fc4-fdbd-42d3-9029-c880e2f871dc" providerId="ADAL" clId="{C8AB38FB-FA8F-41D9-9EAC-5272E0AEFB98}" dt="2020-01-30T03:40:00.372" v="554" actId="47"/>
        <pc:sldMkLst>
          <pc:docMk/>
          <pc:sldMk cId="1783328993" sldId="2076137596"/>
        </pc:sldMkLst>
      </pc:sldChg>
      <pc:sldChg chg="add">
        <pc:chgData name="Sally Shi" userId="3dd53fc4-fdbd-42d3-9029-c880e2f871dc" providerId="ADAL" clId="{C8AB38FB-FA8F-41D9-9EAC-5272E0AEFB98}" dt="2020-01-30T03:45:51.418" v="585"/>
        <pc:sldMkLst>
          <pc:docMk/>
          <pc:sldMk cId="2101590637" sldId="2076137597"/>
        </pc:sldMkLst>
      </pc:sldChg>
      <pc:sldChg chg="add">
        <pc:chgData name="Sally Shi" userId="3dd53fc4-fdbd-42d3-9029-c880e2f871dc" providerId="ADAL" clId="{C8AB38FB-FA8F-41D9-9EAC-5272E0AEFB98}" dt="2020-01-30T03:17:18.582" v="454"/>
        <pc:sldMkLst>
          <pc:docMk/>
          <pc:sldMk cId="3134155507" sldId="2076137598"/>
        </pc:sldMkLst>
      </pc:sldChg>
      <pc:sldChg chg="add">
        <pc:chgData name="Sally Shi" userId="3dd53fc4-fdbd-42d3-9029-c880e2f871dc" providerId="ADAL" clId="{C8AB38FB-FA8F-41D9-9EAC-5272E0AEFB98}" dt="2020-01-30T03:26:45.216" v="461"/>
        <pc:sldMkLst>
          <pc:docMk/>
          <pc:sldMk cId="2857676776" sldId="2076137601"/>
        </pc:sldMkLst>
      </pc:sldChg>
      <pc:sldChg chg="add">
        <pc:chgData name="Sally Shi" userId="3dd53fc4-fdbd-42d3-9029-c880e2f871dc" providerId="ADAL" clId="{C8AB38FB-FA8F-41D9-9EAC-5272E0AEFB98}" dt="2020-01-30T03:47:06.480" v="588"/>
        <pc:sldMkLst>
          <pc:docMk/>
          <pc:sldMk cId="3404446529" sldId="2076137604"/>
        </pc:sldMkLst>
      </pc:sldChg>
      <pc:sldChg chg="add">
        <pc:chgData name="Sally Shi" userId="3dd53fc4-fdbd-42d3-9029-c880e2f871dc" providerId="ADAL" clId="{C8AB38FB-FA8F-41D9-9EAC-5272E0AEFB98}" dt="2020-01-30T03:18:27.136" v="458"/>
        <pc:sldMkLst>
          <pc:docMk/>
          <pc:sldMk cId="549416382" sldId="2076137606"/>
        </pc:sldMkLst>
      </pc:sldChg>
      <pc:sldChg chg="add mod modShow">
        <pc:chgData name="Sally Shi" userId="3dd53fc4-fdbd-42d3-9029-c880e2f871dc" providerId="ADAL" clId="{C8AB38FB-FA8F-41D9-9EAC-5272E0AEFB98}" dt="2020-01-30T03:30:15.684" v="488" actId="729"/>
        <pc:sldMkLst>
          <pc:docMk/>
          <pc:sldMk cId="1274933918" sldId="2076137608"/>
        </pc:sldMkLst>
      </pc:sldChg>
      <pc:sldChg chg="add del">
        <pc:chgData name="Sally Shi" userId="3dd53fc4-fdbd-42d3-9029-c880e2f871dc" providerId="ADAL" clId="{C8AB38FB-FA8F-41D9-9EAC-5272E0AEFB98}" dt="2020-01-30T03:55:35.340" v="599"/>
        <pc:sldMkLst>
          <pc:docMk/>
          <pc:sldMk cId="569679388" sldId="2076137609"/>
        </pc:sldMkLst>
      </pc:sldChg>
      <pc:sldChg chg="add del">
        <pc:chgData name="Sally Shi" userId="3dd53fc4-fdbd-42d3-9029-c880e2f871dc" providerId="ADAL" clId="{C8AB38FB-FA8F-41D9-9EAC-5272E0AEFB98}" dt="2020-01-30T03:55:24.212" v="597" actId="2696"/>
        <pc:sldMkLst>
          <pc:docMk/>
          <pc:sldMk cId="991706338" sldId="2076137609"/>
        </pc:sldMkLst>
      </pc:sldChg>
      <pc:sldChg chg="add">
        <pc:chgData name="Sally Shi" userId="3dd53fc4-fdbd-42d3-9029-c880e2f871dc" providerId="ADAL" clId="{C8AB38FB-FA8F-41D9-9EAC-5272E0AEFB98}" dt="2020-01-30T03:55:48.374" v="600"/>
        <pc:sldMkLst>
          <pc:docMk/>
          <pc:sldMk cId="2798165176" sldId="2076137609"/>
        </pc:sldMkLst>
      </pc:sldChg>
      <pc:sldChg chg="add del">
        <pc:chgData name="Sally Shi" userId="3dd53fc4-fdbd-42d3-9029-c880e2f871dc" providerId="ADAL" clId="{C8AB38FB-FA8F-41D9-9EAC-5272E0AEFB98}" dt="2020-02-12T19:22:32.332" v="798" actId="47"/>
        <pc:sldMkLst>
          <pc:docMk/>
          <pc:sldMk cId="1066846238" sldId="2076137610"/>
        </pc:sldMkLst>
      </pc:sldChg>
      <pc:sldChg chg="add">
        <pc:chgData name="Sally Shi" userId="3dd53fc4-fdbd-42d3-9029-c880e2f871dc" providerId="ADAL" clId="{C8AB38FB-FA8F-41D9-9EAC-5272E0AEFB98}" dt="2020-01-30T03:26:45.216" v="461"/>
        <pc:sldMkLst>
          <pc:docMk/>
          <pc:sldMk cId="3025323401" sldId="2076137612"/>
        </pc:sldMkLst>
      </pc:sldChg>
      <pc:sldChg chg="add">
        <pc:chgData name="Sally Shi" userId="3dd53fc4-fdbd-42d3-9029-c880e2f871dc" providerId="ADAL" clId="{C8AB38FB-FA8F-41D9-9EAC-5272E0AEFB98}" dt="2020-01-30T03:26:45.216" v="461"/>
        <pc:sldMkLst>
          <pc:docMk/>
          <pc:sldMk cId="1832462869" sldId="2076137615"/>
        </pc:sldMkLst>
      </pc:sldChg>
      <pc:sldChg chg="add">
        <pc:chgData name="Sally Shi" userId="3dd53fc4-fdbd-42d3-9029-c880e2f871dc" providerId="ADAL" clId="{C8AB38FB-FA8F-41D9-9EAC-5272E0AEFB98}" dt="2020-01-30T03:26:45.216" v="461"/>
        <pc:sldMkLst>
          <pc:docMk/>
          <pc:sldMk cId="4147232628" sldId="2076137619"/>
        </pc:sldMkLst>
      </pc:sldChg>
      <pc:sldChg chg="new del">
        <pc:chgData name="Sally Shi" userId="3dd53fc4-fdbd-42d3-9029-c880e2f871dc" providerId="ADAL" clId="{C8AB38FB-FA8F-41D9-9EAC-5272E0AEFB98}" dt="2020-01-30T03:28:18.899" v="466" actId="47"/>
        <pc:sldMkLst>
          <pc:docMk/>
          <pc:sldMk cId="208536914" sldId="2076137620"/>
        </pc:sldMkLst>
      </pc:sldChg>
      <pc:sldChg chg="add del">
        <pc:chgData name="Sally Shi" userId="3dd53fc4-fdbd-42d3-9029-c880e2f871dc" providerId="ADAL" clId="{C8AB38FB-FA8F-41D9-9EAC-5272E0AEFB98}" dt="2020-01-30T03:39:55.936" v="551" actId="47"/>
        <pc:sldMkLst>
          <pc:docMk/>
          <pc:sldMk cId="2240170442" sldId="2076137620"/>
        </pc:sldMkLst>
      </pc:sldChg>
      <pc:sldChg chg="add ord">
        <pc:chgData name="Sally Shi" userId="3dd53fc4-fdbd-42d3-9029-c880e2f871dc" providerId="ADAL" clId="{C8AB38FB-FA8F-41D9-9EAC-5272E0AEFB98}" dt="2020-01-30T04:19:36.327" v="783"/>
        <pc:sldMkLst>
          <pc:docMk/>
          <pc:sldMk cId="4215038071" sldId="2076137620"/>
        </pc:sldMkLst>
      </pc:sldChg>
      <pc:sldChg chg="add del">
        <pc:chgData name="Sally Shi" userId="3dd53fc4-fdbd-42d3-9029-c880e2f871dc" providerId="ADAL" clId="{C8AB38FB-FA8F-41D9-9EAC-5272E0AEFB98}" dt="2020-01-30T04:00:08.687" v="640"/>
        <pc:sldMkLst>
          <pc:docMk/>
          <pc:sldMk cId="906200821" sldId="2076137621"/>
        </pc:sldMkLst>
      </pc:sldChg>
      <pc:sldChg chg="add del">
        <pc:chgData name="Sally Shi" userId="3dd53fc4-fdbd-42d3-9029-c880e2f871dc" providerId="ADAL" clId="{C8AB38FB-FA8F-41D9-9EAC-5272E0AEFB98}" dt="2020-01-30T03:39:59.182" v="553" actId="47"/>
        <pc:sldMkLst>
          <pc:docMk/>
          <pc:sldMk cId="4011355081" sldId="2076137621"/>
        </pc:sldMkLst>
      </pc:sldChg>
      <pc:sldChg chg="new del">
        <pc:chgData name="Sally Shi" userId="3dd53fc4-fdbd-42d3-9029-c880e2f871dc" providerId="ADAL" clId="{C8AB38FB-FA8F-41D9-9EAC-5272E0AEFB98}" dt="2020-01-30T04:00:18.086" v="643" actId="47"/>
        <pc:sldMkLst>
          <pc:docMk/>
          <pc:sldMk cId="4047575378" sldId="2076137621"/>
        </pc:sldMkLst>
      </pc:sldChg>
      <pc:sldChg chg="add del">
        <pc:chgData name="Sally Shi" userId="3dd53fc4-fdbd-42d3-9029-c880e2f871dc" providerId="ADAL" clId="{C8AB38FB-FA8F-41D9-9EAC-5272E0AEFB98}" dt="2020-01-30T04:00:08.687" v="640"/>
        <pc:sldMkLst>
          <pc:docMk/>
          <pc:sldMk cId="1356753951" sldId="2076137622"/>
        </pc:sldMkLst>
      </pc:sldChg>
      <pc:sldChg chg="modSp add mod">
        <pc:chgData name="Sally Shi" userId="3dd53fc4-fdbd-42d3-9029-c880e2f871dc" providerId="ADAL" clId="{C8AB38FB-FA8F-41D9-9EAC-5272E0AEFB98}" dt="2020-01-30T04:00:54.531" v="649" actId="113"/>
        <pc:sldMkLst>
          <pc:docMk/>
          <pc:sldMk cId="2567272675" sldId="2076137622"/>
        </pc:sldMkLst>
        <pc:graphicFrameChg chg="modGraphic">
          <ac:chgData name="Sally Shi" userId="3dd53fc4-fdbd-42d3-9029-c880e2f871dc" providerId="ADAL" clId="{C8AB38FB-FA8F-41D9-9EAC-5272E0AEFB98}" dt="2020-01-30T04:00:54.531" v="649" actId="113"/>
          <ac:graphicFrameMkLst>
            <pc:docMk/>
            <pc:sldMk cId="2567272675" sldId="2076137622"/>
            <ac:graphicFrameMk id="7" creationId="{990DBDB5-9930-467E-BB02-6EEAE153D857}"/>
          </ac:graphicFrameMkLst>
        </pc:graphicFrameChg>
      </pc:sldChg>
      <pc:sldChg chg="modSp add mod ord">
        <pc:chgData name="Sally Shi" userId="3dd53fc4-fdbd-42d3-9029-c880e2f871dc" providerId="ADAL" clId="{C8AB38FB-FA8F-41D9-9EAC-5272E0AEFB98}" dt="2020-01-30T04:01:40.665" v="660" actId="207"/>
        <pc:sldMkLst>
          <pc:docMk/>
          <pc:sldMk cId="3701016253" sldId="2076137623"/>
        </pc:sldMkLst>
        <pc:graphicFrameChg chg="modGraphic">
          <ac:chgData name="Sally Shi" userId="3dd53fc4-fdbd-42d3-9029-c880e2f871dc" providerId="ADAL" clId="{C8AB38FB-FA8F-41D9-9EAC-5272E0AEFB98}" dt="2020-01-30T04:01:40.665" v="660" actId="207"/>
          <ac:graphicFrameMkLst>
            <pc:docMk/>
            <pc:sldMk cId="3701016253" sldId="2076137623"/>
            <ac:graphicFrameMk id="7" creationId="{990DBDB5-9930-467E-BB02-6EEAE153D857}"/>
          </ac:graphicFrameMkLst>
        </pc:graphicFrameChg>
      </pc:sldChg>
      <pc:sldChg chg="add del">
        <pc:chgData name="Sally Shi" userId="3dd53fc4-fdbd-42d3-9029-c880e2f871dc" providerId="ADAL" clId="{C8AB38FB-FA8F-41D9-9EAC-5272E0AEFB98}" dt="2020-01-30T04:00:08.687" v="640"/>
        <pc:sldMkLst>
          <pc:docMk/>
          <pc:sldMk cId="4170408050" sldId="2076137623"/>
        </pc:sldMkLst>
      </pc:sldChg>
      <pc:sldChg chg="modSp add mod ord">
        <pc:chgData name="Sally Shi" userId="3dd53fc4-fdbd-42d3-9029-c880e2f871dc" providerId="ADAL" clId="{C8AB38FB-FA8F-41D9-9EAC-5272E0AEFB98}" dt="2020-01-30T04:04:20.162" v="670" actId="113"/>
        <pc:sldMkLst>
          <pc:docMk/>
          <pc:sldMk cId="3917317784" sldId="2076137624"/>
        </pc:sldMkLst>
        <pc:graphicFrameChg chg="modGraphic">
          <ac:chgData name="Sally Shi" userId="3dd53fc4-fdbd-42d3-9029-c880e2f871dc" providerId="ADAL" clId="{C8AB38FB-FA8F-41D9-9EAC-5272E0AEFB98}" dt="2020-01-30T04:04:20.162" v="670" actId="113"/>
          <ac:graphicFrameMkLst>
            <pc:docMk/>
            <pc:sldMk cId="3917317784" sldId="2076137624"/>
            <ac:graphicFrameMk id="7" creationId="{990DBDB5-9930-467E-BB02-6EEAE153D857}"/>
          </ac:graphicFrameMkLst>
        </pc:graphicFrameChg>
      </pc:sldChg>
      <pc:sldChg chg="modSp add mod ord">
        <pc:chgData name="Sally Shi" userId="3dd53fc4-fdbd-42d3-9029-c880e2f871dc" providerId="ADAL" clId="{C8AB38FB-FA8F-41D9-9EAC-5272E0AEFB98}" dt="2020-01-30T04:05:32.061" v="682" actId="113"/>
        <pc:sldMkLst>
          <pc:docMk/>
          <pc:sldMk cId="461654030" sldId="2076137625"/>
        </pc:sldMkLst>
        <pc:graphicFrameChg chg="modGraphic">
          <ac:chgData name="Sally Shi" userId="3dd53fc4-fdbd-42d3-9029-c880e2f871dc" providerId="ADAL" clId="{C8AB38FB-FA8F-41D9-9EAC-5272E0AEFB98}" dt="2020-01-30T04:05:32.061" v="682" actId="113"/>
          <ac:graphicFrameMkLst>
            <pc:docMk/>
            <pc:sldMk cId="461654030" sldId="2076137625"/>
            <ac:graphicFrameMk id="7" creationId="{990DBDB5-9930-467E-BB02-6EEAE153D857}"/>
          </ac:graphicFrameMkLst>
        </pc:graphicFrameChg>
      </pc:sldChg>
      <pc:sldChg chg="modSp add mod ord">
        <pc:chgData name="Sally Shi" userId="3dd53fc4-fdbd-42d3-9029-c880e2f871dc" providerId="ADAL" clId="{C8AB38FB-FA8F-41D9-9EAC-5272E0AEFB98}" dt="2020-01-30T04:06:10.457" v="692" actId="207"/>
        <pc:sldMkLst>
          <pc:docMk/>
          <pc:sldMk cId="3409819043" sldId="2076137626"/>
        </pc:sldMkLst>
        <pc:graphicFrameChg chg="modGraphic">
          <ac:chgData name="Sally Shi" userId="3dd53fc4-fdbd-42d3-9029-c880e2f871dc" providerId="ADAL" clId="{C8AB38FB-FA8F-41D9-9EAC-5272E0AEFB98}" dt="2020-01-30T04:06:10.457" v="692" actId="207"/>
          <ac:graphicFrameMkLst>
            <pc:docMk/>
            <pc:sldMk cId="3409819043" sldId="2076137626"/>
            <ac:graphicFrameMk id="7" creationId="{990DBDB5-9930-467E-BB02-6EEAE153D857}"/>
          </ac:graphicFrameMkLst>
        </pc:graphicFrameChg>
      </pc:sldChg>
      <pc:sldChg chg="modSp add mod">
        <pc:chgData name="Sally Shi" userId="3dd53fc4-fdbd-42d3-9029-c880e2f871dc" providerId="ADAL" clId="{C8AB38FB-FA8F-41D9-9EAC-5272E0AEFB98}" dt="2020-01-30T04:08:01.522" v="711" actId="113"/>
        <pc:sldMkLst>
          <pc:docMk/>
          <pc:sldMk cId="500693307" sldId="2076137627"/>
        </pc:sldMkLst>
        <pc:graphicFrameChg chg="modGraphic">
          <ac:chgData name="Sally Shi" userId="3dd53fc4-fdbd-42d3-9029-c880e2f871dc" providerId="ADAL" clId="{C8AB38FB-FA8F-41D9-9EAC-5272E0AEFB98}" dt="2020-01-30T04:08:01.522" v="711" actId="113"/>
          <ac:graphicFrameMkLst>
            <pc:docMk/>
            <pc:sldMk cId="500693307" sldId="2076137627"/>
            <ac:graphicFrameMk id="7" creationId="{990DBDB5-9930-467E-BB02-6EEAE153D857}"/>
          </ac:graphicFrameMkLst>
        </pc:graphicFrameChg>
      </pc:sldChg>
      <pc:sldChg chg="modSp add mod ord">
        <pc:chgData name="Sally Shi" userId="3dd53fc4-fdbd-42d3-9029-c880e2f871dc" providerId="ADAL" clId="{C8AB38FB-FA8F-41D9-9EAC-5272E0AEFB98}" dt="2020-01-30T04:10:11.586" v="733" actId="14734"/>
        <pc:sldMkLst>
          <pc:docMk/>
          <pc:sldMk cId="2486495691" sldId="2076137628"/>
        </pc:sldMkLst>
        <pc:graphicFrameChg chg="mod modGraphic">
          <ac:chgData name="Sally Shi" userId="3dd53fc4-fdbd-42d3-9029-c880e2f871dc" providerId="ADAL" clId="{C8AB38FB-FA8F-41D9-9EAC-5272E0AEFB98}" dt="2020-01-30T04:10:11.586" v="733" actId="14734"/>
          <ac:graphicFrameMkLst>
            <pc:docMk/>
            <pc:sldMk cId="2486495691" sldId="2076137628"/>
            <ac:graphicFrameMk id="7" creationId="{990DBDB5-9930-467E-BB02-6EEAE153D857}"/>
          </ac:graphicFrameMkLst>
        </pc:graphicFrameChg>
      </pc:sldChg>
      <pc:sldChg chg="modSp add mod">
        <pc:chgData name="Sally Shi" userId="3dd53fc4-fdbd-42d3-9029-c880e2f871dc" providerId="ADAL" clId="{C8AB38FB-FA8F-41D9-9EAC-5272E0AEFB98}" dt="2020-01-30T04:11:24.608" v="749" actId="207"/>
        <pc:sldMkLst>
          <pc:docMk/>
          <pc:sldMk cId="2680444240" sldId="2076137629"/>
        </pc:sldMkLst>
        <pc:graphicFrameChg chg="mod modGraphic">
          <ac:chgData name="Sally Shi" userId="3dd53fc4-fdbd-42d3-9029-c880e2f871dc" providerId="ADAL" clId="{C8AB38FB-FA8F-41D9-9EAC-5272E0AEFB98}" dt="2020-01-30T04:11:24.608" v="749" actId="207"/>
          <ac:graphicFrameMkLst>
            <pc:docMk/>
            <pc:sldMk cId="2680444240" sldId="2076137629"/>
            <ac:graphicFrameMk id="7" creationId="{990DBDB5-9930-467E-BB02-6EEAE153D857}"/>
          </ac:graphicFrameMkLst>
        </pc:graphicFrameChg>
      </pc:sldChg>
      <pc:sldChg chg="modSp add mod">
        <pc:chgData name="Sally Shi" userId="3dd53fc4-fdbd-42d3-9029-c880e2f871dc" providerId="ADAL" clId="{C8AB38FB-FA8F-41D9-9EAC-5272E0AEFB98}" dt="2020-01-30T04:12:19.275" v="757" actId="207"/>
        <pc:sldMkLst>
          <pc:docMk/>
          <pc:sldMk cId="2765841954" sldId="2076137630"/>
        </pc:sldMkLst>
        <pc:graphicFrameChg chg="modGraphic">
          <ac:chgData name="Sally Shi" userId="3dd53fc4-fdbd-42d3-9029-c880e2f871dc" providerId="ADAL" clId="{C8AB38FB-FA8F-41D9-9EAC-5272E0AEFB98}" dt="2020-01-30T04:12:19.275" v="757" actId="207"/>
          <ac:graphicFrameMkLst>
            <pc:docMk/>
            <pc:sldMk cId="2765841954" sldId="2076137630"/>
            <ac:graphicFrameMk id="7" creationId="{990DBDB5-9930-467E-BB02-6EEAE153D857}"/>
          </ac:graphicFrameMkLst>
        </pc:graphicFrameChg>
      </pc:sldChg>
      <pc:sldChg chg="modSp add mod">
        <pc:chgData name="Sally Shi" userId="3dd53fc4-fdbd-42d3-9029-c880e2f871dc" providerId="ADAL" clId="{C8AB38FB-FA8F-41D9-9EAC-5272E0AEFB98}" dt="2020-01-30T04:14:07.617" v="766" actId="14734"/>
        <pc:sldMkLst>
          <pc:docMk/>
          <pc:sldMk cId="3052399524" sldId="2076137631"/>
        </pc:sldMkLst>
        <pc:graphicFrameChg chg="modGraphic">
          <ac:chgData name="Sally Shi" userId="3dd53fc4-fdbd-42d3-9029-c880e2f871dc" providerId="ADAL" clId="{C8AB38FB-FA8F-41D9-9EAC-5272E0AEFB98}" dt="2020-01-30T04:14:07.617" v="766" actId="14734"/>
          <ac:graphicFrameMkLst>
            <pc:docMk/>
            <pc:sldMk cId="3052399524" sldId="2076137631"/>
            <ac:graphicFrameMk id="7" creationId="{990DBDB5-9930-467E-BB02-6EEAE153D857}"/>
          </ac:graphicFrameMkLst>
        </pc:graphicFrameChg>
      </pc:sldChg>
      <pc:sldChg chg="delSp new del mod">
        <pc:chgData name="Sally Shi" userId="3dd53fc4-fdbd-42d3-9029-c880e2f871dc" providerId="ADAL" clId="{C8AB38FB-FA8F-41D9-9EAC-5272E0AEFB98}" dt="2020-02-26T06:15:22.039" v="850" actId="47"/>
        <pc:sldMkLst>
          <pc:docMk/>
          <pc:sldMk cId="287223977" sldId="2076137632"/>
        </pc:sldMkLst>
        <pc:spChg chg="del">
          <ac:chgData name="Sally Shi" userId="3dd53fc4-fdbd-42d3-9029-c880e2f871dc" providerId="ADAL" clId="{C8AB38FB-FA8F-41D9-9EAC-5272E0AEFB98}" dt="2020-02-26T06:14:24.408" v="822" actId="478"/>
          <ac:spMkLst>
            <pc:docMk/>
            <pc:sldMk cId="287223977" sldId="2076137632"/>
            <ac:spMk id="2" creationId="{4078BF39-7221-476B-A491-D51F8260655E}"/>
          </ac:spMkLst>
        </pc:spChg>
      </pc:sldChg>
      <pc:sldChg chg="addSp modSp new mod">
        <pc:chgData name="Sally Shi" userId="3dd53fc4-fdbd-42d3-9029-c880e2f871dc" providerId="ADAL" clId="{C8AB38FB-FA8F-41D9-9EAC-5272E0AEFB98}" dt="2020-02-26T06:14:56.467" v="847" actId="14100"/>
        <pc:sldMkLst>
          <pc:docMk/>
          <pc:sldMk cId="1587347766" sldId="2076137633"/>
        </pc:sldMkLst>
        <pc:spChg chg="mod">
          <ac:chgData name="Sally Shi" userId="3dd53fc4-fdbd-42d3-9029-c880e2f871dc" providerId="ADAL" clId="{C8AB38FB-FA8F-41D9-9EAC-5272E0AEFB98}" dt="2020-02-26T06:14:37.319" v="843" actId="20577"/>
          <ac:spMkLst>
            <pc:docMk/>
            <pc:sldMk cId="1587347766" sldId="2076137633"/>
            <ac:spMk id="2" creationId="{2C5BDDE9-1837-49C4-BAE7-50D9E63EF13B}"/>
          </ac:spMkLst>
        </pc:spChg>
        <pc:spChg chg="add mod">
          <ac:chgData name="Sally Shi" userId="3dd53fc4-fdbd-42d3-9029-c880e2f871dc" providerId="ADAL" clId="{C8AB38FB-FA8F-41D9-9EAC-5272E0AEFB98}" dt="2020-02-26T06:14:56.467" v="847" actId="14100"/>
          <ac:spMkLst>
            <pc:docMk/>
            <pc:sldMk cId="1587347766" sldId="2076137633"/>
            <ac:spMk id="3" creationId="{B0C3D7AD-1EED-421F-BA55-C46F589B69BD}"/>
          </ac:spMkLst>
        </pc:spChg>
      </pc:sldChg>
      <pc:sldMasterChg chg="delSldLayout">
        <pc:chgData name="Sally Shi" userId="3dd53fc4-fdbd-42d3-9029-c880e2f871dc" providerId="ADAL" clId="{C8AB38FB-FA8F-41D9-9EAC-5272E0AEFB98}" dt="2020-02-26T06:14:03.120" v="819" actId="47"/>
        <pc:sldMasterMkLst>
          <pc:docMk/>
          <pc:sldMasterMk cId="3143281441" sldId="2147484715"/>
        </pc:sldMasterMkLst>
        <pc:sldLayoutChg chg="del">
          <pc:chgData name="Sally Shi" userId="3dd53fc4-fdbd-42d3-9029-c880e2f871dc" providerId="ADAL" clId="{C8AB38FB-FA8F-41D9-9EAC-5272E0AEFB98}" dt="2020-02-26T06:14:03.120" v="819" actId="47"/>
          <pc:sldLayoutMkLst>
            <pc:docMk/>
            <pc:sldMasterMk cId="3143281441" sldId="2147484715"/>
            <pc:sldLayoutMk cId="2104788838" sldId="2147484739"/>
          </pc:sldLayoutMkLst>
        </pc:sldLayoutChg>
        <pc:sldLayoutChg chg="del">
          <pc:chgData name="Sally Shi" userId="3dd53fc4-fdbd-42d3-9029-c880e2f871dc" providerId="ADAL" clId="{C8AB38FB-FA8F-41D9-9EAC-5272E0AEFB98}" dt="2020-01-30T03:55:24.212" v="597" actId="2696"/>
          <pc:sldLayoutMkLst>
            <pc:docMk/>
            <pc:sldMasterMk cId="3143281441" sldId="2147484715"/>
            <pc:sldLayoutMk cId="4220853881" sldId="2147484767"/>
          </pc:sldLayoutMkLst>
        </pc:sldLayoutChg>
      </pc:sldMasterChg>
    </pc:docChg>
  </pc:docChgLst>
  <pc:docChgLst>
    <pc:chgData name="Sally Shi" userId="3dd53fc4-fdbd-42d3-9029-c880e2f871dc" providerId="ADAL" clId="{1B301D80-EF6B-4C0F-95B0-0B95C1D4D929}"/>
    <pc:docChg chg="undo custSel addSld delSld modSld sldOrd modSection">
      <pc:chgData name="Sally Shi" userId="3dd53fc4-fdbd-42d3-9029-c880e2f871dc" providerId="ADAL" clId="{1B301D80-EF6B-4C0F-95B0-0B95C1D4D929}" dt="2020-03-24T01:07:16.182" v="241"/>
      <pc:docMkLst>
        <pc:docMk/>
      </pc:docMkLst>
      <pc:sldChg chg="ord">
        <pc:chgData name="Sally Shi" userId="3dd53fc4-fdbd-42d3-9029-c880e2f871dc" providerId="ADAL" clId="{1B301D80-EF6B-4C0F-95B0-0B95C1D4D929}" dt="2020-03-24T01:00:32.708" v="184"/>
        <pc:sldMkLst>
          <pc:docMk/>
          <pc:sldMk cId="2674854733" sldId="283"/>
        </pc:sldMkLst>
      </pc:sldChg>
      <pc:sldChg chg="del ord">
        <pc:chgData name="Sally Shi" userId="3dd53fc4-fdbd-42d3-9029-c880e2f871dc" providerId="ADAL" clId="{1B301D80-EF6B-4C0F-95B0-0B95C1D4D929}" dt="2020-03-24T01:01:22.912" v="193" actId="47"/>
        <pc:sldMkLst>
          <pc:docMk/>
          <pc:sldMk cId="4235511897" sldId="294"/>
        </pc:sldMkLst>
      </pc:sldChg>
      <pc:sldChg chg="modSp mod ord">
        <pc:chgData name="Sally Shi" userId="3dd53fc4-fdbd-42d3-9029-c880e2f871dc" providerId="ADAL" clId="{1B301D80-EF6B-4C0F-95B0-0B95C1D4D929}" dt="2020-03-24T01:01:01.735" v="192" actId="20577"/>
        <pc:sldMkLst>
          <pc:docMk/>
          <pc:sldMk cId="2360380625" sldId="298"/>
        </pc:sldMkLst>
        <pc:spChg chg="mod">
          <ac:chgData name="Sally Shi" userId="3dd53fc4-fdbd-42d3-9029-c880e2f871dc" providerId="ADAL" clId="{1B301D80-EF6B-4C0F-95B0-0B95C1D4D929}" dt="2020-03-24T01:01:01.735" v="192" actId="20577"/>
          <ac:spMkLst>
            <pc:docMk/>
            <pc:sldMk cId="2360380625" sldId="298"/>
            <ac:spMk id="2" creationId="{24C7C901-A336-45DC-A4F0-EA1ECF67F755}"/>
          </ac:spMkLst>
        </pc:spChg>
      </pc:sldChg>
      <pc:sldChg chg="ord">
        <pc:chgData name="Sally Shi" userId="3dd53fc4-fdbd-42d3-9029-c880e2f871dc" providerId="ADAL" clId="{1B301D80-EF6B-4C0F-95B0-0B95C1D4D929}" dt="2020-03-24T01:00:58.924" v="190"/>
        <pc:sldMkLst>
          <pc:docMk/>
          <pc:sldMk cId="3837525763" sldId="299"/>
        </pc:sldMkLst>
      </pc:sldChg>
      <pc:sldChg chg="del">
        <pc:chgData name="Sally Shi" userId="3dd53fc4-fdbd-42d3-9029-c880e2f871dc" providerId="ADAL" clId="{1B301D80-EF6B-4C0F-95B0-0B95C1D4D929}" dt="2020-03-24T00:52:24.103" v="165" actId="47"/>
        <pc:sldMkLst>
          <pc:docMk/>
          <pc:sldMk cId="773557765" sldId="300"/>
        </pc:sldMkLst>
      </pc:sldChg>
      <pc:sldChg chg="del">
        <pc:chgData name="Sally Shi" userId="3dd53fc4-fdbd-42d3-9029-c880e2f871dc" providerId="ADAL" clId="{1B301D80-EF6B-4C0F-95B0-0B95C1D4D929}" dt="2020-03-24T00:52:25.239" v="166" actId="47"/>
        <pc:sldMkLst>
          <pc:docMk/>
          <pc:sldMk cId="465348070" sldId="301"/>
        </pc:sldMkLst>
      </pc:sldChg>
      <pc:sldChg chg="modSp mod">
        <pc:chgData name="Sally Shi" userId="3dd53fc4-fdbd-42d3-9029-c880e2f871dc" providerId="ADAL" clId="{1B301D80-EF6B-4C0F-95B0-0B95C1D4D929}" dt="2020-03-24T00:52:28.359" v="168" actId="20577"/>
        <pc:sldMkLst>
          <pc:docMk/>
          <pc:sldMk cId="222605902" sldId="302"/>
        </pc:sldMkLst>
        <pc:spChg chg="mod">
          <ac:chgData name="Sally Shi" userId="3dd53fc4-fdbd-42d3-9029-c880e2f871dc" providerId="ADAL" clId="{1B301D80-EF6B-4C0F-95B0-0B95C1D4D929}" dt="2020-03-24T00:52:28.359" v="168" actId="20577"/>
          <ac:spMkLst>
            <pc:docMk/>
            <pc:sldMk cId="222605902" sldId="302"/>
            <ac:spMk id="2" creationId="{24C7C901-A336-45DC-A4F0-EA1ECF67F755}"/>
          </ac:spMkLst>
        </pc:spChg>
      </pc:sldChg>
      <pc:sldChg chg="modSp del mod">
        <pc:chgData name="Sally Shi" userId="3dd53fc4-fdbd-42d3-9029-c880e2f871dc" providerId="ADAL" clId="{1B301D80-EF6B-4C0F-95B0-0B95C1D4D929}" dt="2020-03-24T01:01:24.174" v="194" actId="47"/>
        <pc:sldMkLst>
          <pc:docMk/>
          <pc:sldMk cId="1340112821" sldId="306"/>
        </pc:sldMkLst>
        <pc:spChg chg="mod">
          <ac:chgData name="Sally Shi" userId="3dd53fc4-fdbd-42d3-9029-c880e2f871dc" providerId="ADAL" clId="{1B301D80-EF6B-4C0F-95B0-0B95C1D4D929}" dt="2020-03-24T00:52:42.605" v="170" actId="20577"/>
          <ac:spMkLst>
            <pc:docMk/>
            <pc:sldMk cId="1340112821" sldId="306"/>
            <ac:spMk id="2" creationId="{24C7C901-A336-45DC-A4F0-EA1ECF67F755}"/>
          </ac:spMkLst>
        </pc:spChg>
        <pc:spChg chg="mod">
          <ac:chgData name="Sally Shi" userId="3dd53fc4-fdbd-42d3-9029-c880e2f871dc" providerId="ADAL" clId="{1B301D80-EF6B-4C0F-95B0-0B95C1D4D929}" dt="2020-03-24T00:53:44.459" v="176" actId="20577"/>
          <ac:spMkLst>
            <pc:docMk/>
            <pc:sldMk cId="1340112821" sldId="306"/>
            <ac:spMk id="17" creationId="{81419435-9EB7-4F26-97DA-9D28BCEA244B}"/>
          </ac:spMkLst>
        </pc:spChg>
      </pc:sldChg>
      <pc:sldChg chg="modSp mod ord">
        <pc:chgData name="Sally Shi" userId="3dd53fc4-fdbd-42d3-9029-c880e2f871dc" providerId="ADAL" clId="{1B301D80-EF6B-4C0F-95B0-0B95C1D4D929}" dt="2020-03-24T01:00:39.186" v="186" actId="20577"/>
        <pc:sldMkLst>
          <pc:docMk/>
          <pc:sldMk cId="692036809" sldId="309"/>
        </pc:sldMkLst>
        <pc:spChg chg="mod">
          <ac:chgData name="Sally Shi" userId="3dd53fc4-fdbd-42d3-9029-c880e2f871dc" providerId="ADAL" clId="{1B301D80-EF6B-4C0F-95B0-0B95C1D4D929}" dt="2020-03-24T01:00:39.186" v="186" actId="20577"/>
          <ac:spMkLst>
            <pc:docMk/>
            <pc:sldMk cId="692036809" sldId="309"/>
            <ac:spMk id="2" creationId="{729E159D-BEC3-487F-9F23-AB0DEF2A2A31}"/>
          </ac:spMkLst>
        </pc:spChg>
      </pc:sldChg>
      <pc:sldChg chg="modSp mod">
        <pc:chgData name="Sally Shi" userId="3dd53fc4-fdbd-42d3-9029-c880e2f871dc" providerId="ADAL" clId="{1B301D80-EF6B-4C0F-95B0-0B95C1D4D929}" dt="2020-03-24T00:42:55.115" v="116" actId="6549"/>
        <pc:sldMkLst>
          <pc:docMk/>
          <pc:sldMk cId="955195700" sldId="4592"/>
        </pc:sldMkLst>
        <pc:spChg chg="mod">
          <ac:chgData name="Sally Shi" userId="3dd53fc4-fdbd-42d3-9029-c880e2f871dc" providerId="ADAL" clId="{1B301D80-EF6B-4C0F-95B0-0B95C1D4D929}" dt="2020-03-24T00:42:55.115" v="116" actId="6549"/>
          <ac:spMkLst>
            <pc:docMk/>
            <pc:sldMk cId="955195700" sldId="4592"/>
            <ac:spMk id="10" creationId="{C7445F5D-9AB0-4938-B1BF-3D2B3467F05D}"/>
          </ac:spMkLst>
        </pc:spChg>
        <pc:cxnChg chg="mod">
          <ac:chgData name="Sally Shi" userId="3dd53fc4-fdbd-42d3-9029-c880e2f871dc" providerId="ADAL" clId="{1B301D80-EF6B-4C0F-95B0-0B95C1D4D929}" dt="2020-03-24T00:42:55.115" v="116" actId="6549"/>
          <ac:cxnSpMkLst>
            <pc:docMk/>
            <pc:sldMk cId="955195700" sldId="4592"/>
            <ac:cxnSpMk id="11" creationId="{DDF94876-5F88-45F3-A87F-CBEB0717D0EC}"/>
          </ac:cxnSpMkLst>
        </pc:cxnChg>
      </pc:sldChg>
      <pc:sldChg chg="del">
        <pc:chgData name="Sally Shi" userId="3dd53fc4-fdbd-42d3-9029-c880e2f871dc" providerId="ADAL" clId="{1B301D80-EF6B-4C0F-95B0-0B95C1D4D929}" dt="2020-03-24T00:44:38.266" v="117" actId="47"/>
        <pc:sldMkLst>
          <pc:docMk/>
          <pc:sldMk cId="4245901592" sldId="4593"/>
        </pc:sldMkLst>
      </pc:sldChg>
      <pc:sldChg chg="modSp mod">
        <pc:chgData name="Sally Shi" userId="3dd53fc4-fdbd-42d3-9029-c880e2f871dc" providerId="ADAL" clId="{1B301D80-EF6B-4C0F-95B0-0B95C1D4D929}" dt="2020-03-24T00:46:08.816" v="163" actId="6549"/>
        <pc:sldMkLst>
          <pc:docMk/>
          <pc:sldMk cId="3918238311" sldId="4594"/>
        </pc:sldMkLst>
        <pc:spChg chg="mod">
          <ac:chgData name="Sally Shi" userId="3dd53fc4-fdbd-42d3-9029-c880e2f871dc" providerId="ADAL" clId="{1B301D80-EF6B-4C0F-95B0-0B95C1D4D929}" dt="2020-03-24T00:46:08.816" v="163" actId="6549"/>
          <ac:spMkLst>
            <pc:docMk/>
            <pc:sldMk cId="3918238311" sldId="4594"/>
            <ac:spMk id="20" creationId="{2586944A-2E05-47EC-8600-D313FFB770D3}"/>
          </ac:spMkLst>
        </pc:spChg>
        <pc:cxnChg chg="mod">
          <ac:chgData name="Sally Shi" userId="3dd53fc4-fdbd-42d3-9029-c880e2f871dc" providerId="ADAL" clId="{1B301D80-EF6B-4C0F-95B0-0B95C1D4D929}" dt="2020-03-24T00:45:44.412" v="162" actId="14100"/>
          <ac:cxnSpMkLst>
            <pc:docMk/>
            <pc:sldMk cId="3918238311" sldId="4594"/>
            <ac:cxnSpMk id="21" creationId="{F78DC9A2-EE91-4910-83BF-3563E941766D}"/>
          </ac:cxnSpMkLst>
        </pc:cxnChg>
      </pc:sldChg>
      <pc:sldChg chg="del">
        <pc:chgData name="Sally Shi" userId="3dd53fc4-fdbd-42d3-9029-c880e2f871dc" providerId="ADAL" clId="{1B301D80-EF6B-4C0F-95B0-0B95C1D4D929}" dt="2020-03-23T22:55:51.712" v="103" actId="47"/>
        <pc:sldMkLst>
          <pc:docMk/>
          <pc:sldMk cId="1841071438" sldId="8319"/>
        </pc:sldMkLst>
      </pc:sldChg>
      <pc:sldChg chg="modSp mod">
        <pc:chgData name="Sally Shi" userId="3dd53fc4-fdbd-42d3-9029-c880e2f871dc" providerId="ADAL" clId="{1B301D80-EF6B-4C0F-95B0-0B95C1D4D929}" dt="2020-03-23T22:52:03.270" v="84" actId="20577"/>
        <pc:sldMkLst>
          <pc:docMk/>
          <pc:sldMk cId="1297548876" sldId="10351"/>
        </pc:sldMkLst>
        <pc:spChg chg="mod">
          <ac:chgData name="Sally Shi" userId="3dd53fc4-fdbd-42d3-9029-c880e2f871dc" providerId="ADAL" clId="{1B301D80-EF6B-4C0F-95B0-0B95C1D4D929}" dt="2020-03-23T22:52:03.270" v="84" actId="20577"/>
          <ac:spMkLst>
            <pc:docMk/>
            <pc:sldMk cId="1297548876" sldId="10351"/>
            <ac:spMk id="4" creationId="{75A51585-12F1-4EA5-9878-13AAC4ADC925}"/>
          </ac:spMkLst>
        </pc:spChg>
      </pc:sldChg>
      <pc:sldChg chg="del">
        <pc:chgData name="Sally Shi" userId="3dd53fc4-fdbd-42d3-9029-c880e2f871dc" providerId="ADAL" clId="{1B301D80-EF6B-4C0F-95B0-0B95C1D4D929}" dt="2020-03-23T22:52:30.102" v="85" actId="47"/>
        <pc:sldMkLst>
          <pc:docMk/>
          <pc:sldMk cId="4131572214" sldId="10361"/>
        </pc:sldMkLst>
      </pc:sldChg>
      <pc:sldChg chg="modSp mod">
        <pc:chgData name="Sally Shi" userId="3dd53fc4-fdbd-42d3-9029-c880e2f871dc" providerId="ADAL" clId="{1B301D80-EF6B-4C0F-95B0-0B95C1D4D929}" dt="2020-03-24T00:39:39.447" v="114" actId="20577"/>
        <pc:sldMkLst>
          <pc:docMk/>
          <pc:sldMk cId="3445495120" sldId="10825"/>
        </pc:sldMkLst>
        <pc:spChg chg="mod">
          <ac:chgData name="Sally Shi" userId="3dd53fc4-fdbd-42d3-9029-c880e2f871dc" providerId="ADAL" clId="{1B301D80-EF6B-4C0F-95B0-0B95C1D4D929}" dt="2020-03-24T00:39:39.447" v="114" actId="20577"/>
          <ac:spMkLst>
            <pc:docMk/>
            <pc:sldMk cId="3445495120" sldId="10825"/>
            <ac:spMk id="6" creationId="{70D63658-82A2-4738-975A-7ADB3750EE37}"/>
          </ac:spMkLst>
        </pc:spChg>
      </pc:sldChg>
      <pc:sldChg chg="modSp mod">
        <pc:chgData name="Sally Shi" userId="3dd53fc4-fdbd-42d3-9029-c880e2f871dc" providerId="ADAL" clId="{1B301D80-EF6B-4C0F-95B0-0B95C1D4D929}" dt="2020-03-24T00:48:16.970" v="164" actId="20577"/>
        <pc:sldMkLst>
          <pc:docMk/>
          <pc:sldMk cId="282351483" sldId="10837"/>
        </pc:sldMkLst>
        <pc:spChg chg="mod">
          <ac:chgData name="Sally Shi" userId="3dd53fc4-fdbd-42d3-9029-c880e2f871dc" providerId="ADAL" clId="{1B301D80-EF6B-4C0F-95B0-0B95C1D4D929}" dt="2020-03-24T00:48:16.970" v="164" actId="20577"/>
          <ac:spMkLst>
            <pc:docMk/>
            <pc:sldMk cId="282351483" sldId="10837"/>
            <ac:spMk id="6" creationId="{70D63658-82A2-4738-975A-7ADB3750EE37}"/>
          </ac:spMkLst>
        </pc:spChg>
      </pc:sldChg>
      <pc:sldChg chg="modSp mod">
        <pc:chgData name="Sally Shi" userId="3dd53fc4-fdbd-42d3-9029-c880e2f871dc" providerId="ADAL" clId="{1B301D80-EF6B-4C0F-95B0-0B95C1D4D929}" dt="2020-03-23T22:53:37.827" v="94" actId="20577"/>
        <pc:sldMkLst>
          <pc:docMk/>
          <pc:sldMk cId="4177417686" sldId="10865"/>
        </pc:sldMkLst>
        <pc:spChg chg="mod">
          <ac:chgData name="Sally Shi" userId="3dd53fc4-fdbd-42d3-9029-c880e2f871dc" providerId="ADAL" clId="{1B301D80-EF6B-4C0F-95B0-0B95C1D4D929}" dt="2020-03-23T22:53:37.827" v="94" actId="20577"/>
          <ac:spMkLst>
            <pc:docMk/>
            <pc:sldMk cId="4177417686" sldId="10865"/>
            <ac:spMk id="4" creationId="{75A51585-12F1-4EA5-9878-13AAC4ADC925}"/>
          </ac:spMkLst>
        </pc:spChg>
      </pc:sldChg>
      <pc:sldChg chg="modSp mod">
        <pc:chgData name="Sally Shi" userId="3dd53fc4-fdbd-42d3-9029-c880e2f871dc" providerId="ADAL" clId="{1B301D80-EF6B-4C0F-95B0-0B95C1D4D929}" dt="2020-03-23T22:55:47.144" v="102" actId="20577"/>
        <pc:sldMkLst>
          <pc:docMk/>
          <pc:sldMk cId="2829938703" sldId="10871"/>
        </pc:sldMkLst>
        <pc:spChg chg="mod">
          <ac:chgData name="Sally Shi" userId="3dd53fc4-fdbd-42d3-9029-c880e2f871dc" providerId="ADAL" clId="{1B301D80-EF6B-4C0F-95B0-0B95C1D4D929}" dt="2020-03-23T22:55:47.144" v="102" actId="20577"/>
          <ac:spMkLst>
            <pc:docMk/>
            <pc:sldMk cId="2829938703" sldId="10871"/>
            <ac:spMk id="2" creationId="{4967DB64-89F1-4E6E-BC2F-E72380584D1E}"/>
          </ac:spMkLst>
        </pc:spChg>
      </pc:sldChg>
      <pc:sldChg chg="modSp mod">
        <pc:chgData name="Sally Shi" userId="3dd53fc4-fdbd-42d3-9029-c880e2f871dc" providerId="ADAL" clId="{1B301D80-EF6B-4C0F-95B0-0B95C1D4D929}" dt="2020-03-24T00:35:21.715" v="112" actId="20577"/>
        <pc:sldMkLst>
          <pc:docMk/>
          <pc:sldMk cId="872843601" sldId="10910"/>
        </pc:sldMkLst>
        <pc:spChg chg="mod">
          <ac:chgData name="Sally Shi" userId="3dd53fc4-fdbd-42d3-9029-c880e2f871dc" providerId="ADAL" clId="{1B301D80-EF6B-4C0F-95B0-0B95C1D4D929}" dt="2020-03-24T00:35:21.715" v="112" actId="20577"/>
          <ac:spMkLst>
            <pc:docMk/>
            <pc:sldMk cId="872843601" sldId="10910"/>
            <ac:spMk id="31" creationId="{FB70005E-B71B-4DEE-BA57-58F84E72F936}"/>
          </ac:spMkLst>
        </pc:spChg>
      </pc:sldChg>
      <pc:sldChg chg="modSp mod">
        <pc:chgData name="Sally Shi" userId="3dd53fc4-fdbd-42d3-9029-c880e2f871dc" providerId="ADAL" clId="{1B301D80-EF6B-4C0F-95B0-0B95C1D4D929}" dt="2020-03-23T22:31:33.265" v="53" actId="20577"/>
        <pc:sldMkLst>
          <pc:docMk/>
          <pc:sldMk cId="3380621522" sldId="2076136514"/>
        </pc:sldMkLst>
        <pc:graphicFrameChg chg="modGraphic">
          <ac:chgData name="Sally Shi" userId="3dd53fc4-fdbd-42d3-9029-c880e2f871dc" providerId="ADAL" clId="{1B301D80-EF6B-4C0F-95B0-0B95C1D4D929}" dt="2020-03-23T22:31:33.265" v="53" actId="20577"/>
          <ac:graphicFrameMkLst>
            <pc:docMk/>
            <pc:sldMk cId="3380621522" sldId="2076136514"/>
            <ac:graphicFrameMk id="7" creationId="{990DBDB5-9930-467E-BB02-6EEAE153D857}"/>
          </ac:graphicFrameMkLst>
        </pc:graphicFrameChg>
      </pc:sldChg>
      <pc:sldChg chg="modSp mod">
        <pc:chgData name="Sally Shi" userId="3dd53fc4-fdbd-42d3-9029-c880e2f871dc" providerId="ADAL" clId="{1B301D80-EF6B-4C0F-95B0-0B95C1D4D929}" dt="2020-03-23T22:35:54.953" v="74" actId="20577"/>
        <pc:sldMkLst>
          <pc:docMk/>
          <pc:sldMk cId="3138878722" sldId="2076136523"/>
        </pc:sldMkLst>
        <pc:spChg chg="mod">
          <ac:chgData name="Sally Shi" userId="3dd53fc4-fdbd-42d3-9029-c880e2f871dc" providerId="ADAL" clId="{1B301D80-EF6B-4C0F-95B0-0B95C1D4D929}" dt="2020-03-23T22:35:54.953" v="74" actId="20577"/>
          <ac:spMkLst>
            <pc:docMk/>
            <pc:sldMk cId="3138878722" sldId="2076136523"/>
            <ac:spMk id="13" creationId="{00000000-0000-0000-0000-000000000000}"/>
          </ac:spMkLst>
        </pc:spChg>
      </pc:sldChg>
      <pc:sldChg chg="modSp mod">
        <pc:chgData name="Sally Shi" userId="3dd53fc4-fdbd-42d3-9029-c880e2f871dc" providerId="ADAL" clId="{1B301D80-EF6B-4C0F-95B0-0B95C1D4D929}" dt="2020-03-23T22:51:46.229" v="83" actId="20577"/>
        <pc:sldMkLst>
          <pc:docMk/>
          <pc:sldMk cId="2991714122" sldId="2076136529"/>
        </pc:sldMkLst>
        <pc:spChg chg="mod">
          <ac:chgData name="Sally Shi" userId="3dd53fc4-fdbd-42d3-9029-c880e2f871dc" providerId="ADAL" clId="{1B301D80-EF6B-4C0F-95B0-0B95C1D4D929}" dt="2020-03-23T22:51:46.229" v="83" actId="20577"/>
          <ac:spMkLst>
            <pc:docMk/>
            <pc:sldMk cId="2991714122" sldId="2076136529"/>
            <ac:spMk id="4" creationId="{75A51585-12F1-4EA5-9878-13AAC4ADC925}"/>
          </ac:spMkLst>
        </pc:spChg>
      </pc:sldChg>
      <pc:sldChg chg="modSp mod">
        <pc:chgData name="Sally Shi" userId="3dd53fc4-fdbd-42d3-9029-c880e2f871dc" providerId="ADAL" clId="{1B301D80-EF6B-4C0F-95B0-0B95C1D4D929}" dt="2020-03-23T22:53:03.949" v="88" actId="20577"/>
        <pc:sldMkLst>
          <pc:docMk/>
          <pc:sldMk cId="2541952490" sldId="2076136533"/>
        </pc:sldMkLst>
        <pc:spChg chg="mod">
          <ac:chgData name="Sally Shi" userId="3dd53fc4-fdbd-42d3-9029-c880e2f871dc" providerId="ADAL" clId="{1B301D80-EF6B-4C0F-95B0-0B95C1D4D929}" dt="2020-03-23T22:53:03.949" v="88" actId="20577"/>
          <ac:spMkLst>
            <pc:docMk/>
            <pc:sldMk cId="2541952490" sldId="2076136533"/>
            <ac:spMk id="4" creationId="{75A51585-12F1-4EA5-9878-13AAC4ADC925}"/>
          </ac:spMkLst>
        </pc:spChg>
      </pc:sldChg>
      <pc:sldChg chg="add del">
        <pc:chgData name="Sally Shi" userId="3dd53fc4-fdbd-42d3-9029-c880e2f871dc" providerId="ADAL" clId="{1B301D80-EF6B-4C0F-95B0-0B95C1D4D929}" dt="2020-03-23T22:51:31.844" v="82" actId="2696"/>
        <pc:sldMkLst>
          <pc:docMk/>
          <pc:sldMk cId="1444785337" sldId="2076137518"/>
        </pc:sldMkLst>
      </pc:sldChg>
      <pc:sldChg chg="del">
        <pc:chgData name="Sally Shi" userId="3dd53fc4-fdbd-42d3-9029-c880e2f871dc" providerId="ADAL" clId="{1B301D80-EF6B-4C0F-95B0-0B95C1D4D929}" dt="2020-03-23T22:41:07.045" v="78" actId="2696"/>
        <pc:sldMkLst>
          <pc:docMk/>
          <pc:sldMk cId="3270718505" sldId="2076137518"/>
        </pc:sldMkLst>
      </pc:sldChg>
      <pc:sldChg chg="add">
        <pc:chgData name="Sally Shi" userId="3dd53fc4-fdbd-42d3-9029-c880e2f871dc" providerId="ADAL" clId="{1B301D80-EF6B-4C0F-95B0-0B95C1D4D929}" dt="2020-03-23T22:54:00.427" v="95"/>
        <pc:sldMkLst>
          <pc:docMk/>
          <pc:sldMk cId="3637122587" sldId="2076137518"/>
        </pc:sldMkLst>
      </pc:sldChg>
      <pc:sldChg chg="modNotesTx">
        <pc:chgData name="Sally Shi" userId="3dd53fc4-fdbd-42d3-9029-c880e2f871dc" providerId="ADAL" clId="{1B301D80-EF6B-4C0F-95B0-0B95C1D4D929}" dt="2020-03-24T00:02:02.020" v="104" actId="6549"/>
        <pc:sldMkLst>
          <pc:docMk/>
          <pc:sldMk cId="2333076610" sldId="2076137575"/>
        </pc:sldMkLst>
      </pc:sldChg>
      <pc:sldChg chg="del">
        <pc:chgData name="Sally Shi" userId="3dd53fc4-fdbd-42d3-9029-c880e2f871dc" providerId="ADAL" clId="{1B301D80-EF6B-4C0F-95B0-0B95C1D4D929}" dt="2020-03-23T22:41:07.045" v="78" actId="2696"/>
        <pc:sldMkLst>
          <pc:docMk/>
          <pc:sldMk cId="1274933918" sldId="2076137608"/>
        </pc:sldMkLst>
      </pc:sldChg>
      <pc:sldChg chg="add del">
        <pc:chgData name="Sally Shi" userId="3dd53fc4-fdbd-42d3-9029-c880e2f871dc" providerId="ADAL" clId="{1B301D80-EF6B-4C0F-95B0-0B95C1D4D929}" dt="2020-03-23T22:51:31.844" v="82" actId="2696"/>
        <pc:sldMkLst>
          <pc:docMk/>
          <pc:sldMk cId="3379276745" sldId="2076137608"/>
        </pc:sldMkLst>
      </pc:sldChg>
      <pc:sldChg chg="add del">
        <pc:chgData name="Sally Shi" userId="3dd53fc4-fdbd-42d3-9029-c880e2f871dc" providerId="ADAL" clId="{1B301D80-EF6B-4C0F-95B0-0B95C1D4D929}" dt="2020-03-23T22:55:16.675" v="97" actId="47"/>
        <pc:sldMkLst>
          <pc:docMk/>
          <pc:sldMk cId="3898756662" sldId="2076137608"/>
        </pc:sldMkLst>
      </pc:sldChg>
      <pc:sldChg chg="modSp mod">
        <pc:chgData name="Sally Shi" userId="3dd53fc4-fdbd-42d3-9029-c880e2f871dc" providerId="ADAL" clId="{1B301D80-EF6B-4C0F-95B0-0B95C1D4D929}" dt="2020-03-24T01:05:41.795" v="216" actId="20577"/>
        <pc:sldMkLst>
          <pc:docMk/>
          <pc:sldMk cId="2765841954" sldId="2076137630"/>
        </pc:sldMkLst>
        <pc:graphicFrameChg chg="modGraphic">
          <ac:chgData name="Sally Shi" userId="3dd53fc4-fdbd-42d3-9029-c880e2f871dc" providerId="ADAL" clId="{1B301D80-EF6B-4C0F-95B0-0B95C1D4D929}" dt="2020-03-24T01:05:41.795" v="216" actId="20577"/>
          <ac:graphicFrameMkLst>
            <pc:docMk/>
            <pc:sldMk cId="2765841954" sldId="2076137630"/>
            <ac:graphicFrameMk id="7" creationId="{990DBDB5-9930-467E-BB02-6EEAE153D857}"/>
          </ac:graphicFrameMkLst>
        </pc:graphicFrameChg>
      </pc:sldChg>
      <pc:sldChg chg="modSp mod ord">
        <pc:chgData name="Sally Shi" userId="3dd53fc4-fdbd-42d3-9029-c880e2f871dc" providerId="ADAL" clId="{1B301D80-EF6B-4C0F-95B0-0B95C1D4D929}" dt="2020-03-14T03:28:36.759" v="5" actId="20577"/>
        <pc:sldMkLst>
          <pc:docMk/>
          <pc:sldMk cId="1587347766" sldId="2076137633"/>
        </pc:sldMkLst>
        <pc:spChg chg="mod">
          <ac:chgData name="Sally Shi" userId="3dd53fc4-fdbd-42d3-9029-c880e2f871dc" providerId="ADAL" clId="{1B301D80-EF6B-4C0F-95B0-0B95C1D4D929}" dt="2020-03-14T03:28:36.759" v="5" actId="20577"/>
          <ac:spMkLst>
            <pc:docMk/>
            <pc:sldMk cId="1587347766" sldId="2076137633"/>
            <ac:spMk id="3" creationId="{B0C3D7AD-1EED-421F-BA55-C46F589B69BD}"/>
          </ac:spMkLst>
        </pc:spChg>
      </pc:sldChg>
      <pc:sldChg chg="modSp mod">
        <pc:chgData name="Sally Shi" userId="3dd53fc4-fdbd-42d3-9029-c880e2f871dc" providerId="ADAL" clId="{1B301D80-EF6B-4C0F-95B0-0B95C1D4D929}" dt="2020-03-23T22:34:07.465" v="54" actId="313"/>
        <pc:sldMkLst>
          <pc:docMk/>
          <pc:sldMk cId="3565521131" sldId="2076137634"/>
        </pc:sldMkLst>
        <pc:graphicFrameChg chg="modGraphic">
          <ac:chgData name="Sally Shi" userId="3dd53fc4-fdbd-42d3-9029-c880e2f871dc" providerId="ADAL" clId="{1B301D80-EF6B-4C0F-95B0-0B95C1D4D929}" dt="2020-03-23T22:34:07.465" v="54" actId="313"/>
          <ac:graphicFrameMkLst>
            <pc:docMk/>
            <pc:sldMk cId="3565521131" sldId="2076137634"/>
            <ac:graphicFrameMk id="7" creationId="{990DBDB5-9930-467E-BB02-6EEAE153D857}"/>
          </ac:graphicFrameMkLst>
        </pc:graphicFrameChg>
      </pc:sldChg>
      <pc:sldChg chg="modSp mod">
        <pc:chgData name="Sally Shi" userId="3dd53fc4-fdbd-42d3-9029-c880e2f871dc" providerId="ADAL" clId="{1B301D80-EF6B-4C0F-95B0-0B95C1D4D929}" dt="2020-03-23T22:34:11.881" v="55" actId="313"/>
        <pc:sldMkLst>
          <pc:docMk/>
          <pc:sldMk cId="3639649044" sldId="2076137635"/>
        </pc:sldMkLst>
        <pc:graphicFrameChg chg="modGraphic">
          <ac:chgData name="Sally Shi" userId="3dd53fc4-fdbd-42d3-9029-c880e2f871dc" providerId="ADAL" clId="{1B301D80-EF6B-4C0F-95B0-0B95C1D4D929}" dt="2020-03-23T22:34:11.881" v="55" actId="313"/>
          <ac:graphicFrameMkLst>
            <pc:docMk/>
            <pc:sldMk cId="3639649044" sldId="2076137635"/>
            <ac:graphicFrameMk id="7" creationId="{990DBDB5-9930-467E-BB02-6EEAE153D857}"/>
          </ac:graphicFrameMkLst>
        </pc:graphicFrameChg>
      </pc:sldChg>
      <pc:sldChg chg="modSp mod">
        <pc:chgData name="Sally Shi" userId="3dd53fc4-fdbd-42d3-9029-c880e2f871dc" providerId="ADAL" clId="{1B301D80-EF6B-4C0F-95B0-0B95C1D4D929}" dt="2020-03-23T22:34:17.547" v="56" actId="313"/>
        <pc:sldMkLst>
          <pc:docMk/>
          <pc:sldMk cId="1306295949" sldId="2076137636"/>
        </pc:sldMkLst>
        <pc:graphicFrameChg chg="modGraphic">
          <ac:chgData name="Sally Shi" userId="3dd53fc4-fdbd-42d3-9029-c880e2f871dc" providerId="ADAL" clId="{1B301D80-EF6B-4C0F-95B0-0B95C1D4D929}" dt="2020-03-23T22:34:17.547" v="56" actId="313"/>
          <ac:graphicFrameMkLst>
            <pc:docMk/>
            <pc:sldMk cId="1306295949" sldId="2076137636"/>
            <ac:graphicFrameMk id="7" creationId="{990DBDB5-9930-467E-BB02-6EEAE153D857}"/>
          </ac:graphicFrameMkLst>
        </pc:graphicFrameChg>
      </pc:sldChg>
      <pc:sldChg chg="modSp mod">
        <pc:chgData name="Sally Shi" userId="3dd53fc4-fdbd-42d3-9029-c880e2f871dc" providerId="ADAL" clId="{1B301D80-EF6B-4C0F-95B0-0B95C1D4D929}" dt="2020-03-23T22:34:22.431" v="57" actId="313"/>
        <pc:sldMkLst>
          <pc:docMk/>
          <pc:sldMk cId="721865862" sldId="2076137637"/>
        </pc:sldMkLst>
        <pc:graphicFrameChg chg="modGraphic">
          <ac:chgData name="Sally Shi" userId="3dd53fc4-fdbd-42d3-9029-c880e2f871dc" providerId="ADAL" clId="{1B301D80-EF6B-4C0F-95B0-0B95C1D4D929}" dt="2020-03-23T22:34:22.431" v="57" actId="313"/>
          <ac:graphicFrameMkLst>
            <pc:docMk/>
            <pc:sldMk cId="721865862" sldId="2076137637"/>
            <ac:graphicFrameMk id="7" creationId="{990DBDB5-9930-467E-BB02-6EEAE153D857}"/>
          </ac:graphicFrameMkLst>
        </pc:graphicFrameChg>
      </pc:sldChg>
      <pc:sldChg chg="modSp mod">
        <pc:chgData name="Sally Shi" userId="3dd53fc4-fdbd-42d3-9029-c880e2f871dc" providerId="ADAL" clId="{1B301D80-EF6B-4C0F-95B0-0B95C1D4D929}" dt="2020-03-23T22:34:24.374" v="58" actId="313"/>
        <pc:sldMkLst>
          <pc:docMk/>
          <pc:sldMk cId="1144423436" sldId="2076137638"/>
        </pc:sldMkLst>
        <pc:graphicFrameChg chg="modGraphic">
          <ac:chgData name="Sally Shi" userId="3dd53fc4-fdbd-42d3-9029-c880e2f871dc" providerId="ADAL" clId="{1B301D80-EF6B-4C0F-95B0-0B95C1D4D929}" dt="2020-03-23T22:34:24.374" v="58" actId="313"/>
          <ac:graphicFrameMkLst>
            <pc:docMk/>
            <pc:sldMk cId="1144423436" sldId="2076137638"/>
            <ac:graphicFrameMk id="7" creationId="{990DBDB5-9930-467E-BB02-6EEAE153D857}"/>
          </ac:graphicFrameMkLst>
        </pc:graphicFrameChg>
      </pc:sldChg>
      <pc:sldChg chg="modSp mod">
        <pc:chgData name="Sally Shi" userId="3dd53fc4-fdbd-42d3-9029-c880e2f871dc" providerId="ADAL" clId="{1B301D80-EF6B-4C0F-95B0-0B95C1D4D929}" dt="2020-03-23T22:34:25.558" v="59" actId="313"/>
        <pc:sldMkLst>
          <pc:docMk/>
          <pc:sldMk cId="1163679897" sldId="2076137639"/>
        </pc:sldMkLst>
        <pc:graphicFrameChg chg="modGraphic">
          <ac:chgData name="Sally Shi" userId="3dd53fc4-fdbd-42d3-9029-c880e2f871dc" providerId="ADAL" clId="{1B301D80-EF6B-4C0F-95B0-0B95C1D4D929}" dt="2020-03-23T22:34:25.558" v="59" actId="313"/>
          <ac:graphicFrameMkLst>
            <pc:docMk/>
            <pc:sldMk cId="1163679897" sldId="2076137639"/>
            <ac:graphicFrameMk id="7" creationId="{990DBDB5-9930-467E-BB02-6EEAE153D857}"/>
          </ac:graphicFrameMkLst>
        </pc:graphicFrameChg>
      </pc:sldChg>
      <pc:sldChg chg="modSp mod">
        <pc:chgData name="Sally Shi" userId="3dd53fc4-fdbd-42d3-9029-c880e2f871dc" providerId="ADAL" clId="{1B301D80-EF6B-4C0F-95B0-0B95C1D4D929}" dt="2020-03-23T22:34:28.018" v="60" actId="313"/>
        <pc:sldMkLst>
          <pc:docMk/>
          <pc:sldMk cId="1992993166" sldId="2076137640"/>
        </pc:sldMkLst>
        <pc:graphicFrameChg chg="modGraphic">
          <ac:chgData name="Sally Shi" userId="3dd53fc4-fdbd-42d3-9029-c880e2f871dc" providerId="ADAL" clId="{1B301D80-EF6B-4C0F-95B0-0B95C1D4D929}" dt="2020-03-23T22:34:28.018" v="60" actId="313"/>
          <ac:graphicFrameMkLst>
            <pc:docMk/>
            <pc:sldMk cId="1992993166" sldId="2076137640"/>
            <ac:graphicFrameMk id="7" creationId="{990DBDB5-9930-467E-BB02-6EEAE153D857}"/>
          </ac:graphicFrameMkLst>
        </pc:graphicFrameChg>
      </pc:sldChg>
      <pc:sldChg chg="modSp mod">
        <pc:chgData name="Sally Shi" userId="3dd53fc4-fdbd-42d3-9029-c880e2f871dc" providerId="ADAL" clId="{1B301D80-EF6B-4C0F-95B0-0B95C1D4D929}" dt="2020-03-23T22:34:29.350" v="61" actId="313"/>
        <pc:sldMkLst>
          <pc:docMk/>
          <pc:sldMk cId="3069131816" sldId="2076137641"/>
        </pc:sldMkLst>
        <pc:graphicFrameChg chg="modGraphic">
          <ac:chgData name="Sally Shi" userId="3dd53fc4-fdbd-42d3-9029-c880e2f871dc" providerId="ADAL" clId="{1B301D80-EF6B-4C0F-95B0-0B95C1D4D929}" dt="2020-03-23T22:34:29.350" v="61" actId="313"/>
          <ac:graphicFrameMkLst>
            <pc:docMk/>
            <pc:sldMk cId="3069131816" sldId="2076137641"/>
            <ac:graphicFrameMk id="7" creationId="{990DBDB5-9930-467E-BB02-6EEAE153D857}"/>
          </ac:graphicFrameMkLst>
        </pc:graphicFrameChg>
      </pc:sldChg>
      <pc:sldChg chg="modSp mod">
        <pc:chgData name="Sally Shi" userId="3dd53fc4-fdbd-42d3-9029-c880e2f871dc" providerId="ADAL" clId="{1B301D80-EF6B-4C0F-95B0-0B95C1D4D929}" dt="2020-03-24T01:06:13.547" v="238" actId="20577"/>
        <pc:sldMkLst>
          <pc:docMk/>
          <pc:sldMk cId="3209519669" sldId="2076137642"/>
        </pc:sldMkLst>
        <pc:graphicFrameChg chg="modGraphic">
          <ac:chgData name="Sally Shi" userId="3dd53fc4-fdbd-42d3-9029-c880e2f871dc" providerId="ADAL" clId="{1B301D80-EF6B-4C0F-95B0-0B95C1D4D929}" dt="2020-03-24T01:06:13.547" v="238" actId="20577"/>
          <ac:graphicFrameMkLst>
            <pc:docMk/>
            <pc:sldMk cId="3209519669" sldId="2076137642"/>
            <ac:graphicFrameMk id="7" creationId="{990DBDB5-9930-467E-BB02-6EEAE153D857}"/>
          </ac:graphicFrameMkLst>
        </pc:graphicFrameChg>
      </pc:sldChg>
      <pc:sldChg chg="modSp add mod">
        <pc:chgData name="Sally Shi" userId="3dd53fc4-fdbd-42d3-9029-c880e2f871dc" providerId="ADAL" clId="{1B301D80-EF6B-4C0F-95B0-0B95C1D4D929}" dt="2020-03-24T00:19:06.460" v="111" actId="6549"/>
        <pc:sldMkLst>
          <pc:docMk/>
          <pc:sldMk cId="1414300430" sldId="2076137643"/>
        </pc:sldMkLst>
        <pc:spChg chg="mod">
          <ac:chgData name="Sally Shi" userId="3dd53fc4-fdbd-42d3-9029-c880e2f871dc" providerId="ADAL" clId="{1B301D80-EF6B-4C0F-95B0-0B95C1D4D929}" dt="2020-03-24T00:19:06.460" v="111" actId="6549"/>
          <ac:spMkLst>
            <pc:docMk/>
            <pc:sldMk cId="1414300430" sldId="2076137643"/>
            <ac:spMk id="30" creationId="{02E2986A-C550-4616-A959-0F4313240126}"/>
          </ac:spMkLst>
        </pc:spChg>
      </pc:sldChg>
      <pc:sldChg chg="del">
        <pc:chgData name="Sally Shi" userId="3dd53fc4-fdbd-42d3-9029-c880e2f871dc" providerId="ADAL" clId="{1B301D80-EF6B-4C0F-95B0-0B95C1D4D929}" dt="2020-03-23T22:54:17.475" v="96" actId="47"/>
        <pc:sldMkLst>
          <pc:docMk/>
          <pc:sldMk cId="3135973267" sldId="2076137643"/>
        </pc:sldMkLst>
      </pc:sldChg>
      <pc:sldChg chg="add ord">
        <pc:chgData name="Sally Shi" userId="3dd53fc4-fdbd-42d3-9029-c880e2f871dc" providerId="ADAL" clId="{1B301D80-EF6B-4C0F-95B0-0B95C1D4D929}" dt="2020-03-24T00:18:32.140" v="107"/>
        <pc:sldMkLst>
          <pc:docMk/>
          <pc:sldMk cId="1151476731" sldId="2076137644"/>
        </pc:sldMkLst>
      </pc:sldChg>
      <pc:sldChg chg="add ord">
        <pc:chgData name="Sally Shi" userId="3dd53fc4-fdbd-42d3-9029-c880e2f871dc" providerId="ADAL" clId="{1B301D80-EF6B-4C0F-95B0-0B95C1D4D929}" dt="2020-03-24T01:07:16.182" v="241"/>
        <pc:sldMkLst>
          <pc:docMk/>
          <pc:sldMk cId="3359234525" sldId="2076137645"/>
        </pc:sldMkLst>
      </pc:sldChg>
    </pc:docChg>
  </pc:docChgLst>
  <pc:docChgLst>
    <pc:chgData name="Sally Shi" userId="3dd53fc4-fdbd-42d3-9029-c880e2f871dc" providerId="ADAL" clId="{DC7EAB63-3268-4C19-8418-0D6F9405B2D6}"/>
    <pc:docChg chg="custSel modSld sldOrd">
      <pc:chgData name="Sally Shi" userId="3dd53fc4-fdbd-42d3-9029-c880e2f871dc" providerId="ADAL" clId="{DC7EAB63-3268-4C19-8418-0D6F9405B2D6}" dt="2020-03-28T02:23:32.247" v="45"/>
      <pc:docMkLst>
        <pc:docMk/>
      </pc:docMkLst>
      <pc:sldChg chg="addSp delSp modSp mod">
        <pc:chgData name="Sally Shi" userId="3dd53fc4-fdbd-42d3-9029-c880e2f871dc" providerId="ADAL" clId="{DC7EAB63-3268-4C19-8418-0D6F9405B2D6}" dt="2020-03-28T02:19:51.646" v="40" actId="1076"/>
        <pc:sldMkLst>
          <pc:docMk/>
          <pc:sldMk cId="3494433497" sldId="1881"/>
        </pc:sldMkLst>
        <pc:spChg chg="add del">
          <ac:chgData name="Sally Shi" userId="3dd53fc4-fdbd-42d3-9029-c880e2f871dc" providerId="ADAL" clId="{DC7EAB63-3268-4C19-8418-0D6F9405B2D6}" dt="2020-03-28T02:19:22.789" v="14" actId="478"/>
          <ac:spMkLst>
            <pc:docMk/>
            <pc:sldMk cId="3494433497" sldId="1881"/>
            <ac:spMk id="3" creationId="{91B0EEF2-BEC2-4865-A3C8-B69C351C793F}"/>
          </ac:spMkLst>
        </pc:spChg>
        <pc:spChg chg="mod">
          <ac:chgData name="Sally Shi" userId="3dd53fc4-fdbd-42d3-9029-c880e2f871dc" providerId="ADAL" clId="{DC7EAB63-3268-4C19-8418-0D6F9405B2D6}" dt="2020-03-28T02:19:51.646" v="40" actId="1076"/>
          <ac:spMkLst>
            <pc:docMk/>
            <pc:sldMk cId="3494433497" sldId="1881"/>
            <ac:spMk id="4" creationId="{D25A7097-F128-44C8-9EE0-1A9AAF0AF864}"/>
          </ac:spMkLst>
        </pc:spChg>
        <pc:spChg chg="add del">
          <ac:chgData name="Sally Shi" userId="3dd53fc4-fdbd-42d3-9029-c880e2f871dc" providerId="ADAL" clId="{DC7EAB63-3268-4C19-8418-0D6F9405B2D6}" dt="2020-03-28T02:19:22.789" v="14" actId="478"/>
          <ac:spMkLst>
            <pc:docMk/>
            <pc:sldMk cId="3494433497" sldId="1881"/>
            <ac:spMk id="5" creationId="{2366BBEC-0E02-48D8-BE79-F083B2589056}"/>
          </ac:spMkLst>
        </pc:spChg>
        <pc:spChg chg="add mod">
          <ac:chgData name="Sally Shi" userId="3dd53fc4-fdbd-42d3-9029-c880e2f871dc" providerId="ADAL" clId="{DC7EAB63-3268-4C19-8418-0D6F9405B2D6}" dt="2020-03-28T02:19:33.588" v="38" actId="20577"/>
          <ac:spMkLst>
            <pc:docMk/>
            <pc:sldMk cId="3494433497" sldId="1881"/>
            <ac:spMk id="6" creationId="{1F82CCB8-E5A3-41D5-B56D-8990E202137D}"/>
          </ac:spMkLst>
        </pc:spChg>
      </pc:sldChg>
      <pc:sldChg chg="modNotesTx">
        <pc:chgData name="Sally Shi" userId="3dd53fc4-fdbd-42d3-9029-c880e2f871dc" providerId="ADAL" clId="{DC7EAB63-3268-4C19-8418-0D6F9405B2D6}" dt="2020-03-24T01:17:11.973" v="11" actId="6549"/>
        <pc:sldMkLst>
          <pc:docMk/>
          <pc:sldMk cId="2845204482" sldId="8314"/>
        </pc:sldMkLst>
      </pc:sldChg>
      <pc:sldChg chg="modNotesTx">
        <pc:chgData name="Sally Shi" userId="3dd53fc4-fdbd-42d3-9029-c880e2f871dc" providerId="ADAL" clId="{DC7EAB63-3268-4C19-8418-0D6F9405B2D6}" dt="2020-03-24T01:17:04.744" v="9" actId="6549"/>
        <pc:sldMkLst>
          <pc:docMk/>
          <pc:sldMk cId="4059495054" sldId="10820"/>
        </pc:sldMkLst>
      </pc:sldChg>
      <pc:sldChg chg="modNotesTx">
        <pc:chgData name="Sally Shi" userId="3dd53fc4-fdbd-42d3-9029-c880e2f871dc" providerId="ADAL" clId="{DC7EAB63-3268-4C19-8418-0D6F9405B2D6}" dt="2020-03-24T01:17:08.571" v="10" actId="6549"/>
        <pc:sldMkLst>
          <pc:docMk/>
          <pc:sldMk cId="551872864" sldId="10821"/>
        </pc:sldMkLst>
      </pc:sldChg>
      <pc:sldChg chg="modNotesTx">
        <pc:chgData name="Sally Shi" userId="3dd53fc4-fdbd-42d3-9029-c880e2f871dc" providerId="ADAL" clId="{DC7EAB63-3268-4C19-8418-0D6F9405B2D6}" dt="2020-03-24T01:15:03.877" v="1" actId="6549"/>
        <pc:sldMkLst>
          <pc:docMk/>
          <pc:sldMk cId="2096698302" sldId="2076137532"/>
        </pc:sldMkLst>
      </pc:sldChg>
      <pc:sldChg chg="modNotesTx">
        <pc:chgData name="Sally Shi" userId="3dd53fc4-fdbd-42d3-9029-c880e2f871dc" providerId="ADAL" clId="{DC7EAB63-3268-4C19-8418-0D6F9405B2D6}" dt="2020-03-24T01:15:00.782" v="0" actId="6549"/>
        <pc:sldMkLst>
          <pc:docMk/>
          <pc:sldMk cId="3652869751" sldId="2076137576"/>
        </pc:sldMkLst>
      </pc:sldChg>
      <pc:sldChg chg="modNotesTx">
        <pc:chgData name="Sally Shi" userId="3dd53fc4-fdbd-42d3-9029-c880e2f871dc" providerId="ADAL" clId="{DC7EAB63-3268-4C19-8418-0D6F9405B2D6}" dt="2020-03-24T01:15:24.057" v="3" actId="6549"/>
        <pc:sldMkLst>
          <pc:docMk/>
          <pc:sldMk cId="2349612387" sldId="2076137577"/>
        </pc:sldMkLst>
      </pc:sldChg>
      <pc:sldChg chg="modNotesTx">
        <pc:chgData name="Sally Shi" userId="3dd53fc4-fdbd-42d3-9029-c880e2f871dc" providerId="ADAL" clId="{DC7EAB63-3268-4C19-8418-0D6F9405B2D6}" dt="2020-03-24T01:15:43.586" v="4" actId="6549"/>
        <pc:sldMkLst>
          <pc:docMk/>
          <pc:sldMk cId="3702118164" sldId="2076137587"/>
        </pc:sldMkLst>
      </pc:sldChg>
      <pc:sldChg chg="modNotesTx">
        <pc:chgData name="Sally Shi" userId="3dd53fc4-fdbd-42d3-9029-c880e2f871dc" providerId="ADAL" clId="{DC7EAB63-3268-4C19-8418-0D6F9405B2D6}" dt="2020-03-24T01:16:44.296" v="6" actId="6549"/>
        <pc:sldMkLst>
          <pc:docMk/>
          <pc:sldMk cId="4226857016" sldId="2076137589"/>
        </pc:sldMkLst>
      </pc:sldChg>
      <pc:sldChg chg="modNotesTx">
        <pc:chgData name="Sally Shi" userId="3dd53fc4-fdbd-42d3-9029-c880e2f871dc" providerId="ADAL" clId="{DC7EAB63-3268-4C19-8418-0D6F9405B2D6}" dt="2020-03-24T01:16:40" v="5" actId="6549"/>
        <pc:sldMkLst>
          <pc:docMk/>
          <pc:sldMk cId="747484056" sldId="2076137592"/>
        </pc:sldMkLst>
      </pc:sldChg>
      <pc:sldChg chg="modNotesTx">
        <pc:chgData name="Sally Shi" userId="3dd53fc4-fdbd-42d3-9029-c880e2f871dc" providerId="ADAL" clId="{DC7EAB63-3268-4C19-8418-0D6F9405B2D6}" dt="2020-03-24T01:16:53.222" v="8" actId="6549"/>
        <pc:sldMkLst>
          <pc:docMk/>
          <pc:sldMk cId="1873493179" sldId="2076137593"/>
        </pc:sldMkLst>
      </pc:sldChg>
      <pc:sldChg chg="modNotesTx">
        <pc:chgData name="Sally Shi" userId="3dd53fc4-fdbd-42d3-9029-c880e2f871dc" providerId="ADAL" clId="{DC7EAB63-3268-4C19-8418-0D6F9405B2D6}" dt="2020-03-24T01:16:48.437" v="7" actId="6549"/>
        <pc:sldMkLst>
          <pc:docMk/>
          <pc:sldMk cId="3036878123" sldId="2076137595"/>
        </pc:sldMkLst>
      </pc:sldChg>
      <pc:sldChg chg="modNotesTx">
        <pc:chgData name="Sally Shi" userId="3dd53fc4-fdbd-42d3-9029-c880e2f871dc" providerId="ADAL" clId="{DC7EAB63-3268-4C19-8418-0D6F9405B2D6}" dt="2020-03-24T01:15:10.754" v="2" actId="6549"/>
        <pc:sldMkLst>
          <pc:docMk/>
          <pc:sldMk cId="1066846238" sldId="2076137610"/>
        </pc:sldMkLst>
      </pc:sldChg>
      <pc:sldChg chg="ord">
        <pc:chgData name="Sally Shi" userId="3dd53fc4-fdbd-42d3-9029-c880e2f871dc" providerId="ADAL" clId="{DC7EAB63-3268-4C19-8418-0D6F9405B2D6}" dt="2020-03-28T02:23:32.247" v="45"/>
        <pc:sldMkLst>
          <pc:docMk/>
          <pc:sldMk cId="1587347766" sldId="2076137633"/>
        </pc:sldMkLst>
      </pc:sldChg>
      <pc:sldChg chg="modNotesTx">
        <pc:chgData name="Sally Shi" userId="3dd53fc4-fdbd-42d3-9029-c880e2f871dc" providerId="ADAL" clId="{DC7EAB63-3268-4C19-8418-0D6F9405B2D6}" dt="2020-03-28T02:21:38.188" v="43"/>
        <pc:sldMkLst>
          <pc:docMk/>
          <pc:sldMk cId="1414300430" sldId="2076137643"/>
        </pc:sldMkLst>
      </pc:sldChg>
      <pc:sldChg chg="modNotesTx">
        <pc:chgData name="Sally Shi" userId="3dd53fc4-fdbd-42d3-9029-c880e2f871dc" providerId="ADAL" clId="{DC7EAB63-3268-4C19-8418-0D6F9405B2D6}" dt="2020-03-28T02:21:19.374" v="42" actId="20577"/>
        <pc:sldMkLst>
          <pc:docMk/>
          <pc:sldMk cId="1151476731" sldId="207613764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C312-4DCD-9572-4AB16B6D3D38}"/>
              </c:ext>
            </c:extLst>
          </c:dPt>
          <c:dPt>
            <c:idx val="1"/>
            <c:bubble3D val="0"/>
            <c:spPr>
              <a:solidFill>
                <a:schemeClr val="accent1"/>
              </a:solidFill>
              <a:ln w="19050">
                <a:noFill/>
              </a:ln>
              <a:effectLst/>
            </c:spPr>
            <c:extLst>
              <c:ext xmlns:c16="http://schemas.microsoft.com/office/drawing/2014/chart" uri="{C3380CC4-5D6E-409C-BE32-E72D297353CC}">
                <c16:uniqueId val="{00000003-C312-4DCD-9572-4AB16B6D3D38}"/>
              </c:ext>
            </c:extLst>
          </c:dPt>
          <c:cat>
            <c:strRef>
              <c:f>Sheet1!$A$2:$A$3</c:f>
              <c:strCache>
                <c:ptCount val="2"/>
                <c:pt idx="0">
                  <c:v>1st Qtr</c:v>
                </c:pt>
                <c:pt idx="1">
                  <c:v>2nd Qtr</c:v>
                </c:pt>
              </c:strCache>
            </c:strRef>
          </c:cat>
          <c:val>
            <c:numRef>
              <c:f>Sheet1!$B$2:$B$3</c:f>
              <c:numCache>
                <c:formatCode>General</c:formatCode>
                <c:ptCount val="2"/>
                <c:pt idx="0">
                  <c:v>66</c:v>
                </c:pt>
                <c:pt idx="1">
                  <c:v>34</c:v>
                </c:pt>
              </c:numCache>
            </c:numRef>
          </c:val>
          <c:extLst>
            <c:ext xmlns:c16="http://schemas.microsoft.com/office/drawing/2014/chart" uri="{C3380CC4-5D6E-409C-BE32-E72D297353CC}">
              <c16:uniqueId val="{00000004-C312-4DCD-9572-4AB16B6D3D3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31F-48F4-AD79-E9065EFE9B6C}"/>
              </c:ext>
            </c:extLst>
          </c:dPt>
          <c:dPt>
            <c:idx val="1"/>
            <c:bubble3D val="0"/>
            <c:spPr>
              <a:solidFill>
                <a:schemeClr val="accent1"/>
              </a:solidFill>
              <a:ln w="19050">
                <a:noFill/>
              </a:ln>
              <a:effectLst/>
            </c:spPr>
            <c:extLst>
              <c:ext xmlns:c16="http://schemas.microsoft.com/office/drawing/2014/chart" uri="{C3380CC4-5D6E-409C-BE32-E72D297353CC}">
                <c16:uniqueId val="{00000003-E31F-48F4-AD79-E9065EFE9B6C}"/>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E31F-48F4-AD79-E9065EFE9B6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2CA-4FE4-B20A-087E7F0C7878}"/>
              </c:ext>
            </c:extLst>
          </c:dPt>
          <c:dPt>
            <c:idx val="1"/>
            <c:bubble3D val="0"/>
            <c:spPr>
              <a:solidFill>
                <a:schemeClr val="accent1"/>
              </a:solidFill>
              <a:ln w="19050">
                <a:noFill/>
              </a:ln>
              <a:effectLst/>
            </c:spPr>
            <c:extLst>
              <c:ext xmlns:c16="http://schemas.microsoft.com/office/drawing/2014/chart" uri="{C3380CC4-5D6E-409C-BE32-E72D297353CC}">
                <c16:uniqueId val="{00000003-E2CA-4FE4-B20A-087E7F0C7878}"/>
              </c:ext>
            </c:extLst>
          </c:dPt>
          <c:cat>
            <c:strRef>
              <c:f>Sheet1!$A$2:$A$3</c:f>
              <c:strCache>
                <c:ptCount val="2"/>
                <c:pt idx="0">
                  <c:v>1st Qtr</c:v>
                </c:pt>
                <c:pt idx="1">
                  <c:v>2nd Qtr</c:v>
                </c:pt>
              </c:strCache>
            </c:strRef>
          </c:cat>
          <c:val>
            <c:numRef>
              <c:f>Sheet1!$B$2:$B$3</c:f>
              <c:numCache>
                <c:formatCode>General</c:formatCode>
                <c:ptCount val="2"/>
                <c:pt idx="0">
                  <c:v>59</c:v>
                </c:pt>
                <c:pt idx="1">
                  <c:v>34</c:v>
                </c:pt>
              </c:numCache>
            </c:numRef>
          </c:val>
          <c:extLst>
            <c:ext xmlns:c16="http://schemas.microsoft.com/office/drawing/2014/chart" uri="{C3380CC4-5D6E-409C-BE32-E72D297353CC}">
              <c16:uniqueId val="{00000004-E2CA-4FE4-B20A-087E7F0C787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39724"/>
            <a:ext cx="3004087" cy="1569179"/>
          </a:xfrm>
          <a:prstGeom prst="rect">
            <a:avLst/>
          </a:prstGeom>
        </p:spPr>
        <p:txBody>
          <a:bodyPr vert="horz" lIns="154720" tIns="77360" rIns="154720" bIns="77360" rtlCol="0"/>
          <a:lstStyle>
            <a:lvl1pPr algn="l">
              <a:defRPr sz="2000"/>
            </a:lvl1pPr>
          </a:lstStyle>
          <a:p>
            <a:endParaRPr lang="en-US">
              <a:latin typeface="Segoe UI" pitchFamily="34" charset="0"/>
            </a:endParaRPr>
          </a:p>
        </p:txBody>
      </p:sp>
      <p:sp>
        <p:nvSpPr>
          <p:cNvPr id="7" name="Date Placeholder 6"/>
          <p:cNvSpPr>
            <a:spLocks noGrp="1"/>
          </p:cNvSpPr>
          <p:nvPr>
            <p:ph type="dt" sz="quarter" idx="1"/>
          </p:nvPr>
        </p:nvSpPr>
        <p:spPr>
          <a:xfrm>
            <a:off x="3926816" y="1"/>
            <a:ext cx="3004087" cy="1569179"/>
          </a:xfrm>
          <a:prstGeom prst="rect">
            <a:avLst/>
          </a:prstGeom>
        </p:spPr>
        <p:txBody>
          <a:bodyPr vert="horz" lIns="154720" tIns="77360" rIns="154720" bIns="77360" rtlCol="0"/>
          <a:lstStyle>
            <a:lvl1pPr algn="r">
              <a:defRPr sz="2000"/>
            </a:lvl1pPr>
          </a:lstStyle>
          <a:p>
            <a:fld id="{9F7DF709-A015-47C7-B595-368521E90863}" type="datetime8">
              <a:rPr lang="en-US" smtClean="0">
                <a:latin typeface="Segoe UI" pitchFamily="34" charset="0"/>
              </a:rPr>
              <a:t>3/27/2020 7:18 PM</a:t>
            </a:fld>
            <a:endParaRPr lang="en-US">
              <a:latin typeface="Segoe UI" pitchFamily="34" charset="0"/>
            </a:endParaRPr>
          </a:p>
        </p:txBody>
      </p:sp>
      <p:sp>
        <p:nvSpPr>
          <p:cNvPr id="8" name="Footer Placeholder 7"/>
          <p:cNvSpPr>
            <a:spLocks noGrp="1"/>
          </p:cNvSpPr>
          <p:nvPr>
            <p:ph type="ftr" sz="quarter" idx="2"/>
          </p:nvPr>
        </p:nvSpPr>
        <p:spPr>
          <a:xfrm>
            <a:off x="0" y="29808966"/>
            <a:ext cx="5857968" cy="1140965"/>
          </a:xfrm>
          <a:prstGeom prst="rect">
            <a:avLst/>
          </a:prstGeom>
        </p:spPr>
        <p:txBody>
          <a:bodyPr vert="horz" lIns="154720" tIns="77360" rIns="154720" bIns="77360" rtlCol="0" anchor="b"/>
          <a:lstStyle>
            <a:lvl1pPr algn="l">
              <a:defRPr sz="2000"/>
            </a:lvl1pPr>
          </a:lstStyle>
          <a:p>
            <a:pPr marL="674216" defTabSz="1546692" eaLnBrk="0" hangingPunct="0"/>
            <a:r>
              <a:rPr lang="en-US" sz="7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46413" y="29808968"/>
            <a:ext cx="1084489" cy="1569179"/>
          </a:xfrm>
          <a:prstGeom prst="rect">
            <a:avLst/>
          </a:prstGeom>
        </p:spPr>
        <p:txBody>
          <a:bodyPr vert="horz" lIns="154720" tIns="77360" rIns="154720" bIns="77360" rtlCol="0" anchor="b"/>
          <a:lstStyle>
            <a:lvl1pPr algn="r">
              <a:defRPr sz="20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1"/>
            <a:ext cx="3004087" cy="1569179"/>
          </a:xfrm>
          <a:prstGeom prst="rect">
            <a:avLst/>
          </a:prstGeom>
        </p:spPr>
        <p:txBody>
          <a:bodyPr vert="horz" lIns="154720" tIns="77360" rIns="154720" bIns="77360" rtlCol="0"/>
          <a:lstStyle>
            <a:lvl1pPr algn="l">
              <a:defRPr sz="20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992938" y="2354263"/>
            <a:ext cx="20918488" cy="11768137"/>
          </a:xfrm>
          <a:prstGeom prst="rect">
            <a:avLst/>
          </a:prstGeom>
          <a:noFill/>
          <a:ln w="12700">
            <a:solidFill>
              <a:prstClr val="black"/>
            </a:solidFill>
          </a:ln>
        </p:spPr>
        <p:txBody>
          <a:bodyPr vert="horz" lIns="154720" tIns="77360" rIns="154720" bIns="77360" rtlCol="0" anchor="ctr"/>
          <a:lstStyle/>
          <a:p>
            <a:endParaRPr lang="en-US"/>
          </a:p>
        </p:txBody>
      </p:sp>
      <p:sp>
        <p:nvSpPr>
          <p:cNvPr id="10" name="Footer Placeholder 9"/>
          <p:cNvSpPr>
            <a:spLocks noGrp="1"/>
          </p:cNvSpPr>
          <p:nvPr>
            <p:ph type="ftr" sz="quarter" idx="4"/>
          </p:nvPr>
        </p:nvSpPr>
        <p:spPr>
          <a:xfrm>
            <a:off x="0" y="29814414"/>
            <a:ext cx="5985064" cy="1221724"/>
          </a:xfrm>
          <a:prstGeom prst="rect">
            <a:avLst/>
          </a:prstGeom>
        </p:spPr>
        <p:txBody>
          <a:bodyPr vert="horz" lIns="154720" tIns="77360" rIns="154720" bIns="77360" rtlCol="0" anchor="b"/>
          <a:lstStyle>
            <a:lvl1pPr marL="967002" indent="0" algn="l">
              <a:defRPr sz="2000"/>
            </a:lvl1p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26816" y="1"/>
            <a:ext cx="3004087" cy="1569179"/>
          </a:xfrm>
          <a:prstGeom prst="rect">
            <a:avLst/>
          </a:prstGeom>
        </p:spPr>
        <p:txBody>
          <a:bodyPr vert="horz" lIns="154720" tIns="77360" rIns="154720" bIns="77360" rtlCol="0"/>
          <a:lstStyle>
            <a:lvl1pPr algn="r">
              <a:defRPr sz="2000">
                <a:latin typeface="Segoe UI" pitchFamily="34" charset="0"/>
              </a:defRPr>
            </a:lvl1pPr>
          </a:lstStyle>
          <a:p>
            <a:fld id="{A3723069-FE27-44F1-B74F-20B5C3F8D606}" type="datetime8">
              <a:rPr lang="en-US" smtClean="0"/>
              <a:t>3/27/2020 7:17 PM</a:t>
            </a:fld>
            <a:endParaRPr lang="en-US"/>
          </a:p>
        </p:txBody>
      </p:sp>
      <p:sp>
        <p:nvSpPr>
          <p:cNvPr id="12" name="Notes Placeholder 11"/>
          <p:cNvSpPr>
            <a:spLocks noGrp="1"/>
          </p:cNvSpPr>
          <p:nvPr>
            <p:ph type="body" sz="quarter" idx="3"/>
          </p:nvPr>
        </p:nvSpPr>
        <p:spPr>
          <a:xfrm>
            <a:off x="693251" y="14907207"/>
            <a:ext cx="5546005" cy="14122616"/>
          </a:xfrm>
          <a:prstGeom prst="rect">
            <a:avLst/>
          </a:prstGeom>
        </p:spPr>
        <p:txBody>
          <a:bodyPr vert="horz" lIns="154720" tIns="77360" rIns="154720" bIns="773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73510" y="29808968"/>
            <a:ext cx="957392" cy="1569179"/>
          </a:xfrm>
          <a:prstGeom prst="rect">
            <a:avLst/>
          </a:prstGeom>
        </p:spPr>
        <p:txBody>
          <a:bodyPr vert="horz" lIns="154720" tIns="77360" rIns="154720" bIns="77360" rtlCol="0" anchor="b"/>
          <a:lstStyle>
            <a:lvl1pPr algn="r">
              <a:defRPr sz="20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mailto:someone@example.com"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94679F1-B602-4E9C-BA01-E614EB66573E}" type="datetime8">
              <a:rPr lang="en-US" smtClean="0"/>
              <a:t>3/27/2020 7: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22291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9062857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14</a:t>
            </a:fld>
            <a:endParaRPr lang="en-US"/>
          </a:p>
        </p:txBody>
      </p:sp>
    </p:spTree>
    <p:extLst>
      <p:ext uri="{BB962C8B-B14F-4D97-AF65-F5344CB8AC3E}">
        <p14:creationId xmlns:p14="http://schemas.microsoft.com/office/powerpoint/2010/main" val="402501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C1AD8C-834C-4A71-9F19-18437D8B5B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494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eating a bot is an easy step by step process.  Each chatbot also has performance analytics to enable a feedback loop so you can continuously and easily enhance your chatbot to optimize the customer experie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53964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makes creating a virtual agent very easy to do.  Open the Power Virtual Agents designer and click on the ‘bot’ icon and then select ‘new bot’.  Choose a name for your new virtual ag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30025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create your virtual agent, you need to decide what business scenarios you want your virtual agent address.  You’ll create a topic for each scenario/question you want the bot to addr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369358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r virtual agent must have the appropriate trigger phrases relevant to your topic.  In the example above, our topic is related to lawn concerns so we define trigger phrases which are relevant and likely for a lawn problem discuss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CECA3AB-6791-4A1E-85C1-30556A953C4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6450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 the authoring canvas and begin creating your virtual agent.  The easy to use and understand dialogue tree enables any user to start creating a powerful virtual agent experienc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704827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2BDC95E-CE71-44B4-A394-BA33A3FE176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97397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r>
              <a:rPr lang="en-US" sz="900" b="1" spc="0">
                <a:gradFill>
                  <a:gsLst>
                    <a:gs pos="83000">
                      <a:srgbClr val="008272"/>
                    </a:gs>
                    <a:gs pos="100000">
                      <a:srgbClr val="008272"/>
                    </a:gs>
                  </a:gsLst>
                  <a:lin ang="5400000" scaled="1"/>
                </a:gradFill>
                <a:latin typeface="Segoe UI"/>
              </a:rPr>
              <a:t>Easily see what’s working and what to improve</a:t>
            </a:r>
          </a:p>
          <a:p>
            <a:pPr defTabSz="932007" fontAlgn="base">
              <a:spcAft>
                <a:spcPts val="588"/>
              </a:spcAft>
              <a:buSzTx/>
            </a:pPr>
            <a:r>
              <a:rPr lang="en-US" sz="900" spc="0">
                <a:gradFill>
                  <a:gsLst>
                    <a:gs pos="83000">
                      <a:srgbClr val="3C3C41"/>
                    </a:gs>
                    <a:gs pos="100000">
                      <a:srgbClr val="3C3C41"/>
                    </a:gs>
                  </a:gsLst>
                  <a:lin ang="5400000" scaled="1"/>
                </a:gradFill>
                <a:latin typeface="Segoe UI"/>
                <a:cs typeface="Segoe UI" panose="020B0502040204020203" pitchFamily="34" charset="0"/>
              </a:rPr>
              <a:t>Analyze bot/customer conversations to better understand how specific topics are performing, what’s impacting your CSAT, and identify where there is room for improvement</a:t>
            </a:r>
          </a:p>
          <a:p>
            <a:pPr defTabSz="932007" fontAlgn="base">
              <a:spcAft>
                <a:spcPts val="588"/>
              </a:spcAft>
              <a:buSzTx/>
            </a:pPr>
            <a:endParaRPr lang="en-US" sz="900" spc="0">
              <a:gradFill>
                <a:gsLst>
                  <a:gs pos="83000">
                    <a:srgbClr val="3C3C41"/>
                  </a:gs>
                  <a:gs pos="100000">
                    <a:srgbClr val="3C3C41"/>
                  </a:gs>
                </a:gsLst>
                <a:lin ang="5400000" scaled="1"/>
              </a:gradFill>
              <a:latin typeface="Segoe UI"/>
              <a:cs typeface="Segoe UI"/>
            </a:endParaRPr>
          </a:p>
          <a:p>
            <a:pPr defTabSz="914192"/>
            <a:r>
              <a:rPr lang="en-US" sz="900" b="1" spc="0">
                <a:gradFill>
                  <a:gsLst>
                    <a:gs pos="83000">
                      <a:srgbClr val="008272"/>
                    </a:gs>
                    <a:gs pos="100000">
                      <a:srgbClr val="008272"/>
                    </a:gs>
                  </a:gsLst>
                  <a:lin ang="5400000" scaled="1"/>
                </a:gradFill>
                <a:latin typeface="Segoe UI"/>
              </a:rPr>
              <a:t>Quickly figure out what to build next</a:t>
            </a:r>
          </a:p>
          <a:p>
            <a:pPr defTabSz="932007" fontAlgn="base">
              <a:spcAft>
                <a:spcPts val="588"/>
              </a:spcAft>
              <a:buSzTx/>
            </a:pPr>
            <a:r>
              <a:rPr lang="en-US" sz="900" spc="0">
                <a:gradFill>
                  <a:gsLst>
                    <a:gs pos="83000">
                      <a:srgbClr val="3C3C41"/>
                    </a:gs>
                    <a:gs pos="100000">
                      <a:srgbClr val="3C3C41"/>
                    </a:gs>
                  </a:gsLst>
                  <a:lin ang="5400000" scaled="1"/>
                </a:gradFill>
                <a:latin typeface="Segoe UI"/>
                <a:cs typeface="Segoe UI" panose="020B0502040204020203" pitchFamily="34" charset="0"/>
              </a:rPr>
              <a:t>Easily see which conversations are going to human agents and determine which topics to teach your bot next </a:t>
            </a:r>
          </a:p>
          <a:p>
            <a:endParaRPr lang="en-US" sz="900" b="1" i="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5359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2</a:t>
            </a:fld>
            <a:endParaRPr lang="en-US"/>
          </a:p>
        </p:txBody>
      </p:sp>
    </p:spTree>
    <p:extLst>
      <p:ext uri="{BB962C8B-B14F-4D97-AF65-F5344CB8AC3E}">
        <p14:creationId xmlns:p14="http://schemas.microsoft.com/office/powerpoint/2010/main" val="530959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5371425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0936743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27</a:t>
            </a:fld>
            <a:endParaRPr lang="en-US"/>
          </a:p>
        </p:txBody>
      </p:sp>
    </p:spTree>
    <p:extLst>
      <p:ext uri="{BB962C8B-B14F-4D97-AF65-F5344CB8AC3E}">
        <p14:creationId xmlns:p14="http://schemas.microsoft.com/office/powerpoint/2010/main" val="3718361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also offers suggested topics for your agent by leveraging Microsoft’s industry leading AI.  Let Microsoft AI determine powerful potential topics which are crafted from our organization’s own web content.  Elevate your customer’s awareness to topics and subjects that matter mos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907101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31</a:t>
            </a:fld>
            <a:endParaRPr lang="en-US"/>
          </a:p>
        </p:txBody>
      </p:sp>
    </p:spTree>
    <p:extLst>
      <p:ext uri="{BB962C8B-B14F-4D97-AF65-F5344CB8AC3E}">
        <p14:creationId xmlns:p14="http://schemas.microsoft.com/office/powerpoint/2010/main" val="16259339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0820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4E9446F-2BE3-491C-9C78-6EC00434ADF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4458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03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37</a:t>
            </a:fld>
            <a:endParaRPr lang="en-US" sz="1200">
              <a:solidFill>
                <a:prstClr val="black"/>
              </a:solidFill>
            </a:endParaRPr>
          </a:p>
        </p:txBody>
      </p:sp>
    </p:spTree>
    <p:extLst>
      <p:ext uri="{BB962C8B-B14F-4D97-AF65-F5344CB8AC3E}">
        <p14:creationId xmlns:p14="http://schemas.microsoft.com/office/powerpoint/2010/main" val="3781620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38</a:t>
            </a:fld>
            <a:endParaRPr lang="en-US"/>
          </a:p>
        </p:txBody>
      </p:sp>
    </p:spTree>
    <p:extLst>
      <p:ext uri="{BB962C8B-B14F-4D97-AF65-F5344CB8AC3E}">
        <p14:creationId xmlns:p14="http://schemas.microsoft.com/office/powerpoint/2010/main" val="32275712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7720" indent="-27772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defTabSz="941253">
              <a:defRPr/>
            </a:pPr>
            <a:fld id="{5F2D3714-B553-A044-BA72-366907BA36B5}" type="slidenum">
              <a:rPr lang="en-US" sz="1200">
                <a:solidFill>
                  <a:prstClr val="black"/>
                </a:solidFill>
                <a:latin typeface="Calibri" panose="020F0502020204030204"/>
              </a:rPr>
              <a:pPr defTabSz="941253">
                <a:defRPr/>
              </a:pPr>
              <a:t>39</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9316931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0</a:t>
            </a:fld>
            <a:endParaRPr lang="en-US"/>
          </a:p>
        </p:txBody>
      </p:sp>
    </p:spTree>
    <p:extLst>
      <p:ext uri="{BB962C8B-B14F-4D97-AF65-F5344CB8AC3E}">
        <p14:creationId xmlns:p14="http://schemas.microsoft.com/office/powerpoint/2010/main" val="1792130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705">
              <a:lnSpc>
                <a:spcPct val="100000"/>
              </a:lnSpc>
              <a:spcAft>
                <a:spcPts val="0"/>
              </a:spcAft>
              <a:defRPr/>
            </a:pPr>
            <a:endParaRPr lang="en-US" sz="1200" dirty="0">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defTabSz="905591">
              <a:defRPr/>
            </a:pPr>
            <a:fld id="{D4F38C9A-47B1-4C1B-BC8F-E2D495F6A1C9}" type="slidenum">
              <a:rPr lang="en-US" sz="1200">
                <a:solidFill>
                  <a:prstClr val="black"/>
                </a:solidFill>
                <a:latin typeface="Calibri" panose="020F0502020204030204"/>
              </a:rPr>
              <a:pPr defTabSz="905591">
                <a:defRPr/>
              </a:pPr>
              <a:t>41</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5919968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2</a:t>
            </a:fld>
            <a:endParaRPr lang="en-US"/>
          </a:p>
        </p:txBody>
      </p:sp>
    </p:spTree>
    <p:extLst>
      <p:ext uri="{BB962C8B-B14F-4D97-AF65-F5344CB8AC3E}">
        <p14:creationId xmlns:p14="http://schemas.microsoft.com/office/powerpoint/2010/main" val="3011676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a:solidFill>
                  <a:schemeClr val="bg1"/>
                </a:solidFill>
              </a:rPr>
              <a:t>Power Automate is powered by the Microsoft Common Data Service. The </a:t>
            </a:r>
            <a:r>
              <a:rPr lang="en-US" sz="1200" b="0" i="0" u="none" strike="noStrike" kern="1200">
                <a:solidFill>
                  <a:schemeClr val="bg1"/>
                </a:solidFill>
                <a:effectLst/>
                <a:latin typeface="Segoe UI Light" pitchFamily="34" charset="0"/>
                <a:ea typeface="+mn-ea"/>
                <a:cs typeface="+mn-cs"/>
              </a:rPr>
              <a:t>Common Data Service lets you securely store and manage data that's used by business applications. Data within Common Data Service is stored within a set of entities. An </a:t>
            </a:r>
            <a:r>
              <a:rPr lang="en-US" sz="1200" b="0" i="1" u="none" strike="noStrike" kern="1200">
                <a:solidFill>
                  <a:schemeClr val="bg1"/>
                </a:solidFill>
                <a:effectLst/>
                <a:latin typeface="Segoe UI Light" pitchFamily="34" charset="0"/>
                <a:ea typeface="+mn-ea"/>
                <a:cs typeface="+mn-cs"/>
              </a:rPr>
              <a:t>entity</a:t>
            </a:r>
            <a:r>
              <a:rPr lang="en-US" sz="1200" b="0" i="0" u="none" strike="noStrike" kern="1200">
                <a:solidFill>
                  <a:schemeClr val="bg1"/>
                </a:solidFill>
                <a:effectLst/>
                <a:latin typeface="Segoe UI Light" pitchFamily="34" charset="0"/>
                <a:ea typeface="+mn-ea"/>
                <a:cs typeface="+mn-cs"/>
              </a:rPr>
              <a:t> is a set of records used to store data, similar to how a table stores data within a database. Common Data Service includes a base set of standard entities that cover typical scenarios, but you can also create custom entities specific to your organization and populate them with data using Power Query. </a:t>
            </a:r>
          </a:p>
          <a:p>
            <a:pPr>
              <a:lnSpc>
                <a:spcPct val="100000"/>
              </a:lnSpc>
            </a:pPr>
            <a:endParaRPr lang="en-US" sz="1200" b="0" i="0" u="none" strike="noStrike" kern="1200">
              <a:solidFill>
                <a:schemeClr val="bg1"/>
              </a:solidFill>
              <a:effectLst/>
              <a:latin typeface="Segoe UI Light" pitchFamily="34" charset="0"/>
              <a:ea typeface="+mn-ea"/>
              <a:cs typeface="+mn-cs"/>
            </a:endParaRPr>
          </a:p>
          <a:p>
            <a:pPr>
              <a:lnSpc>
                <a:spcPct val="100000"/>
              </a:lnSpc>
            </a:pPr>
            <a:r>
              <a:rPr lang="en-US" sz="1200" b="0" i="0" u="none" strike="noStrike" kern="1200">
                <a:solidFill>
                  <a:schemeClr val="bg1"/>
                </a:solidFill>
                <a:effectLst/>
                <a:latin typeface="Segoe UI Light" pitchFamily="34" charset="0"/>
                <a:ea typeface="+mn-ea"/>
                <a:cs typeface="+mn-cs"/>
              </a:rPr>
              <a:t>As you can see, the Common Data Service is a foundational element of the Power Platform which includes Power Automate. </a:t>
            </a:r>
            <a:endParaRPr lang="en-US">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1782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134937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2.1</a:t>
            </a:r>
          </a:p>
        </p:txBody>
      </p:sp>
      <p:sp>
        <p:nvSpPr>
          <p:cNvPr id="4" name="Slide Number Placeholder 3"/>
          <p:cNvSpPr>
            <a:spLocks noGrp="1"/>
          </p:cNvSpPr>
          <p:nvPr>
            <p:ph type="sldNum" sz="quarter" idx="5"/>
          </p:nvPr>
        </p:nvSpPr>
        <p:spPr/>
        <p:txBody>
          <a:bodyPr/>
          <a:lstStyle/>
          <a:p>
            <a:fld id="{3FD91FA7-5397-4E07-AD33-DA0D8B77A82B}" type="slidenum">
              <a:rPr lang="en-US" smtClean="0"/>
              <a:t>45</a:t>
            </a:fld>
            <a:endParaRPr lang="en-US"/>
          </a:p>
        </p:txBody>
      </p:sp>
    </p:spTree>
    <p:extLst>
      <p:ext uri="{BB962C8B-B14F-4D97-AF65-F5344CB8AC3E}">
        <p14:creationId xmlns:p14="http://schemas.microsoft.com/office/powerpoint/2010/main" val="20013506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46</a:t>
            </a:fld>
            <a:endParaRPr lang="en-US" sz="1200">
              <a:solidFill>
                <a:prstClr val="black"/>
              </a:solidFill>
            </a:endParaRPr>
          </a:p>
        </p:txBody>
      </p:sp>
    </p:spTree>
    <p:extLst>
      <p:ext uri="{BB962C8B-B14F-4D97-AF65-F5344CB8AC3E}">
        <p14:creationId xmlns:p14="http://schemas.microsoft.com/office/powerpoint/2010/main" val="3000091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endParaRPr lang="en-US" sz="90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7980687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47</a:t>
            </a:fld>
            <a:endParaRPr lang="en-US"/>
          </a:p>
        </p:txBody>
      </p:sp>
    </p:spTree>
    <p:extLst>
      <p:ext uri="{BB962C8B-B14F-4D97-AF65-F5344CB8AC3E}">
        <p14:creationId xmlns:p14="http://schemas.microsoft.com/office/powerpoint/2010/main" val="14537686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panose="020B0502040204020203" pitchFamily="34" charset="0"/>
                <a:ea typeface="+mn-ea"/>
                <a:cs typeface="+mn-cs"/>
              </a:rPr>
              <a:t>You can enable user authentication directly within a Power Virtual Agents bot conversation. This means you can prompt a user to sign in using single sign-on, retrieve a user token for that user, and then use that token to retrieve the user's information from a back-end system.</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7506776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panose="020B0502040204020203" pitchFamily="34" charset="0"/>
                <a:ea typeface="+mn-ea"/>
                <a:cs typeface="+mn-cs"/>
              </a:rPr>
              <a:t>You can configure a Power Virtual Agents bot to provide authentication capabilities, so users can sign in with any </a:t>
            </a:r>
            <a:r>
              <a:rPr lang="en-US" sz="882" b="0" i="0" u="sng" strike="noStrike" kern="1200">
                <a:solidFill>
                  <a:schemeClr val="tx1"/>
                </a:solidFill>
                <a:effectLst/>
                <a:latin typeface="Segoe UI" panose="020B0502040204020203" pitchFamily="34" charset="0"/>
                <a:ea typeface="+mn-ea"/>
                <a:cs typeface="+mn-cs"/>
                <a:hlinkClick r:id="rId3"/>
              </a:rPr>
              <a:t>OAuth2 identity provider</a:t>
            </a:r>
            <a:r>
              <a:rPr lang="en-US" sz="882" b="0" i="0" u="none" strike="noStrike" kern="1200">
                <a:solidFill>
                  <a:schemeClr val="tx1"/>
                </a:solidFill>
                <a:effectLst/>
                <a:latin typeface="Segoe UI" panose="020B0502040204020203" pitchFamily="34" charset="0"/>
                <a:ea typeface="+mn-ea"/>
                <a:cs typeface="+mn-cs"/>
              </a:rPr>
              <a:t>, such as Azure Active Directory (Azure AD), a Microsoft account, and Facebook.</a:t>
            </a:r>
          </a:p>
          <a:p>
            <a:endParaRPr lang="en-US" sz="882" b="0" i="0" u="none" strike="noStrike" kern="1200">
              <a:solidFill>
                <a:schemeClr val="tx1"/>
              </a:solidFill>
              <a:effectLst/>
              <a:latin typeface="Segoe UI" panose="020B0502040204020203" pitchFamily="34" charset="0"/>
              <a:ea typeface="+mn-ea"/>
              <a:cs typeface="+mn-cs"/>
            </a:endParaRPr>
          </a:p>
          <a:p>
            <a:r>
              <a:rPr lang="en-US" sz="882" b="0" i="0" u="none" strike="noStrike" kern="1200">
                <a:solidFill>
                  <a:schemeClr val="tx1"/>
                </a:solidFill>
                <a:effectLst/>
                <a:latin typeface="Segoe UI" panose="020B0502040204020203" pitchFamily="34" charset="0"/>
                <a:ea typeface="+mn-ea"/>
                <a:cs typeface="+mn-cs"/>
              </a:rPr>
              <a:t>Power Virtual Agents supports any identity provider that is compliant with the </a:t>
            </a:r>
            <a:r>
              <a:rPr lang="en-US" sz="882" b="0" i="0" u="sng" strike="noStrike" kern="1200">
                <a:solidFill>
                  <a:schemeClr val="tx1"/>
                </a:solidFill>
                <a:effectLst/>
                <a:latin typeface="Segoe UI" panose="020B0502040204020203" pitchFamily="34" charset="0"/>
                <a:ea typeface="+mn-ea"/>
                <a:cs typeface="+mn-cs"/>
                <a:hlinkClick r:id="rId3"/>
              </a:rPr>
              <a:t>OAuth2 standard</a:t>
            </a:r>
            <a:r>
              <a:rPr lang="en-US" sz="882" b="0" i="0" u="none" strike="noStrike" kern="1200">
                <a:solidFill>
                  <a:schemeClr val="tx1"/>
                </a:solidFill>
                <a:effectLst/>
                <a:latin typeface="Segoe UI" panose="020B0502040204020203" pitchFamily="34" charset="0"/>
                <a:ea typeface="+mn-ea"/>
                <a:cs typeface="+mn-cs"/>
              </a:rPr>
              <a: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8585305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0</a:t>
            </a:fld>
            <a:endParaRPr lang="en-US" sz="1200">
              <a:solidFill>
                <a:prstClr val="black"/>
              </a:solidFill>
            </a:endParaRPr>
          </a:p>
        </p:txBody>
      </p:sp>
    </p:spTree>
    <p:extLst>
      <p:ext uri="{BB962C8B-B14F-4D97-AF65-F5344CB8AC3E}">
        <p14:creationId xmlns:p14="http://schemas.microsoft.com/office/powerpoint/2010/main" val="28338004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51</a:t>
            </a:fld>
            <a:endParaRPr lang="en-US"/>
          </a:p>
        </p:txBody>
      </p:sp>
    </p:spTree>
    <p:extLst>
      <p:ext uri="{BB962C8B-B14F-4D97-AF65-F5344CB8AC3E}">
        <p14:creationId xmlns:p14="http://schemas.microsoft.com/office/powerpoint/2010/main" val="7316039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Overview: </a:t>
            </a:r>
            <a:r>
              <a:rPr lang="en-US" sz="900" b="0" i="0" kern="1200" dirty="0">
                <a:solidFill>
                  <a:schemeClr val="tx1"/>
                </a:solidFill>
                <a:effectLst/>
                <a:latin typeface="Segoe UI Light" pitchFamily="34" charset="0"/>
                <a:ea typeface="+mn-ea"/>
                <a:cs typeface="+mn-cs"/>
              </a:rPr>
              <a:t>When a bot can’t handle the user’s requests or the user asks to talk to an agent at any point in the conversation, it’s important to gracefully bring in a human. In Power Virtual Agents, we are providing managers with the ability to configure and connect to multiple live chat engagement hubs.</a:t>
            </a:r>
          </a:p>
          <a:p>
            <a:endParaRPr lang="en-US" sz="900" b="1" i="0" kern="1200" dirty="0">
              <a:solidFill>
                <a:schemeClr val="tx1"/>
              </a:solidFill>
              <a:effectLst/>
              <a:latin typeface="Segoe UI Light" pitchFamily="34" charset="0"/>
              <a:ea typeface="+mn-ea"/>
              <a:cs typeface="+mn-cs"/>
            </a:endParaRPr>
          </a:p>
          <a:p>
            <a:pPr defTabSz="914367">
              <a:defRPr/>
            </a:pPr>
            <a:endParaRPr lang="en-US" sz="1200" b="1" spc="0" dirty="0">
              <a:gradFill>
                <a:gsLst>
                  <a:gs pos="83000">
                    <a:srgbClr val="008272"/>
                  </a:gs>
                  <a:gs pos="100000">
                    <a:srgbClr val="008272"/>
                  </a:gs>
                </a:gsLst>
                <a:lin ang="5400000" scaled="1"/>
              </a:gradFill>
              <a:latin typeface="Segoe UI"/>
            </a:endParaRP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11632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 </a:t>
            </a:r>
            <a:r>
              <a:rPr lang="en-US" sz="1200" b="1" kern="1200" dirty="0">
                <a:solidFill>
                  <a:schemeClr val="tx1"/>
                </a:solidFill>
                <a:latin typeface="Segoe UI Light" pitchFamily="34" charset="0"/>
                <a:ea typeface="+mn-ea"/>
                <a:cs typeface="+mn-cs"/>
              </a:rPr>
              <a:t>Hand-off to generic live-chat provider: </a:t>
            </a:r>
            <a:r>
              <a:rPr lang="en-US" sz="900" b="0" i="0" kern="1200" dirty="0">
                <a:solidFill>
                  <a:schemeClr val="tx1"/>
                </a:solidFill>
                <a:effectLst/>
                <a:latin typeface="Segoe UI Light" pitchFamily="34" charset="0"/>
                <a:ea typeface="+mn-ea"/>
                <a:cs typeface="+mn-cs"/>
              </a:rPr>
              <a:t> IT admins can configure a hand-off from Virtual Agent to other live chat engagement hubs using an interface and sample code.</a:t>
            </a: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defRPr/>
            </a:pPr>
            <a:r>
              <a:rPr lang="en-US" sz="900" b="1" spc="0" dirty="0">
                <a:gradFill>
                  <a:gsLst>
                    <a:gs pos="83000">
                      <a:srgbClr val="008272"/>
                    </a:gs>
                    <a:gs pos="100000">
                      <a:srgbClr val="008272"/>
                    </a:gs>
                  </a:gsLst>
                  <a:lin ang="5400000" scaled="1"/>
                </a:gradFill>
                <a:latin typeface="Segoe UI"/>
              </a:rPr>
              <a:t>Hand-off to Dynamics 365 Omnichannel for Customer Service</a:t>
            </a:r>
            <a:endParaRPr lang="en-US" sz="900" b="1" spc="0" dirty="0">
              <a:gradFill>
                <a:gsLst>
                  <a:gs pos="83000">
                    <a:srgbClr val="008272"/>
                  </a:gs>
                  <a:gs pos="100000">
                    <a:srgbClr val="008272"/>
                  </a:gs>
                </a:gsLst>
                <a:lin ang="5400000" scaled="1"/>
              </a:gradFill>
              <a:latin typeface="Segoe UI"/>
              <a:cs typeface="Segoe UI"/>
            </a:endParaRPr>
          </a:p>
          <a:p>
            <a:pPr defTabSz="914367">
              <a:spcAft>
                <a:spcPts val="588"/>
              </a:spcAft>
              <a:defRPr/>
            </a:pPr>
            <a:r>
              <a:rPr lang="en-US" sz="900" spc="0" dirty="0">
                <a:gradFill>
                  <a:gsLst>
                    <a:gs pos="83000">
                      <a:srgbClr val="3C3C41"/>
                    </a:gs>
                    <a:gs pos="100000">
                      <a:srgbClr val="3C3C41"/>
                    </a:gs>
                  </a:gsLst>
                  <a:lin ang="5400000" scaled="1"/>
                </a:gradFill>
                <a:latin typeface="Segoe UI"/>
                <a:cs typeface="Segoe UI"/>
              </a:rPr>
              <a:t>Out of the box, PVA comes configured to work with Dynamics 365 Omnichannel for Customer Service. When the bot can’t help, it pulls in a human agent automatically.</a:t>
            </a:r>
          </a:p>
          <a:p>
            <a:endParaRPr lang="en-US" dirty="0"/>
          </a:p>
        </p:txBody>
      </p:sp>
      <p:sp>
        <p:nvSpPr>
          <p:cNvPr id="4" name="Slide Number Placeholder 3"/>
          <p:cNvSpPr>
            <a:spLocks noGrp="1"/>
          </p:cNvSpPr>
          <p:nvPr>
            <p:ph type="sldNum" sz="quarter" idx="5"/>
          </p:nvPr>
        </p:nvSpPr>
        <p:spPr/>
        <p:txBody>
          <a:bodyPr/>
          <a:lstStyle/>
          <a:p>
            <a:fld id="{87FF8F31-B24A-4260-A058-0B15D001F161}" type="slidenum">
              <a:rPr lang="en-US" smtClean="0"/>
              <a:t>54</a:t>
            </a:fld>
            <a:endParaRPr lang="en-US"/>
          </a:p>
        </p:txBody>
      </p:sp>
    </p:spTree>
    <p:extLst>
      <p:ext uri="{BB962C8B-B14F-4D97-AF65-F5344CB8AC3E}">
        <p14:creationId xmlns:p14="http://schemas.microsoft.com/office/powerpoint/2010/main" val="26254147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56</a:t>
            </a:fld>
            <a:endParaRPr lang="en-US"/>
          </a:p>
        </p:txBody>
      </p:sp>
    </p:spTree>
    <p:extLst>
      <p:ext uri="{BB962C8B-B14F-4D97-AF65-F5344CB8AC3E}">
        <p14:creationId xmlns:p14="http://schemas.microsoft.com/office/powerpoint/2010/main" val="1211789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52149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40212129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49">
                <a:solidFill>
                  <a:schemeClr val="tx2"/>
                </a:solidFill>
              </a:rPr>
              <a:t>You may also need some topics that are just there to take ambiguous user questions (“I need help” or “shopping”) and ask for clarification so you can then route the user to the correct topic.</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5111293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4"/>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defTabSz="906532">
              <a:defRPr/>
            </a:pPr>
            <a:fld id="{B4008EB6-D09E-4580-8CD6-DDB14511944F}" type="slidenum">
              <a:rPr lang="en-US" sz="1200">
                <a:solidFill>
                  <a:prstClr val="black"/>
                </a:solidFill>
              </a:rPr>
              <a:pPr defTabSz="906532">
                <a:defRPr/>
              </a:pPr>
              <a:t>59</a:t>
            </a:fld>
            <a:endParaRPr lang="en-US" sz="1200">
              <a:solidFill>
                <a:prstClr val="black"/>
              </a:solidFill>
            </a:endParaRPr>
          </a:p>
        </p:txBody>
      </p:sp>
    </p:spTree>
    <p:extLst>
      <p:ext uri="{BB962C8B-B14F-4D97-AF65-F5344CB8AC3E}">
        <p14:creationId xmlns:p14="http://schemas.microsoft.com/office/powerpoint/2010/main" val="39809066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26031347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62</a:t>
            </a:fld>
            <a:endParaRPr lang="en-US"/>
          </a:p>
        </p:txBody>
      </p:sp>
    </p:spTree>
    <p:extLst>
      <p:ext uri="{BB962C8B-B14F-4D97-AF65-F5344CB8AC3E}">
        <p14:creationId xmlns:p14="http://schemas.microsoft.com/office/powerpoint/2010/main" val="20838209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3502234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Light"/>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15845724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A109A0B-7C3E-4520-86B7-BFC7A8495F31}" type="slidenum">
              <a:rPr lang="en-US" smtClean="0"/>
              <a:t>65</a:t>
            </a:fld>
            <a:endParaRPr lang="en-US"/>
          </a:p>
        </p:txBody>
      </p:sp>
    </p:spTree>
    <p:extLst>
      <p:ext uri="{BB962C8B-B14F-4D97-AF65-F5344CB8AC3E}">
        <p14:creationId xmlns:p14="http://schemas.microsoft.com/office/powerpoint/2010/main" val="22246085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2642938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08903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33232708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7666554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85</a:t>
            </a:fld>
            <a:endParaRPr lang="en-US"/>
          </a:p>
        </p:txBody>
      </p:sp>
    </p:spTree>
    <p:extLst>
      <p:ext uri="{BB962C8B-B14F-4D97-AF65-F5344CB8AC3E}">
        <p14:creationId xmlns:p14="http://schemas.microsoft.com/office/powerpoint/2010/main" val="26484253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87</a:t>
            </a:fld>
            <a:endParaRPr lang="en-US"/>
          </a:p>
        </p:txBody>
      </p:sp>
    </p:spTree>
    <p:extLst>
      <p:ext uri="{BB962C8B-B14F-4D97-AF65-F5344CB8AC3E}">
        <p14:creationId xmlns:p14="http://schemas.microsoft.com/office/powerpoint/2010/main" val="15963529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88</a:t>
            </a:fld>
            <a:endParaRPr lang="en-US"/>
          </a:p>
        </p:txBody>
      </p:sp>
    </p:spTree>
    <p:extLst>
      <p:ext uri="{BB962C8B-B14F-4D97-AF65-F5344CB8AC3E}">
        <p14:creationId xmlns:p14="http://schemas.microsoft.com/office/powerpoint/2010/main" val="12125793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89</a:t>
            </a:fld>
            <a:endParaRPr lang="en-US"/>
          </a:p>
        </p:txBody>
      </p:sp>
    </p:spTree>
    <p:extLst>
      <p:ext uri="{BB962C8B-B14F-4D97-AF65-F5344CB8AC3E}">
        <p14:creationId xmlns:p14="http://schemas.microsoft.com/office/powerpoint/2010/main" val="23371133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0</a:t>
            </a:fld>
            <a:endParaRPr lang="en-US"/>
          </a:p>
        </p:txBody>
      </p:sp>
    </p:spTree>
    <p:extLst>
      <p:ext uri="{BB962C8B-B14F-4D97-AF65-F5344CB8AC3E}">
        <p14:creationId xmlns:p14="http://schemas.microsoft.com/office/powerpoint/2010/main" val="18898870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1</a:t>
            </a:fld>
            <a:endParaRPr lang="en-US"/>
          </a:p>
        </p:txBody>
      </p:sp>
    </p:spTree>
    <p:extLst>
      <p:ext uri="{BB962C8B-B14F-4D97-AF65-F5344CB8AC3E}">
        <p14:creationId xmlns:p14="http://schemas.microsoft.com/office/powerpoint/2010/main" val="15964277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2</a:t>
            </a:fld>
            <a:endParaRPr lang="en-US"/>
          </a:p>
        </p:txBody>
      </p:sp>
    </p:spTree>
    <p:extLst>
      <p:ext uri="{BB962C8B-B14F-4D97-AF65-F5344CB8AC3E}">
        <p14:creationId xmlns:p14="http://schemas.microsoft.com/office/powerpoint/2010/main" val="3787225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4214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3</a:t>
            </a:fld>
            <a:endParaRPr lang="en-US"/>
          </a:p>
        </p:txBody>
      </p:sp>
    </p:spTree>
    <p:extLst>
      <p:ext uri="{BB962C8B-B14F-4D97-AF65-F5344CB8AC3E}">
        <p14:creationId xmlns:p14="http://schemas.microsoft.com/office/powerpoint/2010/main" val="10964113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4</a:t>
            </a:fld>
            <a:endParaRPr lang="en-US"/>
          </a:p>
        </p:txBody>
      </p:sp>
    </p:spTree>
    <p:extLst>
      <p:ext uri="{BB962C8B-B14F-4D97-AF65-F5344CB8AC3E}">
        <p14:creationId xmlns:p14="http://schemas.microsoft.com/office/powerpoint/2010/main" val="16947478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5</a:t>
            </a:fld>
            <a:endParaRPr lang="en-US"/>
          </a:p>
        </p:txBody>
      </p:sp>
    </p:spTree>
    <p:extLst>
      <p:ext uri="{BB962C8B-B14F-4D97-AF65-F5344CB8AC3E}">
        <p14:creationId xmlns:p14="http://schemas.microsoft.com/office/powerpoint/2010/main" val="15263165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12151407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6046026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You need an ID that looks like this: </a:t>
            </a:r>
            <a:r>
              <a:rPr lang="en-US" sz="900">
                <a:latin typeface="Segoe UI Light" pitchFamily="34" charset="0"/>
                <a:hlinkClick r:id="rId3"/>
              </a:rPr>
              <a:t>someone@example.com</a:t>
            </a:r>
            <a:endParaRPr lang="en-US" sz="900">
              <a:latin typeface="Segoe UI Light"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81199526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Ready to buy? Contact u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21905014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a:t>Create a chart that's just right for your data by using the Recommend Charts command on the Insert tab</a:t>
            </a:r>
            <a:r>
              <a:rPr lang="en-US" kern="1200">
                <a:effectLst/>
              </a:rPr>
              <a: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55618689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a:t>Save time by creating a document template that includes the styles, formats, and page layouts you use most often. Then use the template whenever you create a new document</a:t>
            </a:r>
            <a:r>
              <a:rPr lang="en-US" kern="1200">
                <a:effectLst/>
              </a:rPr>
              <a: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25924981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800">
                <a:latin typeface="Segoe UI"/>
                <a:cs typeface="Segoe UI"/>
              </a:rPr>
              <a:t>To help you avoid traffic, remember anniversaries, and in general do more, Cortana needs to know what you’re interested in, what’s on your calendar, and who you’re doing things with.</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2001355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9328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8287E96-0B21-454B-B488-458258EAA913}" type="slidenum">
              <a:rPr lang="en-US" smtClean="0"/>
              <a:t>104</a:t>
            </a:fld>
            <a:endParaRPr lang="en-US"/>
          </a:p>
        </p:txBody>
      </p:sp>
    </p:spTree>
    <p:extLst>
      <p:ext uri="{BB962C8B-B14F-4D97-AF65-F5344CB8AC3E}">
        <p14:creationId xmlns:p14="http://schemas.microsoft.com/office/powerpoint/2010/main" val="42122393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r>
              <a:rPr lang="en-US" sz="900" b="1" spc="0" dirty="0">
                <a:gradFill>
                  <a:gsLst>
                    <a:gs pos="83000">
                      <a:srgbClr val="008272"/>
                    </a:gs>
                    <a:gs pos="100000">
                      <a:srgbClr val="008272"/>
                    </a:gs>
                  </a:gsLst>
                  <a:lin ang="5400000" scaled="1"/>
                </a:gradFill>
                <a:latin typeface="Segoe UI"/>
              </a:rPr>
              <a:t>Easily see what’s working and what to improve</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Analyze bot/customer conversations to better understand how specific topics are performing, what’s impacting your CSAT, and identify where there is room for improvement</a:t>
            </a:r>
          </a:p>
          <a:p>
            <a:pPr defTabSz="932007" fontAlgn="base">
              <a:spcAft>
                <a:spcPts val="588"/>
              </a:spcAft>
              <a:buSzTx/>
            </a:pPr>
            <a:endParaRPr lang="en-US" sz="900" spc="0" dirty="0">
              <a:gradFill>
                <a:gsLst>
                  <a:gs pos="83000">
                    <a:srgbClr val="3C3C41"/>
                  </a:gs>
                  <a:gs pos="100000">
                    <a:srgbClr val="3C3C41"/>
                  </a:gs>
                </a:gsLst>
                <a:lin ang="5400000" scaled="1"/>
              </a:gradFill>
              <a:latin typeface="Segoe UI"/>
              <a:cs typeface="Segoe UI"/>
            </a:endParaRPr>
          </a:p>
          <a:p>
            <a:pPr defTabSz="914192"/>
            <a:r>
              <a:rPr lang="en-US" sz="900" b="1" spc="0" dirty="0">
                <a:gradFill>
                  <a:gsLst>
                    <a:gs pos="83000">
                      <a:srgbClr val="008272"/>
                    </a:gs>
                    <a:gs pos="100000">
                      <a:srgbClr val="008272"/>
                    </a:gs>
                  </a:gsLst>
                  <a:lin ang="5400000" scaled="1"/>
                </a:gradFill>
                <a:latin typeface="Segoe UI"/>
              </a:rPr>
              <a:t>Quickly figure out what to build next</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Easily see which conversations are going to human agents and determine which topics to teach your bot next </a:t>
            </a:r>
          </a:p>
          <a:p>
            <a:endParaRPr lang="en-US" sz="900" b="1"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53590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5/1 the abandon rate was 24.1%, on 5/2 it increased to 32.8%. At this point, find out the high abandon rate topic(s) and fix them.</a:t>
            </a:r>
          </a:p>
        </p:txBody>
      </p:sp>
      <p:sp>
        <p:nvSpPr>
          <p:cNvPr id="4" name="Header Placeholder 3"/>
          <p:cNvSpPr>
            <a:spLocks noGrp="1"/>
          </p:cNvSpPr>
          <p:nvPr>
            <p:ph type="hdr" sz="quarter"/>
          </p:nvPr>
        </p:nvSpPr>
        <p:spPr/>
        <p:txBody>
          <a:bodyPr/>
          <a:lstStyle/>
          <a:p>
            <a:pPr defTabSz="888624">
              <a:defRPr/>
            </a:pPr>
            <a:endParaRPr lang="en-US">
              <a:solidFill>
                <a:prstClr val="black"/>
              </a:solidFill>
            </a:endParaRPr>
          </a:p>
        </p:txBody>
      </p:sp>
      <p:sp>
        <p:nvSpPr>
          <p:cNvPr id="5" name="Footer Placeholder 4"/>
          <p:cNvSpPr>
            <a:spLocks noGrp="1"/>
          </p:cNvSpPr>
          <p:nvPr>
            <p:ph type="ftr" sz="quarter" idx="4"/>
          </p:nvPr>
        </p:nvSpPr>
        <p:spPr/>
        <p:txBody>
          <a:bodyPr/>
          <a:lstStyle/>
          <a:p>
            <a:pPr marL="966948" defTabSz="1546607"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888624">
              <a:defRPr/>
            </a:pPr>
            <a:fld id="{2313FE83-3944-4DC3-B313-3CE3383DAC0D}" type="datetime8">
              <a:rPr lang="en-US">
                <a:solidFill>
                  <a:prstClr val="black"/>
                </a:solidFill>
              </a:rPr>
              <a:pPr defTabSz="888624">
                <a:defRPr/>
              </a:pPr>
              <a:t>3/27/2020 7:18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888624">
              <a:defRPr/>
            </a:pPr>
            <a:fld id="{B4008EB6-D09E-4580-8CD6-DDB14511944F}" type="slidenum">
              <a:rPr lang="en-US">
                <a:solidFill>
                  <a:prstClr val="black"/>
                </a:solidFill>
              </a:rPr>
              <a:pPr defTabSz="888624">
                <a:defRPr/>
              </a:pPr>
              <a:t>107</a:t>
            </a:fld>
            <a:endParaRPr lang="en-US">
              <a:solidFill>
                <a:prstClr val="black"/>
              </a:solidFill>
            </a:endParaRPr>
          </a:p>
        </p:txBody>
      </p:sp>
    </p:spTree>
    <p:extLst>
      <p:ext uri="{BB962C8B-B14F-4D97-AF65-F5344CB8AC3E}">
        <p14:creationId xmlns:p14="http://schemas.microsoft.com/office/powerpoint/2010/main" val="281912845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386381030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4</a:t>
            </a:fld>
            <a:endParaRPr lang="en-US"/>
          </a:p>
        </p:txBody>
      </p:sp>
    </p:spTree>
    <p:extLst>
      <p:ext uri="{BB962C8B-B14F-4D97-AF65-F5344CB8AC3E}">
        <p14:creationId xmlns:p14="http://schemas.microsoft.com/office/powerpoint/2010/main" val="37595668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5</a:t>
            </a:fld>
            <a:endParaRPr lang="en-US"/>
          </a:p>
        </p:txBody>
      </p:sp>
    </p:spTree>
    <p:extLst>
      <p:ext uri="{BB962C8B-B14F-4D97-AF65-F5344CB8AC3E}">
        <p14:creationId xmlns:p14="http://schemas.microsoft.com/office/powerpoint/2010/main" val="345625163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B78A513-0154-441F-A635-121BE27D692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046951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7: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79319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69AE4557-7C2C-4FD8-AC66-B61402499326}" type="datetime8">
              <a:rPr lang="en-US" smtClean="0">
                <a:solidFill>
                  <a:prstClr val="black"/>
                </a:solidFill>
              </a:rPr>
              <a:t>3/27/2020 7:18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22</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3/27/2020 7: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065135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72998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7231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44200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34234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
        <p:nvSpPr>
          <p:cNvPr id="5" name="Footer Placeholder 1">
            <a:extLst>
              <a:ext uri="{FF2B5EF4-FFF2-40B4-BE49-F238E27FC236}">
                <a16:creationId xmlns:a16="http://schemas.microsoft.com/office/drawing/2014/main" id="{FF278B59-E977-4046-AC31-E50FCA25289E}"/>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2"/>
                </a:solidFill>
              </a:rPr>
              <a:t>© Microsoft Corporation                                                                                  								                      Power Virtual Agents</a:t>
            </a:r>
          </a:p>
        </p:txBody>
      </p:sp>
    </p:spTree>
    <p:extLst>
      <p:ext uri="{BB962C8B-B14F-4D97-AF65-F5344CB8AC3E}">
        <p14:creationId xmlns:p14="http://schemas.microsoft.com/office/powerpoint/2010/main" val="1313202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590972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7094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569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96825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4487067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2"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Power Virtual Agents</a:t>
            </a:r>
          </a:p>
        </p:txBody>
      </p:sp>
    </p:spTree>
    <p:extLst>
      <p:ext uri="{BB962C8B-B14F-4D97-AF65-F5344CB8AC3E}">
        <p14:creationId xmlns:p14="http://schemas.microsoft.com/office/powerpoint/2010/main" val="3143281441"/>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27" r:id="rId3"/>
    <p:sldLayoutId id="2147484729" r:id="rId4"/>
    <p:sldLayoutId id="2147484738" r:id="rId5"/>
    <p:sldLayoutId id="2147484746" r:id="rId6"/>
    <p:sldLayoutId id="2147484750" r:id="rId7"/>
    <p:sldLayoutId id="2147484765" r:id="rId8"/>
    <p:sldLayoutId id="2147484766" r:id="rId9"/>
    <p:sldLayoutId id="2147484767" r:id="rId10"/>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userDrawn="1">
          <p15:clr>
            <a:srgbClr val="F26B43"/>
          </p15:clr>
        </p15:guide>
        <p15:guide id="42" pos="7397" userDrawn="1">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11.png"/><Relationship Id="rId4" Type="http://schemas.openxmlformats.org/officeDocument/2006/relationships/image" Target="../media/image10.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8" Type="http://schemas.openxmlformats.org/officeDocument/2006/relationships/hyperlink" Target="https://docs.microsoft.com/en-us/power-virtual-agents/analytics-summary#abandon-rate-drivers-chart" TargetMode="External"/><Relationship Id="rId3" Type="http://schemas.openxmlformats.org/officeDocument/2006/relationships/hyperlink" Target="https://docs.microsoft.com/en-us/power-virtual-agents/analytics-summary" TargetMode="External"/><Relationship Id="rId7" Type="http://schemas.openxmlformats.org/officeDocument/2006/relationships/hyperlink" Target="https://docs.microsoft.com/en-us/power-virtual-agents/analytics-summary#escalation-rate-drivers-chart" TargetMode="External"/><Relationship Id="rId2" Type="http://schemas.openxmlformats.org/officeDocument/2006/relationships/notesSlide" Target="../notesSlides/notesSlide81.xml"/><Relationship Id="rId1" Type="http://schemas.openxmlformats.org/officeDocument/2006/relationships/slideLayout" Target="../slideLayouts/slideLayout9.xml"/><Relationship Id="rId6" Type="http://schemas.openxmlformats.org/officeDocument/2006/relationships/hyperlink" Target="https://docs.microsoft.com/en-us/power-virtual-agents/analytics-summary#resolution-rate-drivers-chart" TargetMode="External"/><Relationship Id="rId5" Type="http://schemas.openxmlformats.org/officeDocument/2006/relationships/hyperlink" Target="https://docs.microsoft.com/en-us/power-virtual-agents/analytics-summary#session-outcomes-over-time-chart" TargetMode="External"/><Relationship Id="rId4" Type="http://schemas.openxmlformats.org/officeDocument/2006/relationships/hyperlink" Target="https://docs.microsoft.com/en-us/power-virtual-agents/analytics-summary#engagement-over-time-chart" TargetMode="External"/><Relationship Id="rId9" Type="http://schemas.openxmlformats.org/officeDocument/2006/relationships/image" Target="../media/image18.png"/></Relationships>
</file>

<file path=ppt/slides/_rels/slide10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64.png"/></Relationships>
</file>

<file path=ppt/slides/_rels/slide10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9.xml.rels><?xml version="1.0" encoding="UTF-8" standalone="yes"?>
<Relationships xmlns="http://schemas.openxmlformats.org/package/2006/relationships"><Relationship Id="rId3" Type="http://schemas.openxmlformats.org/officeDocument/2006/relationships/hyperlink" Target="https://docs.microsoft.com/power-virtual-agents" TargetMode="External"/><Relationship Id="rId2" Type="http://schemas.openxmlformats.org/officeDocument/2006/relationships/notesSlide" Target="../notesSlides/notesSlide87.xml"/><Relationship Id="rId1" Type="http://schemas.openxmlformats.org/officeDocument/2006/relationships/slideLayout" Target="../slideLayouts/slideLayout9.xml"/><Relationship Id="rId6" Type="http://schemas.openxmlformats.org/officeDocument/2006/relationships/hyperlink" Target="https://powervirtualagents.microsoft.com/" TargetMode="External"/><Relationship Id="rId5" Type="http://schemas.openxmlformats.org/officeDocument/2006/relationships/hyperlink" Target="https://powerusers.microsoft.com/t5/Power-Virtual-Agents-Forum/bd-p/10292019" TargetMode="External"/><Relationship Id="rId4" Type="http://schemas.openxmlformats.org/officeDocument/2006/relationships/hyperlink" Target="https://aka.ms/pva_foru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hyperlink" Target="https://aka.ms/PVAiaDSurvey" TargetMode="External"/><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va.microsoft.com/"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hyperlink" Target="https://docs.microsoft.com/en-us/power-virtual-agents/analytics-summary#abandon-rate-drivers-chart" TargetMode="External"/><Relationship Id="rId3" Type="http://schemas.openxmlformats.org/officeDocument/2006/relationships/hyperlink" Target="https://docs.microsoft.com/en-us/power-virtual-agents/analytics-summary" TargetMode="External"/><Relationship Id="rId7" Type="http://schemas.openxmlformats.org/officeDocument/2006/relationships/hyperlink" Target="https://docs.microsoft.com/en-us/power-virtual-agents/analytics-summary#escalation-rate-drivers-chart" TargetMode="Externa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hyperlink" Target="https://docs.microsoft.com/en-us/power-virtual-agents/analytics-summary#resolution-rate-drivers-chart" TargetMode="External"/><Relationship Id="rId5" Type="http://schemas.openxmlformats.org/officeDocument/2006/relationships/hyperlink" Target="https://docs.microsoft.com/en-us/power-virtual-agents/analytics-summary#session-outcomes-over-time-chart" TargetMode="External"/><Relationship Id="rId4" Type="http://schemas.openxmlformats.org/officeDocument/2006/relationships/hyperlink" Target="https://docs.microsoft.com/en-us/power-virtual-agents/analytics-summary#engagement-over-time-chart" TargetMode="External"/><Relationship Id="rId9" Type="http://schemas.openxmlformats.org/officeDocument/2006/relationships/image" Target="../media/image1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3.xml"/><Relationship Id="rId1" Type="http://schemas.openxmlformats.org/officeDocument/2006/relationships/video" Target="https://www.youtube.com/embed/J5i7h4Uzju4?feature=oembed"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6.xml"/><Relationship Id="rId10" Type="http://schemas.openxmlformats.org/officeDocument/2006/relationships/image" Target="../media/image35.svg"/><Relationship Id="rId4" Type="http://schemas.openxmlformats.org/officeDocument/2006/relationships/slideLayout" Target="../slideLayouts/slideLayout9.xml"/><Relationship Id="rId9" Type="http://schemas.openxmlformats.org/officeDocument/2006/relationships/image" Target="../media/image3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emf"/><Relationship Id="rId7" Type="http://schemas.openxmlformats.org/officeDocument/2006/relationships/image" Target="../media/image43.png"/><Relationship Id="rId2" Type="http://schemas.openxmlformats.org/officeDocument/2006/relationships/notesSlide" Target="../notesSlides/notesSlide47.xml"/><Relationship Id="rId1" Type="http://schemas.openxmlformats.org/officeDocument/2006/relationships/slideLayout" Target="../slideLayouts/slideLayout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chart" Target="../charts/chart3.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57.xml"/><Relationship Id="rId1" Type="http://schemas.openxmlformats.org/officeDocument/2006/relationships/slideLayout" Target="../slideLayouts/slideLayout3.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hyperlink" Target="https://account.live.com/password/reset" TargetMode="External"/><Relationship Id="rId2" Type="http://schemas.openxmlformats.org/officeDocument/2006/relationships/notesSlide" Target="../notesSlides/notesSlide68.xml"/><Relationship Id="rId1" Type="http://schemas.openxmlformats.org/officeDocument/2006/relationships/slideLayout" Target="../slideLayouts/slideLayout3.xml"/><Relationship Id="rId4" Type="http://schemas.openxmlformats.org/officeDocument/2006/relationships/hyperlink" Target="https://acount.live.com/password/reset"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hyperlink" Target="http://www.hemingwayapp.com/" TargetMode="External"/><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61.emf"/></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a:xfrm>
            <a:off x="443497" y="3195652"/>
            <a:ext cx="9630389" cy="1793104"/>
          </a:xfrm>
        </p:spPr>
        <p:txBody>
          <a:bodyPr anchor="t"/>
          <a:lstStyle/>
          <a:p>
            <a:r>
              <a:rPr lang="en-US" sz="4700" dirty="0">
                <a:cs typeface="Segoe UI"/>
              </a:rPr>
              <a:t>Power Virtual Agents in a Day </a:t>
            </a:r>
            <a:endParaRPr lang="en-US" dirty="0"/>
          </a:p>
        </p:txBody>
      </p:sp>
      <p:sp>
        <p:nvSpPr>
          <p:cNvPr id="6" name="Text Placeholder 5">
            <a:extLst>
              <a:ext uri="{FF2B5EF4-FFF2-40B4-BE49-F238E27FC236}">
                <a16:creationId xmlns:a16="http://schemas.microsoft.com/office/drawing/2014/main" id="{1F82CCB8-E5A3-41D5-B56D-8990E202137D}"/>
              </a:ext>
            </a:extLst>
          </p:cNvPr>
          <p:cNvSpPr>
            <a:spLocks noGrp="1"/>
          </p:cNvSpPr>
          <p:nvPr>
            <p:ph type="body" sz="quarter" idx="16"/>
          </p:nvPr>
        </p:nvSpPr>
        <p:spPr>
          <a:xfrm>
            <a:off x="464841" y="4847661"/>
            <a:ext cx="9609045" cy="456279"/>
          </a:xfrm>
        </p:spPr>
        <p:txBody>
          <a:bodyPr/>
          <a:lstStyle/>
          <a:p>
            <a:r>
              <a:rPr lang="en-US" dirty="0"/>
              <a:t>Speaker Name</a:t>
            </a:r>
          </a:p>
        </p:txBody>
      </p:sp>
    </p:spTree>
    <p:extLst>
      <p:ext uri="{BB962C8B-B14F-4D97-AF65-F5344CB8AC3E}">
        <p14:creationId xmlns:p14="http://schemas.microsoft.com/office/powerpoint/2010/main" val="349443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710CBA-77B4-4B99-91CD-9DB2D8237734}"/>
              </a:ext>
            </a:extLst>
          </p:cNvPr>
          <p:cNvSpPr>
            <a:spLocks noGrp="1"/>
          </p:cNvSpPr>
          <p:nvPr>
            <p:ph type="title"/>
          </p:nvPr>
        </p:nvSpPr>
        <p:spPr/>
        <p:txBody>
          <a:bodyPr/>
          <a:lstStyle/>
          <a:p>
            <a:r>
              <a:rPr lang="en-US"/>
              <a:t>Built on Power Platform &amp; Bot Framework</a:t>
            </a:r>
            <a:endParaRPr lang="en-IN"/>
          </a:p>
        </p:txBody>
      </p:sp>
      <p:grpSp>
        <p:nvGrpSpPr>
          <p:cNvPr id="18" name="Group 17">
            <a:extLst>
              <a:ext uri="{FF2B5EF4-FFF2-40B4-BE49-F238E27FC236}">
                <a16:creationId xmlns:a16="http://schemas.microsoft.com/office/drawing/2014/main" id="{F19D6D94-C6CF-431D-B3AC-64BBD59F3107}"/>
              </a:ext>
            </a:extLst>
          </p:cNvPr>
          <p:cNvGrpSpPr/>
          <p:nvPr/>
        </p:nvGrpSpPr>
        <p:grpSpPr>
          <a:xfrm>
            <a:off x="4255209" y="2067642"/>
            <a:ext cx="5791519" cy="4806044"/>
            <a:chOff x="4255209" y="2067642"/>
            <a:chExt cx="5791519" cy="4806044"/>
          </a:xfrm>
        </p:grpSpPr>
        <p:grpSp>
          <p:nvGrpSpPr>
            <p:cNvPr id="81" name="Group 80">
              <a:extLst>
                <a:ext uri="{FF2B5EF4-FFF2-40B4-BE49-F238E27FC236}">
                  <a16:creationId xmlns:a16="http://schemas.microsoft.com/office/drawing/2014/main" id="{263AB1BB-5832-45BD-8AAC-EE3B5864E626}"/>
                </a:ext>
              </a:extLst>
            </p:cNvPr>
            <p:cNvGrpSpPr/>
            <p:nvPr/>
          </p:nvGrpSpPr>
          <p:grpSpPr>
            <a:xfrm>
              <a:off x="4255209" y="2067642"/>
              <a:ext cx="5791519" cy="4806044"/>
              <a:chOff x="3139122" y="1739901"/>
              <a:chExt cx="5791519" cy="4806044"/>
            </a:xfrm>
          </p:grpSpPr>
          <p:grpSp>
            <p:nvGrpSpPr>
              <p:cNvPr id="8" name="Group 7">
                <a:extLst>
                  <a:ext uri="{FF2B5EF4-FFF2-40B4-BE49-F238E27FC236}">
                    <a16:creationId xmlns:a16="http://schemas.microsoft.com/office/drawing/2014/main" id="{CBAE8786-7FD7-4574-A34C-48992CB62143}"/>
                  </a:ext>
                </a:extLst>
              </p:cNvPr>
              <p:cNvGrpSpPr/>
              <p:nvPr/>
            </p:nvGrpSpPr>
            <p:grpSpPr>
              <a:xfrm>
                <a:off x="3139122" y="1739901"/>
                <a:ext cx="5791519" cy="4806044"/>
                <a:chOff x="163313" y="3520259"/>
                <a:chExt cx="4974744" cy="3025685"/>
              </a:xfrm>
            </p:grpSpPr>
            <p:sp>
              <p:nvSpPr>
                <p:cNvPr id="58" name="Isosceles Triangle 57">
                  <a:extLst>
                    <a:ext uri="{FF2B5EF4-FFF2-40B4-BE49-F238E27FC236}">
                      <a16:creationId xmlns:a16="http://schemas.microsoft.com/office/drawing/2014/main" id="{4D01D74F-DC10-4503-A5C6-5B9DAE654603}"/>
                    </a:ext>
                  </a:extLst>
                </p:cNvPr>
                <p:cNvSpPr/>
                <p:nvPr/>
              </p:nvSpPr>
              <p:spPr bwMode="auto">
                <a:xfrm rot="10800000">
                  <a:off x="2285839" y="4023221"/>
                  <a:ext cx="251117" cy="160087"/>
                </a:xfrm>
                <a:prstGeom prst="triangle">
                  <a:avLst/>
                </a:prstGeom>
                <a:solidFill>
                  <a:schemeClr val="accent1">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Isosceles Triangle 56">
                  <a:extLst>
                    <a:ext uri="{FF2B5EF4-FFF2-40B4-BE49-F238E27FC236}">
                      <a16:creationId xmlns:a16="http://schemas.microsoft.com/office/drawing/2014/main" id="{41263F65-8B0C-4B8B-B87C-1D0B8DE4CC18}"/>
                    </a:ext>
                  </a:extLst>
                </p:cNvPr>
                <p:cNvSpPr/>
                <p:nvPr/>
              </p:nvSpPr>
              <p:spPr bwMode="auto">
                <a:xfrm rot="10800000">
                  <a:off x="1874691" y="4438798"/>
                  <a:ext cx="251117" cy="160087"/>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6" name="Isosceles Triangle 55">
                  <a:extLst>
                    <a:ext uri="{FF2B5EF4-FFF2-40B4-BE49-F238E27FC236}">
                      <a16:creationId xmlns:a16="http://schemas.microsoft.com/office/drawing/2014/main" id="{7DBD29E4-B4E8-43CA-8C7F-63111A3E91E8}"/>
                    </a:ext>
                  </a:extLst>
                </p:cNvPr>
                <p:cNvSpPr/>
                <p:nvPr/>
              </p:nvSpPr>
              <p:spPr bwMode="auto">
                <a:xfrm rot="10800000">
                  <a:off x="1436524" y="4919772"/>
                  <a:ext cx="251117" cy="160087"/>
                </a:xfrm>
                <a:prstGeom prst="triangl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BB286EE1-4A9C-4BC8-90A1-645BA9DEE5B2}"/>
                    </a:ext>
                  </a:extLst>
                </p:cNvPr>
                <p:cNvSpPr/>
                <p:nvPr/>
              </p:nvSpPr>
              <p:spPr bwMode="auto">
                <a:xfrm>
                  <a:off x="391886" y="3520259"/>
                  <a:ext cx="4746171" cy="3025685"/>
                </a:xfrm>
                <a:prstGeom prst="triangle">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Isosceles Triangle 4">
                  <a:extLst>
                    <a:ext uri="{FF2B5EF4-FFF2-40B4-BE49-F238E27FC236}">
                      <a16:creationId xmlns:a16="http://schemas.microsoft.com/office/drawing/2014/main" id="{08E65E13-BC35-4E0D-BF49-7C8644D3D5DC}"/>
                    </a:ext>
                  </a:extLst>
                </p:cNvPr>
                <p:cNvSpPr/>
                <p:nvPr/>
              </p:nvSpPr>
              <p:spPr bwMode="auto">
                <a:xfrm>
                  <a:off x="307585" y="4023221"/>
                  <a:ext cx="3957212" cy="252272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gradFill>
                      <a:gsLst>
                        <a:gs pos="0">
                          <a:srgbClr val="FFFFFF"/>
                        </a:gs>
                        <a:gs pos="100000">
                          <a:srgbClr val="FFFFFF"/>
                        </a:gs>
                      </a:gsLst>
                      <a:lin ang="5400000" scaled="0"/>
                    </a:gradFill>
                    <a:cs typeface="Segoe UI" pitchFamily="34" charset="0"/>
                  </a:endParaRPr>
                </a:p>
              </p:txBody>
            </p:sp>
            <p:sp>
              <p:nvSpPr>
                <p:cNvPr id="4" name="Isosceles Triangle 3">
                  <a:extLst>
                    <a:ext uri="{FF2B5EF4-FFF2-40B4-BE49-F238E27FC236}">
                      <a16:creationId xmlns:a16="http://schemas.microsoft.com/office/drawing/2014/main" id="{0F02A20E-73EA-4FAC-9BFE-14076A6244FD}"/>
                    </a:ext>
                  </a:extLst>
                </p:cNvPr>
                <p:cNvSpPr/>
                <p:nvPr/>
              </p:nvSpPr>
              <p:spPr bwMode="auto">
                <a:xfrm>
                  <a:off x="221898" y="4438799"/>
                  <a:ext cx="3305323" cy="2107145"/>
                </a:xfrm>
                <a:prstGeom prst="triangle">
                  <a:avLst/>
                </a:prstGeom>
                <a:solidFill>
                  <a:schemeClr val="accent1">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Isosceles Triangle 2">
                  <a:extLst>
                    <a:ext uri="{FF2B5EF4-FFF2-40B4-BE49-F238E27FC236}">
                      <a16:creationId xmlns:a16="http://schemas.microsoft.com/office/drawing/2014/main" id="{A5C65F59-9216-43DE-9D6D-5CAC13757AF1}"/>
                    </a:ext>
                  </a:extLst>
                </p:cNvPr>
                <p:cNvSpPr/>
                <p:nvPr/>
              </p:nvSpPr>
              <p:spPr bwMode="auto">
                <a:xfrm>
                  <a:off x="163313" y="4919772"/>
                  <a:ext cx="2550857" cy="1626171"/>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reeform: Shape 11">
                <a:extLst>
                  <a:ext uri="{FF2B5EF4-FFF2-40B4-BE49-F238E27FC236}">
                    <a16:creationId xmlns:a16="http://schemas.microsoft.com/office/drawing/2014/main" id="{E130B2C8-71E3-4E50-9368-9C8EE6E4E74A}"/>
                  </a:ext>
                </a:extLst>
              </p:cNvPr>
              <p:cNvSpPr/>
              <p:nvPr/>
            </p:nvSpPr>
            <p:spPr>
              <a:xfrm rot="3600000">
                <a:off x="6251415" y="4823012"/>
                <a:ext cx="2556834" cy="214879"/>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r" defTabSz="533400">
                  <a:lnSpc>
                    <a:spcPct val="90000"/>
                  </a:lnSpc>
                  <a:spcBef>
                    <a:spcPct val="0"/>
                  </a:spcBef>
                  <a:spcAft>
                    <a:spcPct val="35000"/>
                  </a:spcAft>
                  <a:buNone/>
                </a:pPr>
                <a:r>
                  <a:rPr lang="en-US" sz="1400" b="1" kern="1200">
                    <a:solidFill>
                      <a:schemeClr val="bg1"/>
                    </a:solidFill>
                    <a:latin typeface="+mj-lt"/>
                  </a:rPr>
                  <a:t>Power Virtual Agents</a:t>
                </a:r>
              </a:p>
            </p:txBody>
          </p:sp>
          <p:sp>
            <p:nvSpPr>
              <p:cNvPr id="39" name="Freeform: Shape 11">
                <a:extLst>
                  <a:ext uri="{FF2B5EF4-FFF2-40B4-BE49-F238E27FC236}">
                    <a16:creationId xmlns:a16="http://schemas.microsoft.com/office/drawing/2014/main" id="{9545C7A4-877B-4FF3-9C9F-09AC5EE8EEDA}"/>
                  </a:ext>
                </a:extLst>
              </p:cNvPr>
              <p:cNvSpPr/>
              <p:nvPr/>
            </p:nvSpPr>
            <p:spPr>
              <a:xfrm rot="3600000">
                <a:off x="5984712" y="5225549"/>
                <a:ext cx="1627214" cy="214879"/>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r" defTabSz="533400">
                  <a:lnSpc>
                    <a:spcPct val="90000"/>
                  </a:lnSpc>
                  <a:spcBef>
                    <a:spcPct val="0"/>
                  </a:spcBef>
                  <a:spcAft>
                    <a:spcPct val="35000"/>
                  </a:spcAft>
                </a:pPr>
                <a:r>
                  <a:rPr lang="en-US" sz="1400" b="1">
                    <a:solidFill>
                      <a:schemeClr val="tx1"/>
                    </a:solidFill>
                    <a:latin typeface="+mj-lt"/>
                  </a:rPr>
                  <a:t>Power Platform</a:t>
                </a:r>
                <a:endParaRPr lang="en-US" sz="1400" b="1" kern="1200">
                  <a:solidFill>
                    <a:schemeClr val="tx1"/>
                  </a:solidFill>
                  <a:latin typeface="+mj-lt"/>
                </a:endParaRPr>
              </a:p>
            </p:txBody>
          </p:sp>
          <p:sp>
            <p:nvSpPr>
              <p:cNvPr id="40" name="Freeform: Shape 11">
                <a:extLst>
                  <a:ext uri="{FF2B5EF4-FFF2-40B4-BE49-F238E27FC236}">
                    <a16:creationId xmlns:a16="http://schemas.microsoft.com/office/drawing/2014/main" id="{1B8AFD4B-83CF-4DE2-8EF6-B7E8E7D93AD8}"/>
                  </a:ext>
                </a:extLst>
              </p:cNvPr>
              <p:cNvSpPr/>
              <p:nvPr/>
            </p:nvSpPr>
            <p:spPr>
              <a:xfrm rot="3600000">
                <a:off x="5070313" y="5225549"/>
                <a:ext cx="1627214" cy="214879"/>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r" defTabSz="533400">
                  <a:lnSpc>
                    <a:spcPct val="90000"/>
                  </a:lnSpc>
                  <a:spcBef>
                    <a:spcPct val="0"/>
                  </a:spcBef>
                  <a:spcAft>
                    <a:spcPct val="35000"/>
                  </a:spcAft>
                </a:pPr>
                <a:r>
                  <a:rPr lang="en-US" sz="1400" b="1">
                    <a:solidFill>
                      <a:schemeClr val="tx1"/>
                    </a:solidFill>
                    <a:latin typeface="+mj-lt"/>
                  </a:rPr>
                  <a:t>Bot Framework</a:t>
                </a:r>
                <a:endParaRPr lang="en-US" sz="1400" b="1" kern="1200">
                  <a:solidFill>
                    <a:schemeClr val="tx1"/>
                  </a:solidFill>
                  <a:latin typeface="+mj-lt"/>
                </a:endParaRPr>
              </a:p>
            </p:txBody>
          </p:sp>
          <p:sp>
            <p:nvSpPr>
              <p:cNvPr id="41" name="Freeform: Shape 11">
                <a:extLst>
                  <a:ext uri="{FF2B5EF4-FFF2-40B4-BE49-F238E27FC236}">
                    <a16:creationId xmlns:a16="http://schemas.microsoft.com/office/drawing/2014/main" id="{E4CF08AE-4F9C-4D2B-8367-068DD317271E}"/>
                  </a:ext>
                </a:extLst>
              </p:cNvPr>
              <p:cNvSpPr/>
              <p:nvPr/>
            </p:nvSpPr>
            <p:spPr>
              <a:xfrm rot="3600000">
                <a:off x="3936385" y="5225548"/>
                <a:ext cx="1627214" cy="214879"/>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r" defTabSz="533400">
                  <a:lnSpc>
                    <a:spcPct val="90000"/>
                  </a:lnSpc>
                  <a:spcBef>
                    <a:spcPct val="0"/>
                  </a:spcBef>
                  <a:spcAft>
                    <a:spcPct val="35000"/>
                  </a:spcAft>
                </a:pPr>
                <a:r>
                  <a:rPr lang="en-US" sz="1400" b="1">
                    <a:solidFill>
                      <a:schemeClr val="tx1"/>
                    </a:solidFill>
                    <a:latin typeface="+mj-lt"/>
                  </a:rPr>
                  <a:t>Azure Cognitive Services</a:t>
                </a:r>
              </a:p>
            </p:txBody>
          </p:sp>
        </p:grpSp>
        <p:grpSp>
          <p:nvGrpSpPr>
            <p:cNvPr id="80" name="Group 79">
              <a:extLst>
                <a:ext uri="{FF2B5EF4-FFF2-40B4-BE49-F238E27FC236}">
                  <a16:creationId xmlns:a16="http://schemas.microsoft.com/office/drawing/2014/main" id="{C43DC3AB-966A-402F-A130-85B1598AE767}"/>
                </a:ext>
              </a:extLst>
            </p:cNvPr>
            <p:cNvGrpSpPr/>
            <p:nvPr/>
          </p:nvGrpSpPr>
          <p:grpSpPr>
            <a:xfrm>
              <a:off x="6573190" y="3512130"/>
              <a:ext cx="890357" cy="1192142"/>
              <a:chOff x="5457103" y="3184388"/>
              <a:chExt cx="1026859" cy="1374911"/>
            </a:xfrm>
          </p:grpSpPr>
          <p:grpSp>
            <p:nvGrpSpPr>
              <p:cNvPr id="20" name="Group 4">
                <a:extLst>
                  <a:ext uri="{FF2B5EF4-FFF2-40B4-BE49-F238E27FC236}">
                    <a16:creationId xmlns:a16="http://schemas.microsoft.com/office/drawing/2014/main" id="{D107BB19-4482-4354-B016-012460CB6D8E}"/>
                  </a:ext>
                </a:extLst>
              </p:cNvPr>
              <p:cNvGrpSpPr>
                <a:grpSpLocks noChangeAspect="1"/>
              </p:cNvGrpSpPr>
              <p:nvPr/>
            </p:nvGrpSpPr>
            <p:grpSpPr bwMode="auto">
              <a:xfrm>
                <a:off x="6023597" y="4205034"/>
                <a:ext cx="460365" cy="354265"/>
                <a:chOff x="2880" y="2176"/>
                <a:chExt cx="256" cy="197"/>
              </a:xfrm>
              <a:solidFill>
                <a:srgbClr val="742774"/>
              </a:solidFill>
            </p:grpSpPr>
            <p:sp>
              <p:nvSpPr>
                <p:cNvPr id="21" name="Freeform 5">
                  <a:extLst>
                    <a:ext uri="{FF2B5EF4-FFF2-40B4-BE49-F238E27FC236}">
                      <a16:creationId xmlns:a16="http://schemas.microsoft.com/office/drawing/2014/main" id="{AAF7B1C9-6507-4EA4-987B-213491E5A83B}"/>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505050"/>
                    </a:solidFill>
                    <a:latin typeface="Segoe UI"/>
                  </a:endParaRPr>
                </a:p>
              </p:txBody>
            </p:sp>
            <p:sp>
              <p:nvSpPr>
                <p:cNvPr id="22" name="Freeform 6">
                  <a:extLst>
                    <a:ext uri="{FF2B5EF4-FFF2-40B4-BE49-F238E27FC236}">
                      <a16:creationId xmlns:a16="http://schemas.microsoft.com/office/drawing/2014/main" id="{6D8BFEDF-8A88-4785-B58A-E1D2A314B23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505050"/>
                    </a:solidFill>
                    <a:latin typeface="Segoe UI"/>
                  </a:endParaRPr>
                </a:p>
              </p:txBody>
            </p:sp>
            <p:sp>
              <p:nvSpPr>
                <p:cNvPr id="23" name="Freeform 7">
                  <a:extLst>
                    <a:ext uri="{FF2B5EF4-FFF2-40B4-BE49-F238E27FC236}">
                      <a16:creationId xmlns:a16="http://schemas.microsoft.com/office/drawing/2014/main" id="{A26F8D7C-0059-4030-BE2C-DEC29EE2A520}"/>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505050"/>
                    </a:solidFill>
                    <a:latin typeface="Segoe UI"/>
                  </a:endParaRPr>
                </a:p>
              </p:txBody>
            </p:sp>
            <p:sp>
              <p:nvSpPr>
                <p:cNvPr id="24" name="Freeform 8">
                  <a:extLst>
                    <a:ext uri="{FF2B5EF4-FFF2-40B4-BE49-F238E27FC236}">
                      <a16:creationId xmlns:a16="http://schemas.microsoft.com/office/drawing/2014/main" id="{EB7769AE-FF73-438E-8656-38204749AC85}"/>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505050"/>
                    </a:solidFill>
                    <a:latin typeface="Segoe UI"/>
                  </a:endParaRPr>
                </a:p>
              </p:txBody>
            </p:sp>
            <p:sp>
              <p:nvSpPr>
                <p:cNvPr id="25" name="Freeform 9">
                  <a:extLst>
                    <a:ext uri="{FF2B5EF4-FFF2-40B4-BE49-F238E27FC236}">
                      <a16:creationId xmlns:a16="http://schemas.microsoft.com/office/drawing/2014/main" id="{CE0D278B-A376-493C-8F45-297D27BCAD1A}"/>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505050"/>
                    </a:solidFill>
                    <a:latin typeface="Segoe UI"/>
                  </a:endParaRPr>
                </a:p>
              </p:txBody>
            </p:sp>
          </p:grpSp>
          <p:grpSp>
            <p:nvGrpSpPr>
              <p:cNvPr id="28" name="Group 12">
                <a:extLst>
                  <a:ext uri="{FF2B5EF4-FFF2-40B4-BE49-F238E27FC236}">
                    <a16:creationId xmlns:a16="http://schemas.microsoft.com/office/drawing/2014/main" id="{6BA38BE6-AF9E-487C-8040-392C60A0FF55}"/>
                  </a:ext>
                </a:extLst>
              </p:cNvPr>
              <p:cNvGrpSpPr>
                <a:grpSpLocks noChangeAspect="1"/>
              </p:cNvGrpSpPr>
              <p:nvPr/>
            </p:nvGrpSpPr>
            <p:grpSpPr bwMode="auto">
              <a:xfrm>
                <a:off x="5457103" y="3184388"/>
                <a:ext cx="430652" cy="327162"/>
                <a:chOff x="4543" y="2176"/>
                <a:chExt cx="258" cy="196"/>
              </a:xfrm>
              <a:solidFill>
                <a:srgbClr val="FFC000"/>
              </a:solidFill>
            </p:grpSpPr>
            <p:sp>
              <p:nvSpPr>
                <p:cNvPr id="29" name="Freeform 13">
                  <a:extLst>
                    <a:ext uri="{FF2B5EF4-FFF2-40B4-BE49-F238E27FC236}">
                      <a16:creationId xmlns:a16="http://schemas.microsoft.com/office/drawing/2014/main" id="{28736787-4131-4094-9CED-F44FD1CD0037}"/>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1A1A1A"/>
                    </a:solidFill>
                    <a:latin typeface="Segoe UI Semilight"/>
                  </a:endParaRPr>
                </a:p>
              </p:txBody>
            </p:sp>
            <p:sp>
              <p:nvSpPr>
                <p:cNvPr id="30" name="Freeform 14">
                  <a:extLst>
                    <a:ext uri="{FF2B5EF4-FFF2-40B4-BE49-F238E27FC236}">
                      <a16:creationId xmlns:a16="http://schemas.microsoft.com/office/drawing/2014/main" id="{A1B21000-FD58-4D6D-BA2C-87767BFFA6EC}"/>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1A1A1A"/>
                    </a:solidFill>
                    <a:latin typeface="Segoe UI Semilight"/>
                  </a:endParaRPr>
                </a:p>
              </p:txBody>
            </p:sp>
            <p:sp>
              <p:nvSpPr>
                <p:cNvPr id="31" name="Freeform 15">
                  <a:extLst>
                    <a:ext uri="{FF2B5EF4-FFF2-40B4-BE49-F238E27FC236}">
                      <a16:creationId xmlns:a16="http://schemas.microsoft.com/office/drawing/2014/main" id="{93BE9816-7D2B-44F2-AA2F-271A0ECC700E}"/>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1A1A1A"/>
                    </a:solidFill>
                    <a:latin typeface="Segoe UI Semilight"/>
                  </a:endParaRPr>
                </a:p>
              </p:txBody>
            </p:sp>
            <p:sp>
              <p:nvSpPr>
                <p:cNvPr id="32" name="Freeform 16">
                  <a:extLst>
                    <a:ext uri="{FF2B5EF4-FFF2-40B4-BE49-F238E27FC236}">
                      <a16:creationId xmlns:a16="http://schemas.microsoft.com/office/drawing/2014/main" id="{7EF3B35E-6AAF-4E05-8D42-C36D58508BAA}"/>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1A1A1A"/>
                    </a:solidFill>
                    <a:latin typeface="Segoe UI Semilight"/>
                  </a:endParaRPr>
                </a:p>
              </p:txBody>
            </p:sp>
            <p:sp>
              <p:nvSpPr>
                <p:cNvPr id="33" name="Freeform 17">
                  <a:extLst>
                    <a:ext uri="{FF2B5EF4-FFF2-40B4-BE49-F238E27FC236}">
                      <a16:creationId xmlns:a16="http://schemas.microsoft.com/office/drawing/2014/main" id="{41CD3124-4DB3-4239-B6FD-C8249BA54526}"/>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defRPr/>
                  </a:pPr>
                  <a:endParaRPr lang="en-US" sz="1800" kern="0">
                    <a:solidFill>
                      <a:srgbClr val="1A1A1A"/>
                    </a:solidFill>
                    <a:latin typeface="Segoe UI Semilight"/>
                  </a:endParaRPr>
                </a:p>
              </p:txBody>
            </p:sp>
          </p:grpSp>
          <p:grpSp>
            <p:nvGrpSpPr>
              <p:cNvPr id="36" name="Group 35">
                <a:extLst>
                  <a:ext uri="{FF2B5EF4-FFF2-40B4-BE49-F238E27FC236}">
                    <a16:creationId xmlns:a16="http://schemas.microsoft.com/office/drawing/2014/main" id="{A8BCB10D-1FED-487D-881D-94E7E30AB131}"/>
                  </a:ext>
                </a:extLst>
              </p:cNvPr>
              <p:cNvGrpSpPr/>
              <p:nvPr/>
            </p:nvGrpSpPr>
            <p:grpSpPr>
              <a:xfrm>
                <a:off x="5762743" y="3690870"/>
                <a:ext cx="449336" cy="341380"/>
                <a:chOff x="-1146792" y="678443"/>
                <a:chExt cx="1017587" cy="773113"/>
              </a:xfrm>
              <a:solidFill>
                <a:srgbClr val="287EFF"/>
              </a:solidFill>
            </p:grpSpPr>
            <p:sp>
              <p:nvSpPr>
                <p:cNvPr id="37" name="Freeform 5">
                  <a:extLst>
                    <a:ext uri="{FF2B5EF4-FFF2-40B4-BE49-F238E27FC236}">
                      <a16:creationId xmlns:a16="http://schemas.microsoft.com/office/drawing/2014/main" id="{67E0BB66-64DE-4457-B461-C8B605BFFEB0}"/>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221">
                    <a:defRPr/>
                  </a:pPr>
                  <a:endParaRPr lang="en-US" sz="1919">
                    <a:solidFill>
                      <a:srgbClr val="1A1A1A"/>
                    </a:solidFill>
                    <a:latin typeface="Segoe UI"/>
                  </a:endParaRPr>
                </a:p>
              </p:txBody>
            </p:sp>
            <p:sp>
              <p:nvSpPr>
                <p:cNvPr id="38" name="Freeform 6">
                  <a:extLst>
                    <a:ext uri="{FF2B5EF4-FFF2-40B4-BE49-F238E27FC236}">
                      <a16:creationId xmlns:a16="http://schemas.microsoft.com/office/drawing/2014/main" id="{DD30EB11-7E1F-4056-B543-A04E558B90BF}"/>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221">
                    <a:defRPr/>
                  </a:pPr>
                  <a:endParaRPr lang="en-US" sz="1919">
                    <a:solidFill>
                      <a:srgbClr val="1A1A1A"/>
                    </a:solidFill>
                    <a:latin typeface="Segoe UI"/>
                  </a:endParaRPr>
                </a:p>
              </p:txBody>
            </p:sp>
          </p:grpSp>
        </p:grpSp>
      </p:grpSp>
      <p:grpSp>
        <p:nvGrpSpPr>
          <p:cNvPr id="26" name="Group 25">
            <a:extLst>
              <a:ext uri="{FF2B5EF4-FFF2-40B4-BE49-F238E27FC236}">
                <a16:creationId xmlns:a16="http://schemas.microsoft.com/office/drawing/2014/main" id="{E9BA83C9-4820-4668-BFAC-8E8564175CF9}"/>
              </a:ext>
            </a:extLst>
          </p:cNvPr>
          <p:cNvGrpSpPr/>
          <p:nvPr/>
        </p:nvGrpSpPr>
        <p:grpSpPr>
          <a:xfrm>
            <a:off x="1764525" y="1858883"/>
            <a:ext cx="4415233" cy="2521634"/>
            <a:chOff x="1764525" y="1858883"/>
            <a:chExt cx="4415233" cy="2521634"/>
          </a:xfrm>
        </p:grpSpPr>
        <p:grpSp>
          <p:nvGrpSpPr>
            <p:cNvPr id="59" name="Group 58">
              <a:extLst>
                <a:ext uri="{FF2B5EF4-FFF2-40B4-BE49-F238E27FC236}">
                  <a16:creationId xmlns:a16="http://schemas.microsoft.com/office/drawing/2014/main" id="{E5AA5905-8984-4475-BC78-5F7ABD5C5BE5}"/>
                </a:ext>
              </a:extLst>
            </p:cNvPr>
            <p:cNvGrpSpPr/>
            <p:nvPr/>
          </p:nvGrpSpPr>
          <p:grpSpPr>
            <a:xfrm>
              <a:off x="1764525" y="1858883"/>
              <a:ext cx="2942033" cy="2004217"/>
              <a:chOff x="442724" y="1217271"/>
              <a:chExt cx="3310359" cy="2255134"/>
            </a:xfrm>
          </p:grpSpPr>
          <p:pic>
            <p:nvPicPr>
              <p:cNvPr id="10" name="Picture 9" descr="A picture containing device, clock&#10;&#10;Description automatically generated">
                <a:extLst>
                  <a:ext uri="{FF2B5EF4-FFF2-40B4-BE49-F238E27FC236}">
                    <a16:creationId xmlns:a16="http://schemas.microsoft.com/office/drawing/2014/main" id="{6CCD5083-658F-4169-9FA1-003F15F19323}"/>
                  </a:ext>
                </a:extLst>
              </p:cNvPr>
              <p:cNvPicPr>
                <a:picLocks noChangeAspect="1"/>
              </p:cNvPicPr>
              <p:nvPr/>
            </p:nvPicPr>
            <p:blipFill>
              <a:blip r:embed="rId3"/>
              <a:stretch>
                <a:fillRect/>
              </a:stretch>
            </p:blipFill>
            <p:spPr>
              <a:xfrm>
                <a:off x="550662" y="1740780"/>
                <a:ext cx="3094483" cy="1682624"/>
              </a:xfrm>
              <a:prstGeom prst="rect">
                <a:avLst/>
              </a:prstGeom>
            </p:spPr>
          </p:pic>
          <p:grpSp>
            <p:nvGrpSpPr>
              <p:cNvPr id="48" name="Group 47">
                <a:extLst>
                  <a:ext uri="{FF2B5EF4-FFF2-40B4-BE49-F238E27FC236}">
                    <a16:creationId xmlns:a16="http://schemas.microsoft.com/office/drawing/2014/main" id="{ADCD9ED1-2036-4F27-8639-9AE432E42FCD}"/>
                  </a:ext>
                </a:extLst>
              </p:cNvPr>
              <p:cNvGrpSpPr/>
              <p:nvPr/>
            </p:nvGrpSpPr>
            <p:grpSpPr>
              <a:xfrm>
                <a:off x="442724" y="1217271"/>
                <a:ext cx="3310359" cy="2255134"/>
                <a:chOff x="8509322" y="1321443"/>
                <a:chExt cx="3310359" cy="2255134"/>
              </a:xfrm>
            </p:grpSpPr>
            <p:sp>
              <p:nvSpPr>
                <p:cNvPr id="46" name="Freeform: Shape 12">
                  <a:extLst>
                    <a:ext uri="{FF2B5EF4-FFF2-40B4-BE49-F238E27FC236}">
                      <a16:creationId xmlns:a16="http://schemas.microsoft.com/office/drawing/2014/main" id="{D597E4E7-9846-4632-B3BD-6A34A7E5DCF9}"/>
                    </a:ext>
                  </a:extLst>
                </p:cNvPr>
                <p:cNvSpPr/>
                <p:nvPr/>
              </p:nvSpPr>
              <p:spPr>
                <a:xfrm>
                  <a:off x="8617261" y="1354615"/>
                  <a:ext cx="3094483" cy="456976"/>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a:solidFill>
                        <a:schemeClr val="tx1"/>
                      </a:solidFill>
                    </a:rPr>
                    <a:t>Easy, no-cliff access to the full power </a:t>
                  </a:r>
                  <a:br>
                    <a:rPr lang="en-US" sz="1200">
                      <a:solidFill>
                        <a:schemeClr val="tx1"/>
                      </a:solidFill>
                    </a:rPr>
                  </a:br>
                  <a:r>
                    <a:rPr lang="en-US" sz="1200">
                      <a:solidFill>
                        <a:schemeClr val="tx1"/>
                      </a:solidFill>
                    </a:rPr>
                    <a:t>of the Azure Bot Framework</a:t>
                  </a:r>
                  <a:endParaRPr lang="en-US" sz="1200" b="0" kern="1200">
                    <a:solidFill>
                      <a:schemeClr val="tx1"/>
                    </a:solidFill>
                  </a:endParaRPr>
                </a:p>
              </p:txBody>
            </p:sp>
            <p:sp>
              <p:nvSpPr>
                <p:cNvPr id="47" name="Rectangle 46">
                  <a:extLst>
                    <a:ext uri="{FF2B5EF4-FFF2-40B4-BE49-F238E27FC236}">
                      <a16:creationId xmlns:a16="http://schemas.microsoft.com/office/drawing/2014/main" id="{763D92A2-6CC1-41C1-BF79-EAC6EA56B0DE}"/>
                    </a:ext>
                  </a:extLst>
                </p:cNvPr>
                <p:cNvSpPr/>
                <p:nvPr/>
              </p:nvSpPr>
              <p:spPr bwMode="auto">
                <a:xfrm>
                  <a:off x="8509322" y="1321443"/>
                  <a:ext cx="3310359" cy="2255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1" name="Freeform: Shape 60">
              <a:extLst>
                <a:ext uri="{FF2B5EF4-FFF2-40B4-BE49-F238E27FC236}">
                  <a16:creationId xmlns:a16="http://schemas.microsoft.com/office/drawing/2014/main" id="{42EDC588-3A43-4077-AA96-E314532167B7}"/>
                </a:ext>
              </a:extLst>
            </p:cNvPr>
            <p:cNvSpPr/>
            <p:nvPr/>
          </p:nvSpPr>
          <p:spPr bwMode="auto">
            <a:xfrm>
              <a:off x="4712174" y="2870462"/>
              <a:ext cx="1467584" cy="1510055"/>
            </a:xfrm>
            <a:custGeom>
              <a:avLst/>
              <a:gdLst>
                <a:gd name="connsiteX0" fmla="*/ 1481137 w 1481137"/>
                <a:gd name="connsiteY0" fmla="*/ 1524000 h 1524000"/>
                <a:gd name="connsiteX1" fmla="*/ 681037 w 1481137"/>
                <a:gd name="connsiteY1" fmla="*/ 0 h 1524000"/>
                <a:gd name="connsiteX2" fmla="*/ 0 w 1481137"/>
                <a:gd name="connsiteY2" fmla="*/ 0 h 1524000"/>
              </a:gdLst>
              <a:ahLst/>
              <a:cxnLst>
                <a:cxn ang="0">
                  <a:pos x="connsiteX0" y="connsiteY0"/>
                </a:cxn>
                <a:cxn ang="0">
                  <a:pos x="connsiteX1" y="connsiteY1"/>
                </a:cxn>
                <a:cxn ang="0">
                  <a:pos x="connsiteX2" y="connsiteY2"/>
                </a:cxn>
              </a:cxnLst>
              <a:rect l="l" t="t" r="r" b="b"/>
              <a:pathLst>
                <a:path w="1481137" h="1524000">
                  <a:moveTo>
                    <a:pt x="1481137" y="1524000"/>
                  </a:moveTo>
                  <a:lnTo>
                    <a:pt x="681037" y="0"/>
                  </a:lnTo>
                  <a:lnTo>
                    <a:pt x="0" y="0"/>
                  </a:lnTo>
                </a:path>
              </a:pathLst>
            </a:cu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9" name="Group 18">
            <a:extLst>
              <a:ext uri="{FF2B5EF4-FFF2-40B4-BE49-F238E27FC236}">
                <a16:creationId xmlns:a16="http://schemas.microsoft.com/office/drawing/2014/main" id="{F8EC38D3-ECFD-451A-A5ED-6096F78FAF19}"/>
              </a:ext>
            </a:extLst>
          </p:cNvPr>
          <p:cNvGrpSpPr/>
          <p:nvPr/>
        </p:nvGrpSpPr>
        <p:grpSpPr>
          <a:xfrm>
            <a:off x="1764525" y="3985909"/>
            <a:ext cx="3704033" cy="2004217"/>
            <a:chOff x="1764525" y="3985909"/>
            <a:chExt cx="3704033" cy="2004217"/>
          </a:xfrm>
        </p:grpSpPr>
        <p:grpSp>
          <p:nvGrpSpPr>
            <p:cNvPr id="52" name="Group 51">
              <a:extLst>
                <a:ext uri="{FF2B5EF4-FFF2-40B4-BE49-F238E27FC236}">
                  <a16:creationId xmlns:a16="http://schemas.microsoft.com/office/drawing/2014/main" id="{EE473B5D-2E77-40E7-A86A-B91FE11D41D8}"/>
                </a:ext>
              </a:extLst>
            </p:cNvPr>
            <p:cNvGrpSpPr/>
            <p:nvPr/>
          </p:nvGrpSpPr>
          <p:grpSpPr>
            <a:xfrm>
              <a:off x="1764525" y="3985909"/>
              <a:ext cx="2942033" cy="2004217"/>
              <a:chOff x="442724" y="3553428"/>
              <a:chExt cx="3310359" cy="2255134"/>
            </a:xfrm>
          </p:grpSpPr>
          <p:pic>
            <p:nvPicPr>
              <p:cNvPr id="11" name="Picture 10" descr="A close up of a map&#10;&#10;Description automatically generated">
                <a:extLst>
                  <a:ext uri="{FF2B5EF4-FFF2-40B4-BE49-F238E27FC236}">
                    <a16:creationId xmlns:a16="http://schemas.microsoft.com/office/drawing/2014/main" id="{BD958B5F-7383-45FA-A64B-8606AFCB0CB3}"/>
                  </a:ext>
                </a:extLst>
              </p:cNvPr>
              <p:cNvPicPr>
                <a:picLocks noChangeAspect="1"/>
              </p:cNvPicPr>
              <p:nvPr/>
            </p:nvPicPr>
            <p:blipFill>
              <a:blip r:embed="rId4"/>
              <a:stretch>
                <a:fillRect/>
              </a:stretch>
            </p:blipFill>
            <p:spPr>
              <a:xfrm>
                <a:off x="489537" y="3967349"/>
                <a:ext cx="3216733" cy="1804801"/>
              </a:xfrm>
              <a:prstGeom prst="rect">
                <a:avLst/>
              </a:prstGeom>
              <a:ln>
                <a:noFill/>
              </a:ln>
              <a:effectLst/>
            </p:spPr>
          </p:pic>
          <p:grpSp>
            <p:nvGrpSpPr>
              <p:cNvPr id="49" name="Group 48">
                <a:extLst>
                  <a:ext uri="{FF2B5EF4-FFF2-40B4-BE49-F238E27FC236}">
                    <a16:creationId xmlns:a16="http://schemas.microsoft.com/office/drawing/2014/main" id="{8EE95138-EF39-448C-90AB-FD1C8791E711}"/>
                  </a:ext>
                </a:extLst>
              </p:cNvPr>
              <p:cNvGrpSpPr/>
              <p:nvPr/>
            </p:nvGrpSpPr>
            <p:grpSpPr>
              <a:xfrm>
                <a:off x="442724" y="3553428"/>
                <a:ext cx="3310359" cy="2255134"/>
                <a:chOff x="8509322" y="1321443"/>
                <a:chExt cx="3310359" cy="2255134"/>
              </a:xfrm>
            </p:grpSpPr>
            <p:sp>
              <p:nvSpPr>
                <p:cNvPr id="50" name="Freeform: Shape 12">
                  <a:extLst>
                    <a:ext uri="{FF2B5EF4-FFF2-40B4-BE49-F238E27FC236}">
                      <a16:creationId xmlns:a16="http://schemas.microsoft.com/office/drawing/2014/main" id="{35B83B4D-9278-47DE-9E97-96F5189E49AD}"/>
                    </a:ext>
                  </a:extLst>
                </p:cNvPr>
                <p:cNvSpPr/>
                <p:nvPr/>
              </p:nvSpPr>
              <p:spPr>
                <a:xfrm>
                  <a:off x="8593155" y="1430225"/>
                  <a:ext cx="3142695" cy="204940"/>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dirty="0">
                      <a:solidFill>
                        <a:schemeClr val="tx1"/>
                      </a:solidFill>
                    </a:rPr>
                    <a:t>Integrated with Azure Cognitive Services</a:t>
                  </a:r>
                </a:p>
              </p:txBody>
            </p:sp>
            <p:sp>
              <p:nvSpPr>
                <p:cNvPr id="51" name="Rectangle 50">
                  <a:extLst>
                    <a:ext uri="{FF2B5EF4-FFF2-40B4-BE49-F238E27FC236}">
                      <a16:creationId xmlns:a16="http://schemas.microsoft.com/office/drawing/2014/main" id="{A9583CB3-552C-40D6-BCBE-DE6E6FC0848C}"/>
                    </a:ext>
                  </a:extLst>
                </p:cNvPr>
                <p:cNvSpPr/>
                <p:nvPr/>
              </p:nvSpPr>
              <p:spPr bwMode="auto">
                <a:xfrm>
                  <a:off x="8509322" y="1321443"/>
                  <a:ext cx="3310359" cy="2255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2" name="Freeform: Shape 61">
              <a:extLst>
                <a:ext uri="{FF2B5EF4-FFF2-40B4-BE49-F238E27FC236}">
                  <a16:creationId xmlns:a16="http://schemas.microsoft.com/office/drawing/2014/main" id="{60A5E349-5C29-4E93-A9F5-E3078928F142}"/>
                </a:ext>
              </a:extLst>
            </p:cNvPr>
            <p:cNvSpPr/>
            <p:nvPr/>
          </p:nvSpPr>
          <p:spPr bwMode="auto">
            <a:xfrm>
              <a:off x="4706743" y="4591107"/>
              <a:ext cx="761815" cy="783862"/>
            </a:xfrm>
            <a:custGeom>
              <a:avLst/>
              <a:gdLst>
                <a:gd name="connsiteX0" fmla="*/ 1481137 w 1481137"/>
                <a:gd name="connsiteY0" fmla="*/ 1524000 h 1524000"/>
                <a:gd name="connsiteX1" fmla="*/ 681037 w 1481137"/>
                <a:gd name="connsiteY1" fmla="*/ 0 h 1524000"/>
                <a:gd name="connsiteX2" fmla="*/ 0 w 1481137"/>
                <a:gd name="connsiteY2" fmla="*/ 0 h 1524000"/>
              </a:gdLst>
              <a:ahLst/>
              <a:cxnLst>
                <a:cxn ang="0">
                  <a:pos x="connsiteX0" y="connsiteY0"/>
                </a:cxn>
                <a:cxn ang="0">
                  <a:pos x="connsiteX1" y="connsiteY1"/>
                </a:cxn>
                <a:cxn ang="0">
                  <a:pos x="connsiteX2" y="connsiteY2"/>
                </a:cxn>
              </a:cxnLst>
              <a:rect l="l" t="t" r="r" b="b"/>
              <a:pathLst>
                <a:path w="1481137" h="1524000">
                  <a:moveTo>
                    <a:pt x="1481137" y="1524000"/>
                  </a:moveTo>
                  <a:lnTo>
                    <a:pt x="681037" y="0"/>
                  </a:lnTo>
                  <a:lnTo>
                    <a:pt x="0" y="0"/>
                  </a:lnTo>
                </a:path>
              </a:pathLst>
            </a:cu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4" name="Group 13">
            <a:extLst>
              <a:ext uri="{FF2B5EF4-FFF2-40B4-BE49-F238E27FC236}">
                <a16:creationId xmlns:a16="http://schemas.microsoft.com/office/drawing/2014/main" id="{4E7BFA34-40A6-49B5-9898-FDE99AA7A8D0}"/>
              </a:ext>
            </a:extLst>
          </p:cNvPr>
          <p:cNvGrpSpPr/>
          <p:nvPr/>
        </p:nvGrpSpPr>
        <p:grpSpPr>
          <a:xfrm rot="10800000">
            <a:off x="-1" y="5499099"/>
            <a:ext cx="1358901" cy="1358899"/>
            <a:chOff x="10043883" y="-2"/>
            <a:chExt cx="2148115" cy="2148112"/>
          </a:xfrm>
        </p:grpSpPr>
        <p:sp>
          <p:nvSpPr>
            <p:cNvPr id="76" name="Freeform: Shape 75">
              <a:extLst>
                <a:ext uri="{FF2B5EF4-FFF2-40B4-BE49-F238E27FC236}">
                  <a16:creationId xmlns:a16="http://schemas.microsoft.com/office/drawing/2014/main" id="{0B9F9D21-834B-49F3-BAA1-574504444450}"/>
                </a:ext>
              </a:extLst>
            </p:cNvPr>
            <p:cNvSpPr/>
            <p:nvPr/>
          </p:nvSpPr>
          <p:spPr bwMode="auto">
            <a:xfrm rot="10800000">
              <a:off x="10043883" y="-1"/>
              <a:ext cx="2148115" cy="2148111"/>
            </a:xfrm>
            <a:custGeom>
              <a:avLst/>
              <a:gdLst>
                <a:gd name="connsiteX0" fmla="*/ 2148115 w 2148115"/>
                <a:gd name="connsiteY0" fmla="*/ 2148111 h 2148111"/>
                <a:gd name="connsiteX1" fmla="*/ 0 w 2148115"/>
                <a:gd name="connsiteY1" fmla="*/ 2148111 h 2148111"/>
                <a:gd name="connsiteX2" fmla="*/ 0 w 2148115"/>
                <a:gd name="connsiteY2" fmla="*/ 0 h 2148111"/>
              </a:gdLst>
              <a:ahLst/>
              <a:cxnLst>
                <a:cxn ang="0">
                  <a:pos x="connsiteX0" y="connsiteY0"/>
                </a:cxn>
                <a:cxn ang="0">
                  <a:pos x="connsiteX1" y="connsiteY1"/>
                </a:cxn>
                <a:cxn ang="0">
                  <a:pos x="connsiteX2" y="connsiteY2"/>
                </a:cxn>
              </a:cxnLst>
              <a:rect l="l" t="t" r="r" b="b"/>
              <a:pathLst>
                <a:path w="2148115" h="2148111">
                  <a:moveTo>
                    <a:pt x="2148115" y="2148111"/>
                  </a:moveTo>
                  <a:lnTo>
                    <a:pt x="0" y="2148111"/>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a:extLst>
                <a:ext uri="{FF2B5EF4-FFF2-40B4-BE49-F238E27FC236}">
                  <a16:creationId xmlns:a16="http://schemas.microsoft.com/office/drawing/2014/main" id="{5BB50C4E-6838-4131-A2A2-6EDBB69FEA1F}"/>
                </a:ext>
              </a:extLst>
            </p:cNvPr>
            <p:cNvGrpSpPr/>
            <p:nvPr/>
          </p:nvGrpSpPr>
          <p:grpSpPr>
            <a:xfrm rot="10800000">
              <a:off x="10185399" y="-2"/>
              <a:ext cx="1758001" cy="727857"/>
              <a:chOff x="7932060" y="5069115"/>
              <a:chExt cx="4320715" cy="1788885"/>
            </a:xfrm>
          </p:grpSpPr>
          <p:sp>
            <p:nvSpPr>
              <p:cNvPr id="66" name="Freeform: Shape 65">
                <a:extLst>
                  <a:ext uri="{FF2B5EF4-FFF2-40B4-BE49-F238E27FC236}">
                    <a16:creationId xmlns:a16="http://schemas.microsoft.com/office/drawing/2014/main" id="{CBA1142D-43BD-4D44-9FFC-FD0B1318083D}"/>
                  </a:ext>
                </a:extLst>
              </p:cNvPr>
              <p:cNvSpPr/>
              <p:nvPr/>
            </p:nvSpPr>
            <p:spPr bwMode="auto">
              <a:xfrm>
                <a:off x="7932060" y="5069115"/>
                <a:ext cx="3577769" cy="1788885"/>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58B9A290-FA97-4138-A050-625B105AEE9E}"/>
                  </a:ext>
                </a:extLst>
              </p:cNvPr>
              <p:cNvSpPr/>
              <p:nvPr/>
            </p:nvSpPr>
            <p:spPr bwMode="auto">
              <a:xfrm>
                <a:off x="10032094" y="5747660"/>
                <a:ext cx="2220681" cy="1110340"/>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5" name="Freeform 5">
            <a:extLst>
              <a:ext uri="{FF2B5EF4-FFF2-40B4-BE49-F238E27FC236}">
                <a16:creationId xmlns:a16="http://schemas.microsoft.com/office/drawing/2014/main" id="{C9166947-913A-4CD2-925F-8E0FF738883D}"/>
              </a:ext>
            </a:extLst>
          </p:cNvPr>
          <p:cNvSpPr>
            <a:spLocks noEditPoints="1"/>
          </p:cNvSpPr>
          <p:nvPr/>
        </p:nvSpPr>
        <p:spPr bwMode="auto">
          <a:xfrm>
            <a:off x="7083748" y="2797859"/>
            <a:ext cx="415876" cy="303562"/>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79" name="Group 78">
            <a:extLst>
              <a:ext uri="{FF2B5EF4-FFF2-40B4-BE49-F238E27FC236}">
                <a16:creationId xmlns:a16="http://schemas.microsoft.com/office/drawing/2014/main" id="{7221C43D-4A5F-4454-A0B5-1CB281365C6D}"/>
              </a:ext>
            </a:extLst>
          </p:cNvPr>
          <p:cNvGrpSpPr/>
          <p:nvPr/>
        </p:nvGrpSpPr>
        <p:grpSpPr>
          <a:xfrm>
            <a:off x="10909298" y="1"/>
            <a:ext cx="1282702" cy="1282699"/>
            <a:chOff x="10043883" y="-1"/>
            <a:chExt cx="2148115" cy="2148111"/>
          </a:xfrm>
        </p:grpSpPr>
        <p:sp>
          <p:nvSpPr>
            <p:cNvPr id="82" name="Freeform: Shape 81">
              <a:extLst>
                <a:ext uri="{FF2B5EF4-FFF2-40B4-BE49-F238E27FC236}">
                  <a16:creationId xmlns:a16="http://schemas.microsoft.com/office/drawing/2014/main" id="{093E7037-A7B2-4778-AC3F-826B022E5025}"/>
                </a:ext>
              </a:extLst>
            </p:cNvPr>
            <p:cNvSpPr/>
            <p:nvPr/>
          </p:nvSpPr>
          <p:spPr bwMode="auto">
            <a:xfrm rot="10800000">
              <a:off x="10043883" y="-1"/>
              <a:ext cx="2148115" cy="2148111"/>
            </a:xfrm>
            <a:custGeom>
              <a:avLst/>
              <a:gdLst>
                <a:gd name="connsiteX0" fmla="*/ 2148115 w 2148115"/>
                <a:gd name="connsiteY0" fmla="*/ 2148111 h 2148111"/>
                <a:gd name="connsiteX1" fmla="*/ 0 w 2148115"/>
                <a:gd name="connsiteY1" fmla="*/ 2148111 h 2148111"/>
                <a:gd name="connsiteX2" fmla="*/ 0 w 2148115"/>
                <a:gd name="connsiteY2" fmla="*/ 0 h 2148111"/>
              </a:gdLst>
              <a:ahLst/>
              <a:cxnLst>
                <a:cxn ang="0">
                  <a:pos x="connsiteX0" y="connsiteY0"/>
                </a:cxn>
                <a:cxn ang="0">
                  <a:pos x="connsiteX1" y="connsiteY1"/>
                </a:cxn>
                <a:cxn ang="0">
                  <a:pos x="connsiteX2" y="connsiteY2"/>
                </a:cxn>
              </a:cxnLst>
              <a:rect l="l" t="t" r="r" b="b"/>
              <a:pathLst>
                <a:path w="2148115" h="2148111">
                  <a:moveTo>
                    <a:pt x="2148115" y="2148111"/>
                  </a:moveTo>
                  <a:lnTo>
                    <a:pt x="0" y="2148111"/>
                  </a:lnTo>
                  <a:lnTo>
                    <a:pt x="0" y="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83" name="Freeform: Shape 82">
              <a:extLst>
                <a:ext uri="{FF2B5EF4-FFF2-40B4-BE49-F238E27FC236}">
                  <a16:creationId xmlns:a16="http://schemas.microsoft.com/office/drawing/2014/main" id="{32A99752-F120-4269-B2B4-EB1F8FFED629}"/>
                </a:ext>
              </a:extLst>
            </p:cNvPr>
            <p:cNvSpPr/>
            <p:nvPr/>
          </p:nvSpPr>
          <p:spPr bwMode="auto">
            <a:xfrm rot="10800000">
              <a:off x="10185398" y="0"/>
              <a:ext cx="903545" cy="451773"/>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0F9C9609-332A-484F-9AE5-3E32CDF587F1}"/>
              </a:ext>
            </a:extLst>
          </p:cNvPr>
          <p:cNvGrpSpPr/>
          <p:nvPr/>
        </p:nvGrpSpPr>
        <p:grpSpPr>
          <a:xfrm>
            <a:off x="7667624" y="939799"/>
            <a:ext cx="4105274" cy="3613152"/>
            <a:chOff x="7616824" y="546099"/>
            <a:chExt cx="4105274" cy="3613152"/>
          </a:xfrm>
        </p:grpSpPr>
        <p:grpSp>
          <p:nvGrpSpPr>
            <p:cNvPr id="78" name="Group 77">
              <a:extLst>
                <a:ext uri="{FF2B5EF4-FFF2-40B4-BE49-F238E27FC236}">
                  <a16:creationId xmlns:a16="http://schemas.microsoft.com/office/drawing/2014/main" id="{6439C8C2-0AFD-49DA-B459-0ED59CC43DE9}"/>
                </a:ext>
              </a:extLst>
            </p:cNvPr>
            <p:cNvGrpSpPr/>
            <p:nvPr/>
          </p:nvGrpSpPr>
          <p:grpSpPr>
            <a:xfrm>
              <a:off x="8742846" y="546099"/>
              <a:ext cx="2979252" cy="3613152"/>
              <a:chOff x="7550118" y="-357154"/>
              <a:chExt cx="3196659" cy="3876816"/>
            </a:xfrm>
          </p:grpSpPr>
          <p:pic>
            <p:nvPicPr>
              <p:cNvPr id="9" name="Picture 8" descr="A picture containing group, food&#10;&#10;Description automatically generated">
                <a:extLst>
                  <a:ext uri="{FF2B5EF4-FFF2-40B4-BE49-F238E27FC236}">
                    <a16:creationId xmlns:a16="http://schemas.microsoft.com/office/drawing/2014/main" id="{A7520908-1847-4F6C-8D53-792BED0F5146}"/>
                  </a:ext>
                </a:extLst>
              </p:cNvPr>
              <p:cNvPicPr>
                <a:picLocks noChangeAspect="1"/>
              </p:cNvPicPr>
              <p:nvPr/>
            </p:nvPicPr>
            <p:blipFill>
              <a:blip r:embed="rId5"/>
              <a:stretch>
                <a:fillRect/>
              </a:stretch>
            </p:blipFill>
            <p:spPr>
              <a:xfrm>
                <a:off x="7673134" y="159515"/>
                <a:ext cx="3064322" cy="3257220"/>
              </a:xfrm>
              <a:prstGeom prst="rect">
                <a:avLst/>
              </a:prstGeom>
            </p:spPr>
          </p:pic>
          <p:sp>
            <p:nvSpPr>
              <p:cNvPr id="13" name="Freeform: Shape 12">
                <a:extLst>
                  <a:ext uri="{FF2B5EF4-FFF2-40B4-BE49-F238E27FC236}">
                    <a16:creationId xmlns:a16="http://schemas.microsoft.com/office/drawing/2014/main" id="{08289C32-E490-4E7B-8072-77D1B6F88699}"/>
                  </a:ext>
                </a:extLst>
              </p:cNvPr>
              <p:cNvSpPr/>
              <p:nvPr/>
            </p:nvSpPr>
            <p:spPr>
              <a:xfrm>
                <a:off x="7554747" y="-320540"/>
                <a:ext cx="3187401" cy="456976"/>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tx1"/>
                    </a:solidFill>
                  </a:rPr>
                  <a:t>Access to Flow, custom models through AI Builders and 100s of pre-built connectors</a:t>
                </a:r>
              </a:p>
            </p:txBody>
          </p:sp>
          <p:sp>
            <p:nvSpPr>
              <p:cNvPr id="44" name="Rectangle 43">
                <a:extLst>
                  <a:ext uri="{FF2B5EF4-FFF2-40B4-BE49-F238E27FC236}">
                    <a16:creationId xmlns:a16="http://schemas.microsoft.com/office/drawing/2014/main" id="{58049E25-AD32-4537-8CAA-FE3F7CB95BB0}"/>
                  </a:ext>
                </a:extLst>
              </p:cNvPr>
              <p:cNvSpPr/>
              <p:nvPr/>
            </p:nvSpPr>
            <p:spPr bwMode="auto">
              <a:xfrm>
                <a:off x="7550118" y="-357154"/>
                <a:ext cx="3196659" cy="387681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Freeform: Shape 62">
              <a:extLst>
                <a:ext uri="{FF2B5EF4-FFF2-40B4-BE49-F238E27FC236}">
                  <a16:creationId xmlns:a16="http://schemas.microsoft.com/office/drawing/2014/main" id="{53208552-8F04-4C91-AB55-C47A765C216B}"/>
                </a:ext>
              </a:extLst>
            </p:cNvPr>
            <p:cNvSpPr/>
            <p:nvPr/>
          </p:nvSpPr>
          <p:spPr bwMode="auto">
            <a:xfrm flipH="1">
              <a:off x="7616824" y="2406560"/>
              <a:ext cx="1117141" cy="1149470"/>
            </a:xfrm>
            <a:custGeom>
              <a:avLst/>
              <a:gdLst>
                <a:gd name="connsiteX0" fmla="*/ 1481137 w 1481137"/>
                <a:gd name="connsiteY0" fmla="*/ 1524000 h 1524000"/>
                <a:gd name="connsiteX1" fmla="*/ 681037 w 1481137"/>
                <a:gd name="connsiteY1" fmla="*/ 0 h 1524000"/>
                <a:gd name="connsiteX2" fmla="*/ 0 w 1481137"/>
                <a:gd name="connsiteY2" fmla="*/ 0 h 1524000"/>
              </a:gdLst>
              <a:ahLst/>
              <a:cxnLst>
                <a:cxn ang="0">
                  <a:pos x="connsiteX0" y="connsiteY0"/>
                </a:cxn>
                <a:cxn ang="0">
                  <a:pos x="connsiteX1" y="connsiteY1"/>
                </a:cxn>
                <a:cxn ang="0">
                  <a:pos x="connsiteX2" y="connsiteY2"/>
                </a:cxn>
              </a:cxnLst>
              <a:rect l="l" t="t" r="r" b="b"/>
              <a:pathLst>
                <a:path w="1481137" h="1524000">
                  <a:moveTo>
                    <a:pt x="1481137" y="1524000"/>
                  </a:moveTo>
                  <a:lnTo>
                    <a:pt x="681037" y="0"/>
                  </a:lnTo>
                  <a:lnTo>
                    <a:pt x="0" y="0"/>
                  </a:lnTo>
                </a:path>
              </a:pathLst>
            </a:cu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spTree>
    <p:extLst>
      <p:ext uri="{BB962C8B-B14F-4D97-AF65-F5344CB8AC3E}">
        <p14:creationId xmlns:p14="http://schemas.microsoft.com/office/powerpoint/2010/main" val="2349612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right)">
                                      <p:cBhvr>
                                        <p:cTn id="11" dur="500"/>
                                        <p:tgtEl>
                                          <p:spTgt spid="19"/>
                                        </p:tgtEl>
                                      </p:cBhvr>
                                    </p:animEffect>
                                  </p:childTnLst>
                                </p:cTn>
                              </p:par>
                              <p:par>
                                <p:cTn id="12" presetID="22" presetClass="entr" presetSubtype="2" fill="hold"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wipe(right)">
                                      <p:cBhvr>
                                        <p:cTn id="14" dur="500"/>
                                        <p:tgtEl>
                                          <p:spTgt spid="26"/>
                                        </p:tgtEl>
                                      </p:cBhvr>
                                    </p:animEffect>
                                  </p:childTnLst>
                                </p:cTn>
                              </p:par>
                              <p:par>
                                <p:cTn id="15" presetID="22" presetClass="entr" presetSubtype="8"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left)">
                                      <p:cBhvr>
                                        <p:cTn id="17" dur="500"/>
                                        <p:tgtEl>
                                          <p:spTgt spid="2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5"/>
                                        </p:tgtEl>
                                        <p:attrNameLst>
                                          <p:attrName>style.visibility</p:attrName>
                                        </p:attrNameLst>
                                      </p:cBhvr>
                                      <p:to>
                                        <p:strVal val="visible"/>
                                      </p:to>
                                    </p:set>
                                    <p:animEffect transition="in" filter="fade">
                                      <p:cBhvr>
                                        <p:cTn id="2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a:t>Tips</a:t>
            </a:r>
          </a:p>
        </p:txBody>
      </p:sp>
      <p:graphicFrame>
        <p:nvGraphicFramePr>
          <p:cNvPr id="11" name="Table 11">
            <a:extLst>
              <a:ext uri="{FF2B5EF4-FFF2-40B4-BE49-F238E27FC236}">
                <a16:creationId xmlns:a16="http://schemas.microsoft.com/office/drawing/2014/main" id="{3C4C1771-1F05-4986-B904-ACA4CE58868B}"/>
              </a:ext>
            </a:extLst>
          </p:cNvPr>
          <p:cNvGraphicFramePr>
            <a:graphicFrameLocks noGrp="1"/>
          </p:cNvGraphicFramePr>
          <p:nvPr>
            <p:extLst>
              <p:ext uri="{D42A27DB-BD31-4B8C-83A1-F6EECF244321}">
                <p14:modId xmlns:p14="http://schemas.microsoft.com/office/powerpoint/2010/main" val="727174673"/>
              </p:ext>
            </p:extLst>
          </p:nvPr>
        </p:nvGraphicFramePr>
        <p:xfrm>
          <a:off x="457200" y="3231118"/>
          <a:ext cx="11277600" cy="1825204"/>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348722">
                <a:tc>
                  <a:txBody>
                    <a:bodyPr/>
                    <a:lstStyle/>
                    <a:p>
                      <a:r>
                        <a:rPr lang="en-US" sz="1800" b="0">
                          <a:solidFill>
                            <a:schemeClr val="bg1"/>
                          </a:solidFill>
                          <a:latin typeface="Segoe UI Semibold" panose="020B0702040204020203" pitchFamily="34" charset="0"/>
                          <a:cs typeface="Segoe UI Semibold" panose="020B0702040204020203" pitchFamily="34" charset="0"/>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panose="020B0702040204020203" pitchFamily="34" charset="0"/>
                          <a:cs typeface="Segoe UI Semibold" panose="020B0702040204020203" pitchFamily="34" charset="0"/>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348722">
                <a:tc>
                  <a:txBody>
                    <a:bodyPr/>
                    <a:lstStyle/>
                    <a:p>
                      <a:r>
                        <a:rPr lang="en-US" sz="1800" kern="1200">
                          <a:solidFill>
                            <a:schemeClr val="tx1"/>
                          </a:solidFill>
                          <a:latin typeface="Segoe UI" panose="020B0502040204020203" pitchFamily="34" charset="0"/>
                          <a:ea typeface="+mn-ea"/>
                          <a:cs typeface="Segoe UI" panose="020B0502040204020203" pitchFamily="34" charset="0"/>
                        </a:rPr>
                        <a:t>The Recommended Charts command on the Insert tab recommends charts that are likely to represent your data well. Use the command when you want to visually present data, and you're not sure how to do it</a:t>
                      </a:r>
                    </a:p>
                    <a:p>
                      <a:endParaRPr lang="en-US" sz="1800" kern="1200">
                        <a:solidFill>
                          <a:schemeClr val="tx1"/>
                        </a:solidFill>
                        <a:latin typeface="Segoe UI" panose="020B0502040204020203" pitchFamily="34" charset="0"/>
                        <a:ea typeface="+mn-ea"/>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a:solidFill>
                          <a:schemeClr val="tx1"/>
                        </a:solidFill>
                        <a:latin typeface="Segoe UI" panose="020B0502040204020203" pitchFamily="34" charset="0"/>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grpSp>
        <p:nvGrpSpPr>
          <p:cNvPr id="32" name="Group 55">
            <a:extLst>
              <a:ext uri="{FF2B5EF4-FFF2-40B4-BE49-F238E27FC236}">
                <a16:creationId xmlns:a16="http://schemas.microsoft.com/office/drawing/2014/main" id="{4FEE2EF2-201D-4499-9492-C6CC27C82EAA}"/>
              </a:ext>
            </a:extLst>
          </p:cNvPr>
          <p:cNvGrpSpPr/>
          <p:nvPr/>
        </p:nvGrpSpPr>
        <p:grpSpPr>
          <a:xfrm>
            <a:off x="455995" y="1312525"/>
            <a:ext cx="753701" cy="1405275"/>
            <a:chOff x="1002528" y="4091826"/>
            <a:chExt cx="1007246" cy="1878011"/>
          </a:xfrm>
        </p:grpSpPr>
        <p:sp>
          <p:nvSpPr>
            <p:cNvPr id="33" name="Oval 39">
              <a:extLst>
                <a:ext uri="{FF2B5EF4-FFF2-40B4-BE49-F238E27FC236}">
                  <a16:creationId xmlns:a16="http://schemas.microsoft.com/office/drawing/2014/main" id="{27DDA306-7ECA-4154-8FF9-4A55DC2AFF8E}"/>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3</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34" name="Group 33">
              <a:extLst>
                <a:ext uri="{FF2B5EF4-FFF2-40B4-BE49-F238E27FC236}">
                  <a16:creationId xmlns:a16="http://schemas.microsoft.com/office/drawing/2014/main" id="{06338BFA-07B5-4032-8E7E-C7969827C055}"/>
                </a:ext>
              </a:extLst>
            </p:cNvPr>
            <p:cNvGrpSpPr/>
            <p:nvPr/>
          </p:nvGrpSpPr>
          <p:grpSpPr>
            <a:xfrm>
              <a:off x="1002528" y="4091826"/>
              <a:ext cx="1007246" cy="1878011"/>
              <a:chOff x="2998563" y="3863657"/>
              <a:chExt cx="1007246" cy="1878011"/>
            </a:xfrm>
          </p:grpSpPr>
          <p:sp>
            <p:nvSpPr>
              <p:cNvPr id="35" name="Partial Circle 20">
                <a:extLst>
                  <a:ext uri="{FF2B5EF4-FFF2-40B4-BE49-F238E27FC236}">
                    <a16:creationId xmlns:a16="http://schemas.microsoft.com/office/drawing/2014/main" id="{D6F328A3-4863-4011-86C0-C2A052BC3926}"/>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a:extLst>
                  <a:ext uri="{FF2B5EF4-FFF2-40B4-BE49-F238E27FC236}">
                    <a16:creationId xmlns:a16="http://schemas.microsoft.com/office/drawing/2014/main" id="{282A7D5E-8917-45EC-A2CB-0544DB09BF86}"/>
                  </a:ext>
                </a:extLst>
              </p:cNvPr>
              <p:cNvCxnSpPr>
                <a:cxnSpLocks/>
                <a:stCxn id="35"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37" name="Text Placeholder 7">
            <a:extLst>
              <a:ext uri="{FF2B5EF4-FFF2-40B4-BE49-F238E27FC236}">
                <a16:creationId xmlns:a16="http://schemas.microsoft.com/office/drawing/2014/main" id="{F692856F-8B81-40BA-A779-2378D45DA377}"/>
              </a:ext>
            </a:extLst>
          </p:cNvPr>
          <p:cNvSpPr txBox="1">
            <a:spLocks/>
          </p:cNvSpPr>
          <p:nvPr/>
        </p:nvSpPr>
        <p:spPr>
          <a:xfrm>
            <a:off x="1401619" y="1337685"/>
            <a:ext cx="9985663" cy="1426297"/>
          </a:xfrm>
          <a:prstGeom prst="rect">
            <a:avLst/>
          </a:prstGeom>
        </p:spPr>
        <p:txBody>
          <a:bodyPr vert="horz" wrap="square" lIns="0" tIns="91440" rIns="0" bIns="9144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Aft>
                <a:spcPts val="600"/>
              </a:spcAft>
              <a:buSzTx/>
            </a:pPr>
            <a:r>
              <a:rPr lang="en-US" sz="2000" spc="0">
                <a:solidFill>
                  <a:srgbClr val="3C3C41"/>
                </a:solidFill>
                <a:latin typeface="Segoe UI Semibold"/>
                <a:cs typeface="Segoe UI Semibold"/>
              </a:rPr>
              <a:t>Be brief</a:t>
            </a:r>
          </a:p>
          <a:p>
            <a:pPr lvl="0">
              <a:spcAft>
                <a:spcPts val="600"/>
              </a:spcAft>
              <a:buSzTx/>
            </a:pPr>
            <a:r>
              <a:rPr lang="en-US" sz="1800" spc="0">
                <a:solidFill>
                  <a:srgbClr val="3C3C41"/>
                </a:solidFill>
                <a:latin typeface="Segoe UI"/>
                <a:cs typeface="Segoe UI"/>
              </a:rPr>
              <a:t>Give customers just enough information to make decisions confidently. Prune every excess word.</a:t>
            </a:r>
            <a:endParaRPr lang="en-US" sz="1800" spc="0">
              <a:solidFill>
                <a:srgbClr val="3C3C41"/>
              </a:solidFill>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E1270890-2142-45E4-9E81-64D59184CEB1}"/>
              </a:ext>
            </a:extLst>
          </p:cNvPr>
          <p:cNvSpPr txBox="1"/>
          <p:nvPr/>
        </p:nvSpPr>
        <p:spPr>
          <a:xfrm>
            <a:off x="5981700" y="3534834"/>
            <a:ext cx="5681133" cy="849463"/>
          </a:xfrm>
          <a:prstGeom prst="rect">
            <a:avLst/>
          </a:prstGeom>
          <a:noFill/>
        </p:spPr>
        <p:txBody>
          <a:bodyPr wrap="square" lIns="182880" tIns="146304" rIns="182880" bIns="146304" rtlCol="0">
            <a:spAutoFit/>
          </a:bodyPr>
          <a:lstStyle/>
          <a:p>
            <a:r>
              <a:rPr lang="en-US" sz="1800">
                <a:latin typeface="Segoe UI" panose="020B0502040204020203" pitchFamily="34" charset="0"/>
                <a:cs typeface="Segoe UI" panose="020B0502040204020203" pitchFamily="34" charset="0"/>
              </a:rPr>
              <a:t>Create a chart that’s just right for your data by using the Recommend Charts command on the Insert tab</a:t>
            </a:r>
          </a:p>
        </p:txBody>
      </p:sp>
    </p:spTree>
    <p:extLst>
      <p:ext uri="{BB962C8B-B14F-4D97-AF65-F5344CB8AC3E}">
        <p14:creationId xmlns:p14="http://schemas.microsoft.com/office/powerpoint/2010/main" val="2955213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a:t>Tips</a:t>
            </a:r>
          </a:p>
        </p:txBody>
      </p:sp>
      <p:graphicFrame>
        <p:nvGraphicFramePr>
          <p:cNvPr id="11" name="Table 11">
            <a:extLst>
              <a:ext uri="{FF2B5EF4-FFF2-40B4-BE49-F238E27FC236}">
                <a16:creationId xmlns:a16="http://schemas.microsoft.com/office/drawing/2014/main" id="{3C4C1771-1F05-4986-B904-ACA4CE58868B}"/>
              </a:ext>
            </a:extLst>
          </p:cNvPr>
          <p:cNvGraphicFramePr>
            <a:graphicFrameLocks noGrp="1"/>
          </p:cNvGraphicFramePr>
          <p:nvPr>
            <p:extLst>
              <p:ext uri="{D42A27DB-BD31-4B8C-83A1-F6EECF244321}">
                <p14:modId xmlns:p14="http://schemas.microsoft.com/office/powerpoint/2010/main" val="2339648252"/>
              </p:ext>
            </p:extLst>
          </p:nvPr>
        </p:nvGraphicFramePr>
        <p:xfrm>
          <a:off x="457200" y="3231118"/>
          <a:ext cx="11277600" cy="2099524"/>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348722">
                <a:tc>
                  <a:txBody>
                    <a:bodyPr/>
                    <a:lstStyle/>
                    <a:p>
                      <a:r>
                        <a:rPr lang="en-US" sz="1800" b="0">
                          <a:solidFill>
                            <a:schemeClr val="bg1"/>
                          </a:solidFill>
                          <a:latin typeface="Segoe UI Semibold" panose="020B0702040204020203" pitchFamily="34" charset="0"/>
                          <a:cs typeface="Segoe UI Semibold" panose="020B0702040204020203" pitchFamily="34" charset="0"/>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panose="020B0702040204020203" pitchFamily="34" charset="0"/>
                          <a:cs typeface="Segoe UI Semibold" panose="020B0702040204020203" pitchFamily="34" charset="0"/>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348722">
                <a:tc>
                  <a:txBody>
                    <a:bodyPr/>
                    <a:lstStyle/>
                    <a:p>
                      <a:r>
                        <a:rPr lang="en-US" sz="1800" kern="1200">
                          <a:solidFill>
                            <a:schemeClr val="dk1"/>
                          </a:solidFill>
                          <a:effectLst/>
                          <a:latin typeface="Segoe UI" panose="020B0502040204020203" pitchFamily="34" charset="0"/>
                          <a:ea typeface="+mn-ea"/>
                          <a:cs typeface="Segoe UI" panose="020B0502040204020203" pitchFamily="34" charset="0"/>
                        </a:rPr>
                        <a:t>Templates provide a starting point for creating new documents. A template can include the styles, formats, and page layouts you use frequently. Consider creating a template if you often use the same page layout and style for documents.</a:t>
                      </a:r>
                    </a:p>
                    <a:p>
                      <a:endParaRPr lang="en-US" sz="1800" kern="1200">
                        <a:solidFill>
                          <a:srgbClr val="000000"/>
                        </a:solidFill>
                        <a:latin typeface="Segoe UI" panose="020B0502040204020203" pitchFamily="34" charset="0"/>
                        <a:ea typeface="+mn-ea"/>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a:latin typeface="Segoe UI" panose="020B0502040204020203" pitchFamily="34" charset="0"/>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grpSp>
        <p:nvGrpSpPr>
          <p:cNvPr id="17" name="Group 55">
            <a:extLst>
              <a:ext uri="{FF2B5EF4-FFF2-40B4-BE49-F238E27FC236}">
                <a16:creationId xmlns:a16="http://schemas.microsoft.com/office/drawing/2014/main" id="{1EB9B882-2FBD-429A-844C-21EE2937EDDA}"/>
              </a:ext>
            </a:extLst>
          </p:cNvPr>
          <p:cNvGrpSpPr/>
          <p:nvPr/>
        </p:nvGrpSpPr>
        <p:grpSpPr>
          <a:xfrm>
            <a:off x="455995" y="1312525"/>
            <a:ext cx="753701" cy="1405275"/>
            <a:chOff x="1002528" y="4091826"/>
            <a:chExt cx="1007246" cy="1878011"/>
          </a:xfrm>
        </p:grpSpPr>
        <p:sp>
          <p:nvSpPr>
            <p:cNvPr id="18" name="Oval 39">
              <a:extLst>
                <a:ext uri="{FF2B5EF4-FFF2-40B4-BE49-F238E27FC236}">
                  <a16:creationId xmlns:a16="http://schemas.microsoft.com/office/drawing/2014/main" id="{200888CB-EFE3-4E72-90DD-A60467D5E76B}"/>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4</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19" name="Group 18">
              <a:extLst>
                <a:ext uri="{FF2B5EF4-FFF2-40B4-BE49-F238E27FC236}">
                  <a16:creationId xmlns:a16="http://schemas.microsoft.com/office/drawing/2014/main" id="{004234C0-94E8-4408-8AD1-914DD82DDD4F}"/>
                </a:ext>
              </a:extLst>
            </p:cNvPr>
            <p:cNvGrpSpPr/>
            <p:nvPr/>
          </p:nvGrpSpPr>
          <p:grpSpPr>
            <a:xfrm>
              <a:off x="1002528" y="4091826"/>
              <a:ext cx="1007246" cy="1878011"/>
              <a:chOff x="2998563" y="3863657"/>
              <a:chExt cx="1007246" cy="1878011"/>
            </a:xfrm>
          </p:grpSpPr>
          <p:sp>
            <p:nvSpPr>
              <p:cNvPr id="20" name="Partial Circle 20">
                <a:extLst>
                  <a:ext uri="{FF2B5EF4-FFF2-40B4-BE49-F238E27FC236}">
                    <a16:creationId xmlns:a16="http://schemas.microsoft.com/office/drawing/2014/main" id="{D84AC744-833F-4BD1-B8B1-B6BD33B9E59A}"/>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7817817B-CE13-42C2-8F76-2EBB4B79D639}"/>
                  </a:ext>
                </a:extLst>
              </p:cNvPr>
              <p:cNvCxnSpPr>
                <a:cxnSpLocks/>
                <a:stCxn id="20"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22" name="Text Placeholder 7">
            <a:extLst>
              <a:ext uri="{FF2B5EF4-FFF2-40B4-BE49-F238E27FC236}">
                <a16:creationId xmlns:a16="http://schemas.microsoft.com/office/drawing/2014/main" id="{AE34A53F-A53F-435E-B248-D9C8D1600D54}"/>
              </a:ext>
            </a:extLst>
          </p:cNvPr>
          <p:cNvSpPr txBox="1">
            <a:spLocks/>
          </p:cNvSpPr>
          <p:nvPr/>
        </p:nvSpPr>
        <p:spPr>
          <a:xfrm>
            <a:off x="1401619" y="1337685"/>
            <a:ext cx="9985663" cy="1426297"/>
          </a:xfrm>
          <a:prstGeom prst="rect">
            <a:avLst/>
          </a:prstGeom>
        </p:spPr>
        <p:txBody>
          <a:bodyPr vert="horz" wrap="square" lIns="0" tIns="91440" rIns="0" bIns="9144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Aft>
                <a:spcPts val="600"/>
              </a:spcAft>
              <a:buSzTx/>
            </a:pPr>
            <a:r>
              <a:rPr lang="en-US" sz="2000" spc="0">
                <a:solidFill>
                  <a:srgbClr val="3C3C41"/>
                </a:solidFill>
                <a:latin typeface="Segoe UI Semibold"/>
                <a:cs typeface="Segoe UI Semibold"/>
              </a:rPr>
              <a:t>Get to the point fast</a:t>
            </a:r>
          </a:p>
          <a:p>
            <a:pPr>
              <a:spcAft>
                <a:spcPts val="600"/>
              </a:spcAft>
              <a:buSzTx/>
            </a:pPr>
            <a:r>
              <a:rPr lang="en-US" sz="1800" spc="0">
                <a:solidFill>
                  <a:srgbClr val="3C3C41"/>
                </a:solidFill>
                <a:latin typeface="Segoe UI"/>
                <a:cs typeface="Segoe UI"/>
              </a:rPr>
              <a:t>Lead with what’s most important. Front-load keywords for scanning. Make customer choices and next steps obvious.</a:t>
            </a:r>
          </a:p>
        </p:txBody>
      </p:sp>
      <p:sp>
        <p:nvSpPr>
          <p:cNvPr id="4" name="TextBox 3">
            <a:extLst>
              <a:ext uri="{FF2B5EF4-FFF2-40B4-BE49-F238E27FC236}">
                <a16:creationId xmlns:a16="http://schemas.microsoft.com/office/drawing/2014/main" id="{962FD306-62AA-4B6C-B1C2-D4A7CDCCCDF1}"/>
              </a:ext>
            </a:extLst>
          </p:cNvPr>
          <p:cNvSpPr txBox="1"/>
          <p:nvPr/>
        </p:nvSpPr>
        <p:spPr>
          <a:xfrm>
            <a:off x="6015566" y="3501279"/>
            <a:ext cx="5689600" cy="1292662"/>
          </a:xfrm>
          <a:prstGeom prst="rect">
            <a:avLst/>
          </a:prstGeom>
          <a:noFill/>
        </p:spPr>
        <p:txBody>
          <a:bodyPr wrap="square" lIns="182880" tIns="146304" rIns="182880" bIns="146304" rtlCol="0">
            <a:spAutoFit/>
          </a:bodyPr>
          <a:lstStyle/>
          <a:p>
            <a:pPr>
              <a:lnSpc>
                <a:spcPct val="90000"/>
              </a:lnSpc>
              <a:spcAft>
                <a:spcPts val="600"/>
              </a:spcAft>
            </a:pPr>
            <a:r>
              <a:rPr lang="en-US" sz="1800"/>
              <a:t>Save time by creating a document template that includes the styles, formats, and page layouts you use most often. Then use the template whenever you create a new document</a:t>
            </a: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6506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a:t>Tips</a:t>
            </a:r>
          </a:p>
        </p:txBody>
      </p:sp>
      <p:graphicFrame>
        <p:nvGraphicFramePr>
          <p:cNvPr id="11" name="Table 11">
            <a:extLst>
              <a:ext uri="{FF2B5EF4-FFF2-40B4-BE49-F238E27FC236}">
                <a16:creationId xmlns:a16="http://schemas.microsoft.com/office/drawing/2014/main" id="{3C4C1771-1F05-4986-B904-ACA4CE58868B}"/>
              </a:ext>
            </a:extLst>
          </p:cNvPr>
          <p:cNvGraphicFramePr>
            <a:graphicFrameLocks noGrp="1"/>
          </p:cNvGraphicFramePr>
          <p:nvPr>
            <p:extLst>
              <p:ext uri="{D42A27DB-BD31-4B8C-83A1-F6EECF244321}">
                <p14:modId xmlns:p14="http://schemas.microsoft.com/office/powerpoint/2010/main" val="1255400006"/>
              </p:ext>
            </p:extLst>
          </p:nvPr>
        </p:nvGraphicFramePr>
        <p:xfrm>
          <a:off x="457200" y="3231118"/>
          <a:ext cx="11277600" cy="1550884"/>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348722">
                <a:tc>
                  <a:txBody>
                    <a:bodyPr/>
                    <a:lstStyle/>
                    <a:p>
                      <a:r>
                        <a:rPr lang="en-US" sz="1800" b="0">
                          <a:solidFill>
                            <a:schemeClr val="bg1"/>
                          </a:solidFill>
                          <a:latin typeface="Segoe UI Semibold" panose="020B0702040204020203" pitchFamily="34" charset="0"/>
                          <a:cs typeface="Segoe UI Semibold" panose="020B0702040204020203" pitchFamily="34" charset="0"/>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panose="020B0702040204020203" pitchFamily="34" charset="0"/>
                          <a:cs typeface="Segoe UI Semibold" panose="020B0702040204020203" pitchFamily="34" charset="0"/>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348722">
                <a:tc>
                  <a:txBody>
                    <a:bodyPr/>
                    <a:lstStyle/>
                    <a:p>
                      <a:r>
                        <a:rPr lang="en-US" sz="1800" kern="1200">
                          <a:solidFill>
                            <a:schemeClr val="dk1"/>
                          </a:solidFill>
                          <a:effectLst/>
                          <a:latin typeface="Segoe UI" panose="020B0502040204020203" pitchFamily="34" charset="0"/>
                          <a:ea typeface="+mn-ea"/>
                          <a:cs typeface="Segoe UI" panose="020B0502040204020203" pitchFamily="34" charset="0"/>
                        </a:rPr>
                        <a:t>To help you avoid traffic, remember anniversaries, and in general do more, Cortana needs to know what you are interested in, what is on your calendar, and who you are doing things with</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a:latin typeface="Segoe UI" panose="020B0502040204020203" pitchFamily="34" charset="0"/>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grpSp>
        <p:nvGrpSpPr>
          <p:cNvPr id="17" name="Group 55">
            <a:extLst>
              <a:ext uri="{FF2B5EF4-FFF2-40B4-BE49-F238E27FC236}">
                <a16:creationId xmlns:a16="http://schemas.microsoft.com/office/drawing/2014/main" id="{BEF502C6-BF65-4C3A-9052-FC4928663EDC}"/>
              </a:ext>
            </a:extLst>
          </p:cNvPr>
          <p:cNvGrpSpPr/>
          <p:nvPr/>
        </p:nvGrpSpPr>
        <p:grpSpPr>
          <a:xfrm>
            <a:off x="455995" y="1312525"/>
            <a:ext cx="753701" cy="1405275"/>
            <a:chOff x="1002528" y="4091826"/>
            <a:chExt cx="1007246" cy="1878011"/>
          </a:xfrm>
        </p:grpSpPr>
        <p:sp>
          <p:nvSpPr>
            <p:cNvPr id="18" name="Oval 39">
              <a:extLst>
                <a:ext uri="{FF2B5EF4-FFF2-40B4-BE49-F238E27FC236}">
                  <a16:creationId xmlns:a16="http://schemas.microsoft.com/office/drawing/2014/main" id="{CAFB67DB-485D-4572-B812-5E79833A7B50}"/>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5</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19" name="Group 18">
              <a:extLst>
                <a:ext uri="{FF2B5EF4-FFF2-40B4-BE49-F238E27FC236}">
                  <a16:creationId xmlns:a16="http://schemas.microsoft.com/office/drawing/2014/main" id="{30F2167D-A867-4E0A-B042-5D04A212EBC6}"/>
                </a:ext>
              </a:extLst>
            </p:cNvPr>
            <p:cNvGrpSpPr/>
            <p:nvPr/>
          </p:nvGrpSpPr>
          <p:grpSpPr>
            <a:xfrm>
              <a:off x="1002528" y="4091826"/>
              <a:ext cx="1007246" cy="1878011"/>
              <a:chOff x="2998563" y="3863657"/>
              <a:chExt cx="1007246" cy="1878011"/>
            </a:xfrm>
          </p:grpSpPr>
          <p:sp>
            <p:nvSpPr>
              <p:cNvPr id="20" name="Partial Circle 20">
                <a:extLst>
                  <a:ext uri="{FF2B5EF4-FFF2-40B4-BE49-F238E27FC236}">
                    <a16:creationId xmlns:a16="http://schemas.microsoft.com/office/drawing/2014/main" id="{D561B385-D0C4-47A9-87AB-7C7AF7BE90DE}"/>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23EEA0E7-CD77-440C-A1D2-82E4CAF29AAB}"/>
                  </a:ext>
                </a:extLst>
              </p:cNvPr>
              <p:cNvCxnSpPr>
                <a:cxnSpLocks/>
                <a:stCxn id="20"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22" name="Text Placeholder 7">
            <a:extLst>
              <a:ext uri="{FF2B5EF4-FFF2-40B4-BE49-F238E27FC236}">
                <a16:creationId xmlns:a16="http://schemas.microsoft.com/office/drawing/2014/main" id="{AD93C244-E9AB-4784-90A7-D328E0FC6B5D}"/>
              </a:ext>
            </a:extLst>
          </p:cNvPr>
          <p:cNvSpPr txBox="1">
            <a:spLocks/>
          </p:cNvSpPr>
          <p:nvPr/>
        </p:nvSpPr>
        <p:spPr>
          <a:xfrm>
            <a:off x="1401619" y="1337685"/>
            <a:ext cx="9985663" cy="1426297"/>
          </a:xfrm>
          <a:prstGeom prst="rect">
            <a:avLst/>
          </a:prstGeom>
        </p:spPr>
        <p:txBody>
          <a:bodyPr vert="horz" wrap="square" lIns="0" tIns="91440" rIns="0" bIns="9144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Aft>
                <a:spcPts val="600"/>
              </a:spcAft>
              <a:buSzTx/>
            </a:pPr>
            <a:r>
              <a:rPr lang="en-US" sz="2000" spc="0">
                <a:solidFill>
                  <a:srgbClr val="3C3C41"/>
                </a:solidFill>
                <a:latin typeface="Segoe UI Semibold"/>
                <a:cs typeface="Segoe UI Semibold"/>
              </a:rPr>
              <a:t>Project friendliness</a:t>
            </a:r>
          </a:p>
          <a:p>
            <a:pPr>
              <a:spcAft>
                <a:spcPts val="600"/>
              </a:spcAft>
              <a:buSzTx/>
            </a:pPr>
            <a:r>
              <a:rPr lang="en-US" sz="1800" spc="0">
                <a:solidFill>
                  <a:srgbClr val="3C3C41"/>
                </a:solidFill>
                <a:latin typeface="Segoe UI"/>
                <a:cs typeface="Segoe UI"/>
              </a:rPr>
              <a:t>Use contractions: </a:t>
            </a:r>
            <a:r>
              <a:rPr lang="en-US" sz="1800" i="1" spc="0">
                <a:solidFill>
                  <a:srgbClr val="3C3C41"/>
                </a:solidFill>
                <a:latin typeface="Segoe UI"/>
                <a:cs typeface="Segoe UI"/>
              </a:rPr>
              <a:t>It’s, you’ll, you’re, we’re, let’s. . . </a:t>
            </a:r>
            <a:endParaRPr lang="en-US" sz="1800" i="1" spc="0">
              <a:solidFill>
                <a:srgbClr val="3C3C41"/>
              </a:solidFill>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1D6E4553-E655-4EED-9ECB-9C61A013BE94}"/>
              </a:ext>
            </a:extLst>
          </p:cNvPr>
          <p:cNvSpPr txBox="1"/>
          <p:nvPr/>
        </p:nvSpPr>
        <p:spPr>
          <a:xfrm>
            <a:off x="5973235" y="3526367"/>
            <a:ext cx="5359400" cy="1292662"/>
          </a:xfrm>
          <a:prstGeom prst="rect">
            <a:avLst/>
          </a:prstGeom>
          <a:noFill/>
        </p:spPr>
        <p:txBody>
          <a:bodyPr wrap="square" lIns="182880" tIns="146304" rIns="182880" bIns="146304" rtlCol="0">
            <a:spAutoFit/>
          </a:bodyPr>
          <a:lstStyle/>
          <a:p>
            <a:pPr>
              <a:lnSpc>
                <a:spcPct val="90000"/>
              </a:lnSpc>
              <a:spcAft>
                <a:spcPts val="600"/>
              </a:spcAft>
            </a:pPr>
            <a:r>
              <a:rPr lang="en-US" sz="1800">
                <a:cs typeface="Segoe UI"/>
              </a:rPr>
              <a:t>To help you avoid traffic, remember anniversaries, and in general do more, Cortana needs to know what you</a:t>
            </a:r>
            <a:r>
              <a:rPr lang="en-US" sz="1800" b="1">
                <a:solidFill>
                  <a:schemeClr val="tx2"/>
                </a:solidFill>
                <a:cs typeface="Segoe UI"/>
              </a:rPr>
              <a:t>’re</a:t>
            </a:r>
            <a:r>
              <a:rPr lang="en-US" sz="1800">
                <a:cs typeface="Segoe UI"/>
              </a:rPr>
              <a:t> interested in, what</a:t>
            </a:r>
            <a:r>
              <a:rPr lang="en-US" sz="1800" b="1">
                <a:solidFill>
                  <a:schemeClr val="tx2"/>
                </a:solidFill>
                <a:cs typeface="Segoe UI"/>
              </a:rPr>
              <a:t>’s</a:t>
            </a:r>
            <a:r>
              <a:rPr lang="en-US" sz="1800" b="1">
                <a:cs typeface="Segoe UI"/>
              </a:rPr>
              <a:t> </a:t>
            </a:r>
            <a:r>
              <a:rPr lang="en-US" sz="1800">
                <a:cs typeface="Segoe UI"/>
              </a:rPr>
              <a:t>on your calendar, and who you</a:t>
            </a:r>
            <a:r>
              <a:rPr lang="en-US" sz="1800" b="1">
                <a:solidFill>
                  <a:schemeClr val="tx2"/>
                </a:solidFill>
                <a:cs typeface="Segoe UI"/>
              </a:rPr>
              <a:t>’re</a:t>
            </a:r>
            <a:r>
              <a:rPr lang="en-US" sz="1800" b="1">
                <a:cs typeface="Segoe UI"/>
              </a:rPr>
              <a:t> </a:t>
            </a:r>
            <a:r>
              <a:rPr lang="en-US" sz="1800">
                <a:cs typeface="Segoe UI"/>
              </a:rPr>
              <a:t>doing things with</a:t>
            </a:r>
            <a:endParaRPr lang="en-US" sz="1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27062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33601E-CE33-4C3C-B3C8-5423026D7349}"/>
              </a:ext>
            </a:extLst>
          </p:cNvPr>
          <p:cNvSpPr>
            <a:spLocks noGrp="1"/>
          </p:cNvSpPr>
          <p:nvPr>
            <p:ph type="title"/>
          </p:nvPr>
        </p:nvSpPr>
        <p:spPr/>
        <p:txBody>
          <a:bodyPr/>
          <a:lstStyle/>
          <a:p>
            <a:r>
              <a:rPr lang="en-US" sz="4400">
                <a:ea typeface="+mj-lt"/>
                <a:cs typeface="+mj-lt"/>
              </a:rPr>
              <a:t>Analytics, monitoring and VA performance improvements</a:t>
            </a:r>
          </a:p>
        </p:txBody>
      </p:sp>
    </p:spTree>
    <p:extLst>
      <p:ext uri="{BB962C8B-B14F-4D97-AF65-F5344CB8AC3E}">
        <p14:creationId xmlns:p14="http://schemas.microsoft.com/office/powerpoint/2010/main" val="42873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4088451036"/>
              </p:ext>
            </p:extLst>
          </p:nvPr>
        </p:nvGraphicFramePr>
        <p:xfrm>
          <a:off x="593294" y="1231665"/>
          <a:ext cx="10819654" cy="4894810"/>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718836">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b="0" kern="1200">
                          <a:solidFill>
                            <a:schemeClr val="tx1">
                              <a:lumMod val="50000"/>
                            </a:schemeClr>
                          </a:solidFill>
                        </a:rPr>
                        <a:t>1</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b="0" kern="1200">
                          <a:solidFill>
                            <a:schemeClr val="tx1">
                              <a:lumMod val="50000"/>
                            </a:schemeClr>
                          </a:solidFill>
                        </a:rPr>
                        <a:t>Introductions and pre-requisite</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b="0" kern="1200">
                          <a:solidFill>
                            <a:schemeClr val="tx1">
                              <a:lumMod val="50000"/>
                            </a:schemeClr>
                          </a:solidFill>
                        </a:rPr>
                        <a:t>60 minutes</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chemeClr val="tx1">
                              <a:lumMod val="50000"/>
                            </a:schemeClr>
                          </a:solidFill>
                        </a:rPr>
                        <a:t>4</a:t>
                      </a:r>
                    </a:p>
                  </a:txBody>
                  <a:tcPr marL="18180" marR="10908" marT="10908" marB="10908" anchor="ctr">
                    <a:solidFill>
                      <a:srgbClr val="FFFFFF"/>
                    </a:solidFill>
                  </a:tcPr>
                </a:tc>
                <a:tc>
                  <a:txBody>
                    <a:bodyPr/>
                    <a:lstStyle/>
                    <a:p>
                      <a:r>
                        <a:rPr lang="en-US" sz="1100" b="0">
                          <a:solidFill>
                            <a:schemeClr val="tx1">
                              <a:lumMod val="50000"/>
                            </a:schemeClr>
                          </a:solidFill>
                        </a:rPr>
                        <a:t>Improve your virtual agent using entities, variables and topic redirects</a:t>
                      </a:r>
                    </a:p>
                  </a:txBody>
                  <a:tcPr marL="18180" marR="10908" marT="10908" marB="10908" anchor="ctr">
                    <a:solidFill>
                      <a:srgbClr val="FFFFFF"/>
                    </a:solidFill>
                  </a:tcPr>
                </a:tc>
                <a:tc>
                  <a:txBody>
                    <a:bodyPr/>
                    <a:lstStyle/>
                    <a:p>
                      <a:r>
                        <a:rPr lang="en-US" sz="1100" b="0">
                          <a:solidFill>
                            <a:schemeClr val="tx1">
                              <a:lumMod val="50000"/>
                            </a:schemeClr>
                          </a:solidFill>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b="0">
                          <a:solidFill>
                            <a:schemeClr val="tx1">
                              <a:lumMod val="50000"/>
                            </a:schemeClr>
                          </a:solidFill>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solidFill>
                            <a:schemeClr val="tx1">
                              <a:lumMod val="50000"/>
                            </a:schemeClr>
                          </a:solidFill>
                        </a:rPr>
                        <a:t>Integrate with prebuilt Power Automate flows</a:t>
                      </a:r>
                    </a:p>
                  </a:txBody>
                  <a:tcPr marL="18180" marR="10908" marT="10908" marB="10908" anchor="ctr">
                    <a:solidFill>
                      <a:srgbClr val="FBFBFB"/>
                    </a:solidFill>
                  </a:tcPr>
                </a:tc>
                <a:tc>
                  <a:txBody>
                    <a:bodyPr/>
                    <a:lstStyle/>
                    <a:p>
                      <a:r>
                        <a:rPr lang="en-US" sz="1100" b="0">
                          <a:solidFill>
                            <a:schemeClr val="tx1">
                              <a:lumMod val="50000"/>
                            </a:schemeClr>
                          </a:solidFill>
                        </a:rPr>
                        <a:t>30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Authentication – no lab </a:t>
                      </a:r>
                      <a:endParaRPr lang="en-US" sz="1100" dirty="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chemeClr val="tx1">
                              <a:lumMod val="50000"/>
                            </a:schemeClr>
                          </a:solidFill>
                        </a:rPr>
                        <a:t>9</a:t>
                      </a:r>
                    </a:p>
                  </a:txBody>
                  <a:tcPr marL="18180" marR="10908" marT="10908" marB="10908" anchor="ctr">
                    <a:solidFill>
                      <a:srgbClr val="FBFBFB"/>
                    </a:solidFill>
                  </a:tcPr>
                </a:tc>
                <a:tc>
                  <a:txBody>
                    <a:bodyPr/>
                    <a:lstStyle/>
                    <a:p>
                      <a:r>
                        <a:rPr lang="en-US" sz="1100" b="0">
                          <a:solidFill>
                            <a:schemeClr val="tx1">
                              <a:lumMod val="50000"/>
                            </a:schemeClr>
                          </a:solidFill>
                        </a:rPr>
                        <a:t>Best practices for writing topic trigger phrases</a:t>
                      </a:r>
                    </a:p>
                  </a:txBody>
                  <a:tcPr marL="18180" marR="10908" marT="10908" marB="10908" anchor="ctr">
                    <a:solidFill>
                      <a:srgbClr val="FBFBFB"/>
                    </a:solidFill>
                  </a:tcPr>
                </a:tc>
                <a:tc>
                  <a:txBody>
                    <a:bodyPr/>
                    <a:lstStyle/>
                    <a:p>
                      <a:r>
                        <a:rPr lang="en-US" sz="1100" b="0">
                          <a:solidFill>
                            <a:schemeClr val="tx1">
                              <a:lumMod val="50000"/>
                            </a:schemeClr>
                          </a:solidFill>
                        </a:rPr>
                        <a:t>20 minutes</a:t>
                      </a:r>
                    </a:p>
                  </a:txBody>
                  <a:tcPr marL="18180" marR="10908" marT="10908" marB="10908" anchor="ctr">
                    <a:solidFill>
                      <a:srgbClr val="FBFBFB"/>
                    </a:solidFill>
                  </a:tcPr>
                </a:tc>
                <a:extLst>
                  <a:ext uri="{0D108BD9-81ED-4DB2-BD59-A6C34878D82A}">
                    <a16:rowId xmlns:a16="http://schemas.microsoft.com/office/drawing/2014/main" val="364936603"/>
                  </a:ext>
                </a:extLst>
              </a:tr>
              <a:tr h="346586">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10</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Virtual agent conversation style</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20 minutes</a:t>
                      </a:r>
                    </a:p>
                  </a:txBody>
                  <a:tcPr marL="18180" marR="10908" marT="10908" marB="10908" anchor="ctr">
                    <a:solidFill>
                      <a:srgbClr val="FFFFFF"/>
                    </a:solidFill>
                  </a:tcPr>
                </a:tc>
                <a:extLst>
                  <a:ext uri="{0D108BD9-81ED-4DB2-BD59-A6C34878D82A}">
                    <a16:rowId xmlns:a16="http://schemas.microsoft.com/office/drawing/2014/main" val="1484092132"/>
                  </a:ext>
                </a:extLst>
              </a:tr>
              <a:tr h="355600">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a:solidFill>
                            <a:schemeClr val="bg1"/>
                          </a:solidFill>
                        </a:rPr>
                        <a:t>11</a:t>
                      </a: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rPr>
                        <a:t>Analytics, monitoring and VA performance improvement</a:t>
                      </a:r>
                    </a:p>
                  </a:txBody>
                  <a:tcPr marL="18180" marR="10908" marT="10908" marB="10908" anchor="ctr">
                    <a:solidFill>
                      <a:srgbClr val="0B556A"/>
                    </a:solidFill>
                  </a:tcPr>
                </a:tc>
                <a:tc>
                  <a:txBody>
                    <a:bodyPr/>
                    <a:lstStyle/>
                    <a:p>
                      <a:r>
                        <a:rPr lang="en-US" sz="1100" b="1">
                          <a:solidFill>
                            <a:schemeClr val="bg1"/>
                          </a:solidFill>
                        </a:rPr>
                        <a:t>20 minutes</a:t>
                      </a:r>
                    </a:p>
                  </a:txBody>
                  <a:tcPr marL="18180" marR="10908" marT="10908" marB="10908" anchor="ctr">
                    <a:solidFill>
                      <a:srgbClr val="0B556A"/>
                    </a:solidFill>
                  </a:tcPr>
                </a:tc>
                <a:extLst>
                  <a:ext uri="{0D108BD9-81ED-4DB2-BD59-A6C34878D82A}">
                    <a16:rowId xmlns:a16="http://schemas.microsoft.com/office/drawing/2014/main" val="3801022512"/>
                  </a:ext>
                </a:extLst>
              </a:tr>
              <a:tr h="125065">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320951966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5995" y="620428"/>
            <a:ext cx="11306469" cy="492443"/>
          </a:xfrm>
        </p:spPr>
        <p:txBody>
          <a:bodyPr/>
          <a:lstStyle/>
          <a:p>
            <a:pPr lvl="0"/>
            <a:r>
              <a:rPr lang="en-US"/>
              <a:t>Understanding the Analytics dashboard</a:t>
            </a:r>
          </a:p>
        </p:txBody>
      </p:sp>
      <p:sp>
        <p:nvSpPr>
          <p:cNvPr id="9" name="Freeform: Shape 8">
            <a:extLst>
              <a:ext uri="{FF2B5EF4-FFF2-40B4-BE49-F238E27FC236}">
                <a16:creationId xmlns:a16="http://schemas.microsoft.com/office/drawing/2014/main" id="{E9CB38B5-2F14-4185-A1D4-27FD393FBB08}"/>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C94893D2-AC1C-4084-8741-7AB0DE0EC0AA}"/>
              </a:ext>
            </a:extLst>
          </p:cNvPr>
          <p:cNvGrpSpPr/>
          <p:nvPr/>
        </p:nvGrpSpPr>
        <p:grpSpPr>
          <a:xfrm>
            <a:off x="458201" y="1615061"/>
            <a:ext cx="6608900" cy="4699791"/>
            <a:chOff x="458201" y="1615061"/>
            <a:chExt cx="6608900" cy="4699791"/>
          </a:xfrm>
        </p:grpSpPr>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615061"/>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GAIN VISIBILITY OF MANY PARAMETERS</a:t>
              </a:r>
            </a:p>
          </p:txBody>
        </p:sp>
        <p:grpSp>
          <p:nvGrpSpPr>
            <p:cNvPr id="2" name="Group 1">
              <a:extLst>
                <a:ext uri="{FF2B5EF4-FFF2-40B4-BE49-F238E27FC236}">
                  <a16:creationId xmlns:a16="http://schemas.microsoft.com/office/drawing/2014/main" id="{61082C43-0B21-4946-B115-BC4AD3C22F12}"/>
                </a:ext>
              </a:extLst>
            </p:cNvPr>
            <p:cNvGrpSpPr/>
            <p:nvPr/>
          </p:nvGrpSpPr>
          <p:grpSpPr>
            <a:xfrm>
              <a:off x="559239" y="2357487"/>
              <a:ext cx="6507862" cy="3957365"/>
              <a:chOff x="559239" y="2357487"/>
              <a:chExt cx="6507862" cy="3957365"/>
            </a:xfrm>
          </p:grpSpPr>
          <p:cxnSp>
            <p:nvCxnSpPr>
              <p:cNvPr id="11" name="Straight Connector 10">
                <a:extLst>
                  <a:ext uri="{FF2B5EF4-FFF2-40B4-BE49-F238E27FC236}">
                    <a16:creationId xmlns:a16="http://schemas.microsoft.com/office/drawing/2014/main" id="{89E695A0-D927-4F8D-B4E6-6AC90E8A0DB9}"/>
                  </a:ext>
                </a:extLst>
              </p:cNvPr>
              <p:cNvCxnSpPr/>
              <p:nvPr/>
            </p:nvCxnSpPr>
            <p:spPr>
              <a:xfrm>
                <a:off x="1375928" y="293720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98349D-DD37-4A7B-8E5E-B1CBEBF97E2C}"/>
                  </a:ext>
                </a:extLst>
              </p:cNvPr>
              <p:cNvCxnSpPr/>
              <p:nvPr/>
            </p:nvCxnSpPr>
            <p:spPr>
              <a:xfrm>
                <a:off x="1375928" y="505165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CEFB23E-9F08-4593-B87A-E4B9D4C76E74}"/>
                  </a:ext>
                </a:extLst>
              </p:cNvPr>
              <p:cNvSpPr/>
              <p:nvPr/>
            </p:nvSpPr>
            <p:spPr>
              <a:xfrm>
                <a:off x="1375928" y="2456095"/>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2" name="Rectangle 31">
                <a:extLst>
                  <a:ext uri="{FF2B5EF4-FFF2-40B4-BE49-F238E27FC236}">
                    <a16:creationId xmlns:a16="http://schemas.microsoft.com/office/drawing/2014/main" id="{84056FA8-DFA1-4EE5-840B-41BC090A9782}"/>
                  </a:ext>
                </a:extLst>
              </p:cNvPr>
              <p:cNvSpPr/>
              <p:nvPr/>
            </p:nvSpPr>
            <p:spPr>
              <a:xfrm>
                <a:off x="1375928" y="316091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3" name="Rectangle 32">
                <a:extLst>
                  <a:ext uri="{FF2B5EF4-FFF2-40B4-BE49-F238E27FC236}">
                    <a16:creationId xmlns:a16="http://schemas.microsoft.com/office/drawing/2014/main" id="{E62723C3-C035-4525-ADDB-4218617B17F0}"/>
                  </a:ext>
                </a:extLst>
              </p:cNvPr>
              <p:cNvSpPr/>
              <p:nvPr/>
            </p:nvSpPr>
            <p:spPr>
              <a:xfrm>
                <a:off x="1375928" y="3865727"/>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4" name="Rectangle 33">
                <a:extLst>
                  <a:ext uri="{FF2B5EF4-FFF2-40B4-BE49-F238E27FC236}">
                    <a16:creationId xmlns:a16="http://schemas.microsoft.com/office/drawing/2014/main" id="{E5BD09C3-C264-4CA5-8191-92C4EE931A0C}"/>
                  </a:ext>
                </a:extLst>
              </p:cNvPr>
              <p:cNvSpPr/>
              <p:nvPr/>
            </p:nvSpPr>
            <p:spPr>
              <a:xfrm>
                <a:off x="1375928" y="457054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5" name="Rectangle 34">
                <a:extLst>
                  <a:ext uri="{FF2B5EF4-FFF2-40B4-BE49-F238E27FC236}">
                    <a16:creationId xmlns:a16="http://schemas.microsoft.com/office/drawing/2014/main" id="{20DFFE58-ADE3-4C25-89A6-7FDF99470B69}"/>
                  </a:ext>
                </a:extLst>
              </p:cNvPr>
              <p:cNvSpPr/>
              <p:nvPr/>
            </p:nvSpPr>
            <p:spPr>
              <a:xfrm>
                <a:off x="1375928" y="527535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6" name="Rectangle 35">
                <a:extLst>
                  <a:ext uri="{FF2B5EF4-FFF2-40B4-BE49-F238E27FC236}">
                    <a16:creationId xmlns:a16="http://schemas.microsoft.com/office/drawing/2014/main" id="{F2A0F23D-9646-4900-8FE4-C8BFF3BED53B}"/>
                  </a:ext>
                </a:extLst>
              </p:cNvPr>
              <p:cNvSpPr/>
              <p:nvPr/>
            </p:nvSpPr>
            <p:spPr>
              <a:xfrm>
                <a:off x="1375928" y="5980172"/>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8">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39" name="Straight Connector 38">
                <a:extLst>
                  <a:ext uri="{FF2B5EF4-FFF2-40B4-BE49-F238E27FC236}">
                    <a16:creationId xmlns:a16="http://schemas.microsoft.com/office/drawing/2014/main" id="{8ECBEFD6-9789-4A21-A0FC-9FBF3F46AB02}"/>
                  </a:ext>
                </a:extLst>
              </p:cNvPr>
              <p:cNvCxnSpPr/>
              <p:nvPr/>
            </p:nvCxnSpPr>
            <p:spPr>
              <a:xfrm>
                <a:off x="1375928" y="364201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0E98E4-EB1E-4391-9B75-E68DBA672E9E}"/>
                  </a:ext>
                </a:extLst>
              </p:cNvPr>
              <p:cNvCxnSpPr/>
              <p:nvPr/>
            </p:nvCxnSpPr>
            <p:spPr>
              <a:xfrm>
                <a:off x="1375928" y="434683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386ED6-D496-4C8A-90FC-41DCA7010A07}"/>
                  </a:ext>
                </a:extLst>
              </p:cNvPr>
              <p:cNvCxnSpPr/>
              <p:nvPr/>
            </p:nvCxnSpPr>
            <p:spPr>
              <a:xfrm>
                <a:off x="1375928" y="57564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D3B15695-F59F-4466-99EF-334768CD9011}"/>
                  </a:ext>
                </a:extLst>
              </p:cNvPr>
              <p:cNvGrpSpPr/>
              <p:nvPr/>
            </p:nvGrpSpPr>
            <p:grpSpPr>
              <a:xfrm>
                <a:off x="612842" y="2357487"/>
                <a:ext cx="397790" cy="454616"/>
                <a:chOff x="8423539" y="3350841"/>
                <a:chExt cx="266700" cy="304800"/>
              </a:xfrm>
            </p:grpSpPr>
            <p:sp>
              <p:nvSpPr>
                <p:cNvPr id="43" name="Freeform: Shape 42">
                  <a:extLst>
                    <a:ext uri="{FF2B5EF4-FFF2-40B4-BE49-F238E27FC236}">
                      <a16:creationId xmlns:a16="http://schemas.microsoft.com/office/drawing/2014/main" id="{79E200E9-DEF7-4208-AD4E-FE06DAD44B0A}"/>
                    </a:ext>
                  </a:extLst>
                </p:cNvPr>
                <p:cNvSpPr/>
                <p:nvPr/>
              </p:nvSpPr>
              <p:spPr>
                <a:xfrm>
                  <a:off x="8423539" y="3350841"/>
                  <a:ext cx="266700" cy="304800"/>
                </a:xfrm>
                <a:custGeom>
                  <a:avLst/>
                  <a:gdLst>
                    <a:gd name="connsiteX0" fmla="*/ 7355 w 266700"/>
                    <a:gd name="connsiteY0" fmla="*/ 7355 h 304800"/>
                    <a:gd name="connsiteX1" fmla="*/ 268340 w 266700"/>
                    <a:gd name="connsiteY1" fmla="*/ 7355 h 304800"/>
                    <a:gd name="connsiteX2" fmla="*/ 268340 w 266700"/>
                    <a:gd name="connsiteY2" fmla="*/ 304535 h 304800"/>
                    <a:gd name="connsiteX3" fmla="*/ 7355 w 266700"/>
                    <a:gd name="connsiteY3" fmla="*/ 304535 h 304800"/>
                  </a:gdLst>
                  <a:ahLst/>
                  <a:cxnLst>
                    <a:cxn ang="0">
                      <a:pos x="connsiteX0" y="connsiteY0"/>
                    </a:cxn>
                    <a:cxn ang="0">
                      <a:pos x="connsiteX1" y="connsiteY1"/>
                    </a:cxn>
                    <a:cxn ang="0">
                      <a:pos x="connsiteX2" y="connsiteY2"/>
                    </a:cxn>
                    <a:cxn ang="0">
                      <a:pos x="connsiteX3" y="connsiteY3"/>
                    </a:cxn>
                  </a:cxnLst>
                  <a:rect l="l" t="t" r="r" b="b"/>
                  <a:pathLst>
                    <a:path w="266700" h="304800">
                      <a:moveTo>
                        <a:pt x="7355" y="7355"/>
                      </a:moveTo>
                      <a:lnTo>
                        <a:pt x="268340" y="7355"/>
                      </a:lnTo>
                      <a:lnTo>
                        <a:pt x="268340" y="304535"/>
                      </a:lnTo>
                      <a:lnTo>
                        <a:pt x="7355" y="304535"/>
                      </a:lnTo>
                      <a:close/>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3AB3787-9752-46B2-90BB-8BD2380F99AF}"/>
                    </a:ext>
                  </a:extLst>
                </p:cNvPr>
                <p:cNvSpPr/>
                <p:nvPr/>
              </p:nvSpPr>
              <p:spPr>
                <a:xfrm>
                  <a:off x="8454971" y="3392751"/>
                  <a:ext cx="209550" cy="219075"/>
                </a:xfrm>
                <a:custGeom>
                  <a:avLst/>
                  <a:gdLst>
                    <a:gd name="connsiteX0" fmla="*/ 48313 w 209550"/>
                    <a:gd name="connsiteY0" fmla="*/ 7355 h 219075"/>
                    <a:gd name="connsiteX1" fmla="*/ 164518 w 209550"/>
                    <a:gd name="connsiteY1" fmla="*/ 7355 h 219075"/>
                    <a:gd name="connsiteX2" fmla="*/ 7355 w 209550"/>
                    <a:gd name="connsiteY2" fmla="*/ 41645 h 219075"/>
                    <a:gd name="connsiteX3" fmla="*/ 204523 w 209550"/>
                    <a:gd name="connsiteY3" fmla="*/ 41645 h 219075"/>
                    <a:gd name="connsiteX4" fmla="*/ 7355 w 209550"/>
                    <a:gd name="connsiteY4" fmla="*/ 76888 h 219075"/>
                    <a:gd name="connsiteX5" fmla="*/ 204523 w 209550"/>
                    <a:gd name="connsiteY5" fmla="*/ 76888 h 219075"/>
                    <a:gd name="connsiteX6" fmla="*/ 7355 w 209550"/>
                    <a:gd name="connsiteY6" fmla="*/ 111178 h 219075"/>
                    <a:gd name="connsiteX7" fmla="*/ 204523 w 209550"/>
                    <a:gd name="connsiteY7" fmla="*/ 111178 h 219075"/>
                    <a:gd name="connsiteX8" fmla="*/ 7355 w 209550"/>
                    <a:gd name="connsiteY8" fmla="*/ 146420 h 219075"/>
                    <a:gd name="connsiteX9" fmla="*/ 204523 w 209550"/>
                    <a:gd name="connsiteY9" fmla="*/ 146420 h 219075"/>
                    <a:gd name="connsiteX10" fmla="*/ 7355 w 209550"/>
                    <a:gd name="connsiteY10" fmla="*/ 180710 h 219075"/>
                    <a:gd name="connsiteX11" fmla="*/ 204523 w 209550"/>
                    <a:gd name="connsiteY11" fmla="*/ 180710 h 219075"/>
                    <a:gd name="connsiteX12" fmla="*/ 7355 w 209550"/>
                    <a:gd name="connsiteY12" fmla="*/ 215953 h 219075"/>
                    <a:gd name="connsiteX13" fmla="*/ 204523 w 209550"/>
                    <a:gd name="connsiteY13" fmla="*/ 21595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50" h="219075">
                      <a:moveTo>
                        <a:pt x="48313" y="7355"/>
                      </a:moveTo>
                      <a:lnTo>
                        <a:pt x="164518" y="7355"/>
                      </a:lnTo>
                      <a:moveTo>
                        <a:pt x="7355" y="41645"/>
                      </a:moveTo>
                      <a:lnTo>
                        <a:pt x="204523" y="41645"/>
                      </a:lnTo>
                      <a:moveTo>
                        <a:pt x="7355" y="76888"/>
                      </a:moveTo>
                      <a:lnTo>
                        <a:pt x="204523" y="76888"/>
                      </a:lnTo>
                      <a:moveTo>
                        <a:pt x="7355" y="111178"/>
                      </a:moveTo>
                      <a:lnTo>
                        <a:pt x="204523" y="111178"/>
                      </a:lnTo>
                      <a:moveTo>
                        <a:pt x="7355" y="146420"/>
                      </a:moveTo>
                      <a:lnTo>
                        <a:pt x="204523" y="146420"/>
                      </a:lnTo>
                      <a:moveTo>
                        <a:pt x="7355" y="180710"/>
                      </a:moveTo>
                      <a:lnTo>
                        <a:pt x="204523" y="180710"/>
                      </a:lnTo>
                      <a:moveTo>
                        <a:pt x="7355" y="215953"/>
                      </a:moveTo>
                      <a:lnTo>
                        <a:pt x="204523" y="215953"/>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120390"/>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808303"/>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28582"/>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221180"/>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902892"/>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6FCC29A-D0C2-4CA0-83DB-1FAEDCD7C90D}"/>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a social media post&#10;&#10;Description automatically generated">
              <a:extLst>
                <a:ext uri="{FF2B5EF4-FFF2-40B4-BE49-F238E27FC236}">
                  <a16:creationId xmlns:a16="http://schemas.microsoft.com/office/drawing/2014/main" id="{B56160B8-5667-4173-8CF9-373B65441819}"/>
                </a:ext>
              </a:extLst>
            </p:cNvPr>
            <p:cNvPicPr>
              <a:picLocks noChangeAspect="1"/>
            </p:cNvPicPr>
            <p:nvPr/>
          </p:nvPicPr>
          <p:blipFill rotWithShape="1">
            <a:blip r:embed="rId9"/>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421503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path" presetSubtype="0" decel="100000" fill="hold" nodeType="withEffect">
                                  <p:stCondLst>
                                    <p:cond delay="0"/>
                                  </p:stCondLst>
                                  <p:childTnLst>
                                    <p:animMotion origin="layout" path="M -3.75E-6 1.11111E-6 L -0.0345 -0.00093 " pathEditMode="relative" rAng="0" ptsTypes="AA">
                                      <p:cBhvr>
                                        <p:cTn id="17"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a:t>Monitor the ‘Session outcomes over time’ chart for trend changes</a:t>
            </a:r>
          </a:p>
        </p:txBody>
      </p:sp>
      <p:pic>
        <p:nvPicPr>
          <p:cNvPr id="7" name="Content Placeholder 8">
            <a:extLst>
              <a:ext uri="{FF2B5EF4-FFF2-40B4-BE49-F238E27FC236}">
                <a16:creationId xmlns:a16="http://schemas.microsoft.com/office/drawing/2014/main" id="{83008DB2-970E-43ED-91D0-0DB4431CE509}"/>
              </a:ext>
            </a:extLst>
          </p:cNvPr>
          <p:cNvPicPr>
            <a:picLocks noChangeAspect="1"/>
          </p:cNvPicPr>
          <p:nvPr/>
        </p:nvPicPr>
        <p:blipFill rotWithShape="1">
          <a:blip r:embed="rId2"/>
          <a:srcRect t="4628" b="24746"/>
          <a:stretch/>
        </p:blipFill>
        <p:spPr>
          <a:xfrm>
            <a:off x="928246" y="2076928"/>
            <a:ext cx="10334302" cy="3560762"/>
          </a:xfrm>
          <a:prstGeom prst="rect">
            <a:avLst/>
          </a:prstGeom>
        </p:spPr>
      </p:pic>
      <p:sp>
        <p:nvSpPr>
          <p:cNvPr id="8" name="Rectangle 7">
            <a:extLst>
              <a:ext uri="{FF2B5EF4-FFF2-40B4-BE49-F238E27FC236}">
                <a16:creationId xmlns:a16="http://schemas.microsoft.com/office/drawing/2014/main" id="{AB77233A-B853-458A-B17B-9C10292EBEB6}"/>
              </a:ext>
            </a:extLst>
          </p:cNvPr>
          <p:cNvSpPr/>
          <p:nvPr/>
        </p:nvSpPr>
        <p:spPr bwMode="auto">
          <a:xfrm>
            <a:off x="455995" y="1466534"/>
            <a:ext cx="11278805" cy="4781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6">
            <a:extLst>
              <a:ext uri="{FF2B5EF4-FFF2-40B4-BE49-F238E27FC236}">
                <a16:creationId xmlns:a16="http://schemas.microsoft.com/office/drawing/2014/main" id="{54994A2E-9BB9-4AA9-8AAB-33A6CD906FFF}"/>
              </a:ext>
            </a:extLst>
          </p:cNvPr>
          <p:cNvSpPr/>
          <p:nvPr/>
        </p:nvSpPr>
        <p:spPr bwMode="auto">
          <a:xfrm>
            <a:off x="455995" y="1466533"/>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2642756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a:t>Pay attention to the purple line – Abandon rate is increasing!</a:t>
            </a:r>
          </a:p>
        </p:txBody>
      </p:sp>
      <p:pic>
        <p:nvPicPr>
          <p:cNvPr id="11" name="Content Placeholder 5">
            <a:extLst>
              <a:ext uri="{FF2B5EF4-FFF2-40B4-BE49-F238E27FC236}">
                <a16:creationId xmlns:a16="http://schemas.microsoft.com/office/drawing/2014/main" id="{4DD84639-5612-4B70-B9A9-0BF53E24AB2B}"/>
              </a:ext>
            </a:extLst>
          </p:cNvPr>
          <p:cNvPicPr>
            <a:picLocks noChangeAspect="1"/>
          </p:cNvPicPr>
          <p:nvPr/>
        </p:nvPicPr>
        <p:blipFill rotWithShape="1">
          <a:blip r:embed="rId3"/>
          <a:srcRect l="63021" t="48973" r="10719"/>
          <a:stretch/>
        </p:blipFill>
        <p:spPr>
          <a:xfrm>
            <a:off x="9283310" y="3125839"/>
            <a:ext cx="2133601" cy="1462941"/>
          </a:xfrm>
          <a:prstGeom prst="rect">
            <a:avLst/>
          </a:prstGeom>
        </p:spPr>
      </p:pic>
      <p:pic>
        <p:nvPicPr>
          <p:cNvPr id="12" name="Content Placeholder 4">
            <a:extLst>
              <a:ext uri="{FF2B5EF4-FFF2-40B4-BE49-F238E27FC236}">
                <a16:creationId xmlns:a16="http://schemas.microsoft.com/office/drawing/2014/main" id="{FE294F5D-AF0A-4AA8-A115-B5B531D5A89F}"/>
              </a:ext>
            </a:extLst>
          </p:cNvPr>
          <p:cNvPicPr>
            <a:picLocks noChangeAspect="1"/>
          </p:cNvPicPr>
          <p:nvPr/>
        </p:nvPicPr>
        <p:blipFill rotWithShape="1">
          <a:blip r:embed="rId4"/>
          <a:srcRect l="462" t="3977"/>
          <a:stretch/>
        </p:blipFill>
        <p:spPr>
          <a:xfrm>
            <a:off x="773883" y="2348892"/>
            <a:ext cx="8309921" cy="3016835"/>
          </a:xfrm>
          <a:prstGeom prst="rect">
            <a:avLst/>
          </a:prstGeom>
          <a:ln>
            <a:noFill/>
          </a:ln>
        </p:spPr>
      </p:pic>
      <p:sp>
        <p:nvSpPr>
          <p:cNvPr id="10" name="Rectangle 9">
            <a:extLst>
              <a:ext uri="{FF2B5EF4-FFF2-40B4-BE49-F238E27FC236}">
                <a16:creationId xmlns:a16="http://schemas.microsoft.com/office/drawing/2014/main" id="{D503511F-E937-46E8-AB5B-B15D0D274EE9}"/>
              </a:ext>
            </a:extLst>
          </p:cNvPr>
          <p:cNvSpPr/>
          <p:nvPr/>
        </p:nvSpPr>
        <p:spPr bwMode="auto">
          <a:xfrm>
            <a:off x="455995" y="1466534"/>
            <a:ext cx="11278805" cy="4781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6">
            <a:extLst>
              <a:ext uri="{FF2B5EF4-FFF2-40B4-BE49-F238E27FC236}">
                <a16:creationId xmlns:a16="http://schemas.microsoft.com/office/drawing/2014/main" id="{49C596C9-5429-4F79-B9D3-B8FBF147B32B}"/>
              </a:ext>
            </a:extLst>
          </p:cNvPr>
          <p:cNvSpPr/>
          <p:nvPr/>
        </p:nvSpPr>
        <p:spPr bwMode="auto">
          <a:xfrm>
            <a:off x="455995" y="1466533"/>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7783025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08076F-3393-4B5F-B3EA-6F01C6DC7834}"/>
              </a:ext>
            </a:extLst>
          </p:cNvPr>
          <p:cNvSpPr/>
          <p:nvPr/>
        </p:nvSpPr>
        <p:spPr bwMode="auto">
          <a:xfrm>
            <a:off x="455995" y="2545715"/>
            <a:ext cx="11278805" cy="371284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6">
            <a:extLst>
              <a:ext uri="{FF2B5EF4-FFF2-40B4-BE49-F238E27FC236}">
                <a16:creationId xmlns:a16="http://schemas.microsoft.com/office/drawing/2014/main" id="{9A99DCE6-5E04-4944-99D4-DD90D8FB7C13}"/>
              </a:ext>
            </a:extLst>
          </p:cNvPr>
          <p:cNvSpPr/>
          <p:nvPr/>
        </p:nvSpPr>
        <p:spPr bwMode="auto">
          <a:xfrm>
            <a:off x="455995" y="2545715"/>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B68BD5D4-B0ED-4F2B-BA6C-A65C40710564}"/>
              </a:ext>
            </a:extLst>
          </p:cNvPr>
          <p:cNvSpPr/>
          <p:nvPr/>
        </p:nvSpPr>
        <p:spPr>
          <a:xfrm>
            <a:off x="457200" y="601028"/>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1"/>
          </a:solidFill>
          <a:ln w="6350">
            <a:solidFill>
              <a:schemeClr val="accen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Semibold"/>
                <a:ea typeface="+mn-ea"/>
                <a:cs typeface="+mn-cs"/>
              </a:rPr>
              <a:t>1. Identify high impact topics driving the abandon rate </a:t>
            </a:r>
          </a:p>
        </p:txBody>
      </p:sp>
      <p:sp>
        <p:nvSpPr>
          <p:cNvPr id="5" name="Freeform: Shape 4">
            <a:extLst>
              <a:ext uri="{FF2B5EF4-FFF2-40B4-BE49-F238E27FC236}">
                <a16:creationId xmlns:a16="http://schemas.microsoft.com/office/drawing/2014/main" id="{4B63BF8D-E5F7-4F3E-8023-ABDE7D3DFAA8}"/>
              </a:ext>
            </a:extLst>
          </p:cNvPr>
          <p:cNvSpPr/>
          <p:nvPr/>
        </p:nvSpPr>
        <p:spPr>
          <a:xfrm>
            <a:off x="455996" y="1087200"/>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accent2"/>
          </a:solidFill>
          <a:ln w="6350">
            <a:solidFill>
              <a:schemeClr val="accent2"/>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2. Find more information about a topic by clicking ‘Detail’ </a:t>
            </a:r>
          </a:p>
        </p:txBody>
      </p:sp>
      <p:sp>
        <p:nvSpPr>
          <p:cNvPr id="6" name="Freeform: Shape 5">
            <a:extLst>
              <a:ext uri="{FF2B5EF4-FFF2-40B4-BE49-F238E27FC236}">
                <a16:creationId xmlns:a16="http://schemas.microsoft.com/office/drawing/2014/main" id="{97588185-B425-437A-A3A8-A188FA8CF3B2}"/>
              </a:ext>
            </a:extLst>
          </p:cNvPr>
          <p:cNvSpPr/>
          <p:nvPr/>
        </p:nvSpPr>
        <p:spPr>
          <a:xfrm>
            <a:off x="457200" y="1573372"/>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4"/>
          </a:solidFill>
          <a:ln w="63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3. Download and read the transcript history for this topic</a:t>
            </a:r>
          </a:p>
        </p:txBody>
      </p:sp>
      <p:sp>
        <p:nvSpPr>
          <p:cNvPr id="7" name="Freeform: Shape 6">
            <a:extLst>
              <a:ext uri="{FF2B5EF4-FFF2-40B4-BE49-F238E27FC236}">
                <a16:creationId xmlns:a16="http://schemas.microsoft.com/office/drawing/2014/main" id="{8F8CE845-A248-4571-9180-777CE94F9CB1}"/>
              </a:ext>
            </a:extLst>
          </p:cNvPr>
          <p:cNvSpPr/>
          <p:nvPr/>
        </p:nvSpPr>
        <p:spPr>
          <a:xfrm>
            <a:off x="455996" y="2059544"/>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tx2">
              <a:lumMod val="75000"/>
            </a:schemeClr>
          </a:solidFill>
          <a:ln w="6350">
            <a:solidFill>
              <a:schemeClr val="tx2">
                <a:lumMod val="75000"/>
              </a:schemeClr>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4. Click 'Setup' to improve the topic content</a:t>
            </a:r>
          </a:p>
        </p:txBody>
      </p:sp>
      <p:grpSp>
        <p:nvGrpSpPr>
          <p:cNvPr id="11" name="Group 10">
            <a:extLst>
              <a:ext uri="{FF2B5EF4-FFF2-40B4-BE49-F238E27FC236}">
                <a16:creationId xmlns:a16="http://schemas.microsoft.com/office/drawing/2014/main" id="{72C5A236-8EC5-4B31-AF93-98E066E3B096}"/>
              </a:ext>
            </a:extLst>
          </p:cNvPr>
          <p:cNvGrpSpPr/>
          <p:nvPr/>
        </p:nvGrpSpPr>
        <p:grpSpPr>
          <a:xfrm>
            <a:off x="700758" y="2996360"/>
            <a:ext cx="10789278" cy="2929143"/>
            <a:chOff x="669926" y="2854120"/>
            <a:chExt cx="10789278" cy="2929143"/>
          </a:xfrm>
        </p:grpSpPr>
        <p:pic>
          <p:nvPicPr>
            <p:cNvPr id="9" name="Picture 8">
              <a:extLst>
                <a:ext uri="{FF2B5EF4-FFF2-40B4-BE49-F238E27FC236}">
                  <a16:creationId xmlns:a16="http://schemas.microsoft.com/office/drawing/2014/main" id="{D456B21E-0A69-495D-8857-0EBB9FF9D675}"/>
                </a:ext>
              </a:extLst>
            </p:cNvPr>
            <p:cNvPicPr>
              <a:picLocks noChangeAspect="1"/>
            </p:cNvPicPr>
            <p:nvPr/>
          </p:nvPicPr>
          <p:blipFill>
            <a:blip r:embed="rId2"/>
            <a:stretch>
              <a:fillRect/>
            </a:stretch>
          </p:blipFill>
          <p:spPr>
            <a:xfrm>
              <a:off x="669926" y="2854121"/>
              <a:ext cx="5133987" cy="2929142"/>
            </a:xfrm>
            <a:prstGeom prst="rect">
              <a:avLst/>
            </a:prstGeom>
          </p:spPr>
        </p:pic>
        <p:pic>
          <p:nvPicPr>
            <p:cNvPr id="10" name="Picture 9">
              <a:extLst>
                <a:ext uri="{FF2B5EF4-FFF2-40B4-BE49-F238E27FC236}">
                  <a16:creationId xmlns:a16="http://schemas.microsoft.com/office/drawing/2014/main" id="{5491EEC6-7378-45F1-9B21-8C643667C5F2}"/>
                </a:ext>
              </a:extLst>
            </p:cNvPr>
            <p:cNvPicPr>
              <a:picLocks noChangeAspect="1"/>
            </p:cNvPicPr>
            <p:nvPr/>
          </p:nvPicPr>
          <p:blipFill>
            <a:blip r:embed="rId3"/>
            <a:stretch>
              <a:fillRect/>
            </a:stretch>
          </p:blipFill>
          <p:spPr>
            <a:xfrm>
              <a:off x="6017844" y="2854120"/>
              <a:ext cx="5441360" cy="2929141"/>
            </a:xfrm>
            <a:prstGeom prst="rect">
              <a:avLst/>
            </a:prstGeom>
          </p:spPr>
        </p:pic>
      </p:grpSp>
    </p:spTree>
    <p:extLst>
      <p:ext uri="{BB962C8B-B14F-4D97-AF65-F5344CB8AC3E}">
        <p14:creationId xmlns:p14="http://schemas.microsoft.com/office/powerpoint/2010/main" val="92670992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BCDC47-4760-4C3B-9AC1-87DCC47E1CB9}"/>
              </a:ext>
            </a:extLst>
          </p:cNvPr>
          <p:cNvSpPr>
            <a:spLocks noGrp="1"/>
          </p:cNvSpPr>
          <p:nvPr>
            <p:ph type="title"/>
          </p:nvPr>
        </p:nvSpPr>
        <p:spPr/>
        <p:txBody>
          <a:bodyPr/>
          <a:lstStyle/>
          <a:p>
            <a:r>
              <a:rPr lang="en-US"/>
              <a:t>Quiz time…</a:t>
            </a:r>
          </a:p>
        </p:txBody>
      </p:sp>
    </p:spTree>
    <p:extLst>
      <p:ext uri="{BB962C8B-B14F-4D97-AF65-F5344CB8AC3E}">
        <p14:creationId xmlns:p14="http://schemas.microsoft.com/office/powerpoint/2010/main" val="10388711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9" name="Isosceles Triangle 8">
            <a:extLst>
              <a:ext uri="{FF2B5EF4-FFF2-40B4-BE49-F238E27FC236}">
                <a16:creationId xmlns:a16="http://schemas.microsoft.com/office/drawing/2014/main" id="{A1368E03-BF21-47F6-8E48-C7DEE6D6539D}"/>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p:txBody>
          <a:bodyPr/>
          <a:lstStyle/>
          <a:p>
            <a:r>
              <a:rPr lang="en-US">
                <a:solidFill>
                  <a:schemeClr val="bg1"/>
                </a:solidFill>
              </a:rPr>
              <a:t>SECTION</a:t>
            </a:r>
            <a:br>
              <a:rPr lang="en-US">
                <a:solidFill>
                  <a:schemeClr val="bg1"/>
                </a:solidFill>
              </a:rPr>
            </a:br>
            <a:r>
              <a:rPr lang="en-US">
                <a:solidFill>
                  <a:schemeClr val="bg1"/>
                </a:solidFill>
              </a:rPr>
              <a:t>SUMMARY</a:t>
            </a:r>
          </a:p>
        </p:txBody>
      </p:sp>
      <p:sp>
        <p:nvSpPr>
          <p:cNvPr id="15" name="Isosceles Triangle 14">
            <a:extLst>
              <a:ext uri="{FF2B5EF4-FFF2-40B4-BE49-F238E27FC236}">
                <a16:creationId xmlns:a16="http://schemas.microsoft.com/office/drawing/2014/main" id="{C86B1AA8-9683-4587-BC00-1D331F6BC6F7}"/>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3BE66C8B-20C8-48B2-9090-E30AF3C93E42}"/>
              </a:ext>
            </a:extLst>
          </p:cNvPr>
          <p:cNvGrpSpPr/>
          <p:nvPr/>
        </p:nvGrpSpPr>
        <p:grpSpPr>
          <a:xfrm>
            <a:off x="457201" y="4792663"/>
            <a:ext cx="1536462" cy="1747837"/>
            <a:chOff x="7887043" y="3869040"/>
            <a:chExt cx="354604" cy="403388"/>
          </a:xfrm>
        </p:grpSpPr>
        <p:sp>
          <p:nvSpPr>
            <p:cNvPr id="18" name="Freeform: Shape 17">
              <a:extLst>
                <a:ext uri="{FF2B5EF4-FFF2-40B4-BE49-F238E27FC236}">
                  <a16:creationId xmlns:a16="http://schemas.microsoft.com/office/drawing/2014/main" id="{0A05C514-2FA8-4512-8BCE-89EFACA9A27F}"/>
                </a:ext>
              </a:extLst>
            </p:cNvPr>
            <p:cNvSpPr/>
            <p:nvPr/>
          </p:nvSpPr>
          <p:spPr>
            <a:xfrm>
              <a:off x="7887043" y="3869040"/>
              <a:ext cx="292888" cy="34968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Lst>
            </p:cNvPr>
            <p:cNvSpPr/>
            <p:nvPr/>
          </p:nvSpPr>
          <p:spPr>
            <a:xfrm>
              <a:off x="8126491" y="3922825"/>
              <a:ext cx="106536" cy="107569"/>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Lst>
            </p:cNvPr>
            <p:cNvSpPr/>
            <p:nvPr/>
          </p:nvSpPr>
          <p:spPr>
            <a:xfrm>
              <a:off x="8233028" y="4030395"/>
              <a:ext cx="8619" cy="212985"/>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Lst>
            </p:cNvPr>
            <p:cNvSpPr/>
            <p:nvPr/>
          </p:nvSpPr>
          <p:spPr>
            <a:xfrm>
              <a:off x="7940312" y="3922825"/>
              <a:ext cx="292716" cy="349603"/>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Lst>
            </p:cNvPr>
            <p:cNvSpPr/>
            <p:nvPr/>
          </p:nvSpPr>
          <p:spPr>
            <a:xfrm>
              <a:off x="7980220" y="4124088"/>
              <a:ext cx="186266" cy="8619"/>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Lst>
            </p:cNvPr>
            <p:cNvSpPr/>
            <p:nvPr/>
          </p:nvSpPr>
          <p:spPr>
            <a:xfrm>
              <a:off x="7980220" y="4077372"/>
              <a:ext cx="186266" cy="8619"/>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Lst>
            </p:cNvPr>
            <p:cNvSpPr/>
            <p:nvPr/>
          </p:nvSpPr>
          <p:spPr>
            <a:xfrm>
              <a:off x="7980220" y="4030395"/>
              <a:ext cx="106536" cy="8619"/>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Lst>
            </p:cNvPr>
            <p:cNvSpPr/>
            <p:nvPr/>
          </p:nvSpPr>
          <p:spPr>
            <a:xfrm>
              <a:off x="7980220" y="3976610"/>
              <a:ext cx="106536" cy="8619"/>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Lst>
            </p:cNvPr>
            <p:cNvSpPr/>
            <p:nvPr/>
          </p:nvSpPr>
          <p:spPr>
            <a:xfrm rot="5400000" flipH="1">
              <a:off x="8070034" y="4109433"/>
              <a:ext cx="148339" cy="177646"/>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A36B4301-0522-48A4-9501-32FC6EDDD4A4}"/>
              </a:ext>
            </a:extLst>
          </p:cNvPr>
          <p:cNvGrpSpPr/>
          <p:nvPr/>
        </p:nvGrpSpPr>
        <p:grpSpPr>
          <a:xfrm>
            <a:off x="4697730" y="2118072"/>
            <a:ext cx="7684769" cy="3890673"/>
            <a:chOff x="4697730" y="2118072"/>
            <a:chExt cx="7684769" cy="3890673"/>
          </a:xfrm>
        </p:grpSpPr>
        <p:sp>
          <p:nvSpPr>
            <p:cNvPr id="29" name="TextBox 28">
              <a:extLst>
                <a:ext uri="{FF2B5EF4-FFF2-40B4-BE49-F238E27FC236}">
                  <a16:creationId xmlns:a16="http://schemas.microsoft.com/office/drawing/2014/main" id="{FC6B5385-C40E-419D-AD54-5CC638522499}"/>
                </a:ext>
              </a:extLst>
            </p:cNvPr>
            <p:cNvSpPr txBox="1"/>
            <p:nvPr/>
          </p:nvSpPr>
          <p:spPr>
            <a:xfrm>
              <a:off x="5940989" y="3457812"/>
              <a:ext cx="3644587" cy="307777"/>
            </a:xfrm>
            <a:prstGeom prst="rect">
              <a:avLst/>
            </a:prstGeom>
            <a:noFill/>
          </p:spPr>
          <p:txBody>
            <a:bodyPr wrap="none" lIns="0" tIns="0" rIns="0" bIns="0" rtlCol="0" anchor="ctr">
              <a:spAutoFit/>
            </a:bodyPr>
            <a:lstStyle/>
            <a:p>
              <a:pPr algn="l"/>
              <a:r>
                <a:rPr lang="en-US" sz="2000">
                  <a:solidFill>
                    <a:srgbClr val="0B556A"/>
                  </a:solidFill>
                  <a:latin typeface="+mj-lt"/>
                </a:rPr>
                <a:t>Designed for Multiple Personas</a:t>
              </a:r>
            </a:p>
          </p:txBody>
        </p:sp>
        <p:sp>
          <p:nvSpPr>
            <p:cNvPr id="30" name="TextBox 29">
              <a:extLst>
                <a:ext uri="{FF2B5EF4-FFF2-40B4-BE49-F238E27FC236}">
                  <a16:creationId xmlns:a16="http://schemas.microsoft.com/office/drawing/2014/main" id="{42176865-6857-4892-9395-7A4F8E7AC7DC}"/>
                </a:ext>
              </a:extLst>
            </p:cNvPr>
            <p:cNvSpPr txBox="1"/>
            <p:nvPr/>
          </p:nvSpPr>
          <p:spPr>
            <a:xfrm>
              <a:off x="6996817" y="4502446"/>
              <a:ext cx="4833439" cy="307777"/>
            </a:xfrm>
            <a:prstGeom prst="rect">
              <a:avLst/>
            </a:prstGeom>
            <a:noFill/>
          </p:spPr>
          <p:txBody>
            <a:bodyPr wrap="none" lIns="0" tIns="0" rIns="0" bIns="0" rtlCol="0" anchor="ctr">
              <a:spAutoFit/>
            </a:bodyPr>
            <a:lstStyle/>
            <a:p>
              <a:pPr algn="l"/>
              <a:r>
                <a:rPr lang="en-US" sz="2000">
                  <a:solidFill>
                    <a:srgbClr val="0B556A"/>
                  </a:solidFill>
                  <a:latin typeface="+mj-lt"/>
                </a:rPr>
                <a:t>Customer Focused, Connected, Extensible</a:t>
              </a:r>
            </a:p>
          </p:txBody>
        </p:sp>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158877" cy="615553"/>
            </a:xfrm>
            <a:prstGeom prst="rect">
              <a:avLst/>
            </a:prstGeom>
            <a:noFill/>
          </p:spPr>
          <p:txBody>
            <a:bodyPr wrap="square" lIns="0" tIns="0" rIns="0" bIns="0" rtlCol="0" anchor="ctr">
              <a:spAutoFit/>
            </a:bodyPr>
            <a:lstStyle/>
            <a:p>
              <a:pPr algn="l"/>
              <a:r>
                <a:rPr lang="en-US" sz="2000">
                  <a:solidFill>
                    <a:srgbClr val="0B556A"/>
                  </a:solidFill>
                  <a:latin typeface="+mj-lt"/>
                </a:rPr>
                <a:t>Developed on the Microsoft Bot Framework</a:t>
              </a:r>
            </a:p>
          </p:txBody>
        </p:sp>
        <p:sp>
          <p:nvSpPr>
            <p:cNvPr id="28" name="TextBox 27">
              <a:extLst>
                <a:ext uri="{FF2B5EF4-FFF2-40B4-BE49-F238E27FC236}">
                  <a16:creationId xmlns:a16="http://schemas.microsoft.com/office/drawing/2014/main" id="{361012E7-9AED-4934-9FF3-EA1D69AB398F}"/>
                </a:ext>
              </a:extLst>
            </p:cNvPr>
            <p:cNvSpPr txBox="1"/>
            <p:nvPr/>
          </p:nvSpPr>
          <p:spPr>
            <a:xfrm>
              <a:off x="4764851" y="2118072"/>
              <a:ext cx="5989730" cy="307777"/>
            </a:xfrm>
            <a:prstGeom prst="rect">
              <a:avLst/>
            </a:prstGeom>
            <a:noFill/>
          </p:spPr>
          <p:txBody>
            <a:bodyPr wrap="square" lIns="0" tIns="0" rIns="0" bIns="0" rtlCol="0" anchor="ctr">
              <a:spAutoFit/>
            </a:bodyPr>
            <a:lstStyle/>
            <a:p>
              <a:pPr algn="l"/>
              <a:r>
                <a:rPr lang="en-US" sz="2000">
                  <a:solidFill>
                    <a:srgbClr val="0B556A"/>
                  </a:solidFill>
                  <a:latin typeface="+mj-lt"/>
                </a:rPr>
                <a:t>Power Virtual Agents helps support industry trends</a:t>
              </a:r>
            </a:p>
          </p:txBody>
        </p:sp>
        <p:cxnSp>
          <p:nvCxnSpPr>
            <p:cNvPr id="42" name="Straight Connector 41">
              <a:extLst>
                <a:ext uri="{FF2B5EF4-FFF2-40B4-BE49-F238E27FC236}">
                  <a16:creationId xmlns:a16="http://schemas.microsoft.com/office/drawing/2014/main" id="{1F61ECE3-A683-47C9-8077-6EF6DC04E419}"/>
                </a:ext>
              </a:extLst>
            </p:cNvPr>
            <p:cNvCxnSpPr>
              <a:cxnSpLocks/>
            </p:cNvCxnSpPr>
            <p:nvPr/>
          </p:nvCxnSpPr>
          <p:spPr>
            <a:xfrm>
              <a:off x="4697730" y="3089383"/>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489410D-C583-47D0-B715-0591CBB93AB0}"/>
                </a:ext>
              </a:extLst>
            </p:cNvPr>
            <p:cNvCxnSpPr>
              <a:cxnSpLocks/>
            </p:cNvCxnSpPr>
            <p:nvPr/>
          </p:nvCxnSpPr>
          <p:spPr>
            <a:xfrm>
              <a:off x="5745480" y="413401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2B0DB7-91F8-4652-8995-2977341AE13D}"/>
                </a:ext>
              </a:extLst>
            </p:cNvPr>
            <p:cNvCxnSpPr>
              <a:cxnSpLocks/>
            </p:cNvCxnSpPr>
            <p:nvPr/>
          </p:nvCxnSpPr>
          <p:spPr>
            <a:xfrm>
              <a:off x="6699637" y="510170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ACB844-9344-45B4-807F-A85CC792ACA3}"/>
                </a:ext>
              </a:extLst>
            </p:cNvPr>
            <p:cNvCxnSpPr>
              <a:cxnSpLocks/>
            </p:cNvCxnSpPr>
            <p:nvPr/>
          </p:nvCxnSpPr>
          <p:spPr>
            <a:xfrm>
              <a:off x="4972050" y="3089383"/>
              <a:ext cx="741044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Lst>
            </p:cNvPr>
            <p:cNvCxnSpPr>
              <a:cxnSpLocks/>
            </p:cNvCxnSpPr>
            <p:nvPr/>
          </p:nvCxnSpPr>
          <p:spPr>
            <a:xfrm>
              <a:off x="6019800" y="4134017"/>
              <a:ext cx="636269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Lst>
            </p:cNvPr>
            <p:cNvCxnSpPr>
              <a:cxnSpLocks/>
            </p:cNvCxnSpPr>
            <p:nvPr/>
          </p:nvCxnSpPr>
          <p:spPr>
            <a:xfrm>
              <a:off x="6996817" y="5101707"/>
              <a:ext cx="5385682"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people_23" title="Icon of a person with a chat bubble above them">
            <a:extLst>
              <a:ext uri="{FF2B5EF4-FFF2-40B4-BE49-F238E27FC236}">
                <a16:creationId xmlns:a16="http://schemas.microsoft.com/office/drawing/2014/main" id="{08B87F4F-2AEC-44D6-95A4-7BCBD999834F}"/>
              </a:ext>
            </a:extLst>
          </p:cNvPr>
          <p:cNvSpPr>
            <a:spLocks noChangeAspect="1" noEditPoints="1"/>
          </p:cNvSpPr>
          <p:nvPr/>
        </p:nvSpPr>
        <p:spPr bwMode="auto">
          <a:xfrm>
            <a:off x="2267962" y="1944684"/>
            <a:ext cx="666894" cy="65983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Isosceles Triangle 54">
            <a:extLst>
              <a:ext uri="{FF2B5EF4-FFF2-40B4-BE49-F238E27FC236}">
                <a16:creationId xmlns:a16="http://schemas.microsoft.com/office/drawing/2014/main" id="{9C81563E-B467-45B8-AFB3-B5EA89C9C03F}"/>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9" name="Pen" title="Icon of a surface pen with a drawn line below it">
            <a:extLst>
              <a:ext uri="{FF2B5EF4-FFF2-40B4-BE49-F238E27FC236}">
                <a16:creationId xmlns:a16="http://schemas.microsoft.com/office/drawing/2014/main" id="{780E1341-6602-4F39-ABB0-8D7A1A75EBE6}"/>
              </a:ext>
            </a:extLst>
          </p:cNvPr>
          <p:cNvSpPr>
            <a:spLocks noChangeAspect="1" noEditPoints="1"/>
          </p:cNvSpPr>
          <p:nvPr/>
        </p:nvSpPr>
        <p:spPr bwMode="auto">
          <a:xfrm>
            <a:off x="3532718" y="3247253"/>
            <a:ext cx="719242" cy="728894"/>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0" name="Org_ECA6" title="Icon of three boxes in a bracket chart">
            <a:extLst>
              <a:ext uri="{FF2B5EF4-FFF2-40B4-BE49-F238E27FC236}">
                <a16:creationId xmlns:a16="http://schemas.microsoft.com/office/drawing/2014/main" id="{B2C4D876-D8AE-4AA3-B559-82A57E66704E}"/>
              </a:ext>
            </a:extLst>
          </p:cNvPr>
          <p:cNvSpPr>
            <a:spLocks noChangeAspect="1" noEditPoints="1"/>
          </p:cNvSpPr>
          <p:nvPr/>
        </p:nvSpPr>
        <p:spPr bwMode="auto">
          <a:xfrm>
            <a:off x="4497688" y="4283132"/>
            <a:ext cx="669134" cy="6694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1" name="bot_3" title="Icon of two chevron brackets with two dots between them">
            <a:extLst>
              <a:ext uri="{FF2B5EF4-FFF2-40B4-BE49-F238E27FC236}">
                <a16:creationId xmlns:a16="http://schemas.microsoft.com/office/drawing/2014/main" id="{CFA4D365-8DA7-4A74-8FD1-C34AFC784C8E}"/>
              </a:ext>
            </a:extLst>
          </p:cNvPr>
          <p:cNvSpPr>
            <a:spLocks noChangeAspect="1" noEditPoints="1"/>
          </p:cNvSpPr>
          <p:nvPr/>
        </p:nvSpPr>
        <p:spPr bwMode="auto">
          <a:xfrm>
            <a:off x="5590166" y="5449252"/>
            <a:ext cx="701646" cy="503432"/>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 name="TextBox 4">
            <a:extLst>
              <a:ext uri="{FF2B5EF4-FFF2-40B4-BE49-F238E27FC236}">
                <a16:creationId xmlns:a16="http://schemas.microsoft.com/office/drawing/2014/main" id="{64A268CE-3861-41E3-BDD9-FE7E3B936F33}"/>
              </a:ext>
            </a:extLst>
          </p:cNvPr>
          <p:cNvSpPr txBox="1"/>
          <p:nvPr/>
        </p:nvSpPr>
        <p:spPr>
          <a:xfrm>
            <a:off x="4782310" y="2392357"/>
            <a:ext cx="1413429"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gradFill>
                  <a:gsLst>
                    <a:gs pos="2917">
                      <a:schemeClr val="tx1"/>
                    </a:gs>
                    <a:gs pos="30000">
                      <a:schemeClr val="tx1"/>
                    </a:gs>
                  </a:gsLst>
                  <a:lin ang="5400000" scaled="0"/>
                </a:gradFill>
              </a:rPr>
              <a:t>Engage Naturally</a:t>
            </a:r>
          </a:p>
        </p:txBody>
      </p:sp>
      <p:sp>
        <p:nvSpPr>
          <p:cNvPr id="39" name="TextBox 38">
            <a:extLst>
              <a:ext uri="{FF2B5EF4-FFF2-40B4-BE49-F238E27FC236}">
                <a16:creationId xmlns:a16="http://schemas.microsoft.com/office/drawing/2014/main" id="{DC8F9DF5-36A0-460D-B3EB-A56E24621CC3}"/>
              </a:ext>
            </a:extLst>
          </p:cNvPr>
          <p:cNvSpPr txBox="1"/>
          <p:nvPr/>
        </p:nvSpPr>
        <p:spPr>
          <a:xfrm>
            <a:off x="6360879" y="2392357"/>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gradFill>
                  <a:gsLst>
                    <a:gs pos="2917">
                      <a:schemeClr val="tx1"/>
                    </a:gs>
                    <a:gs pos="30000">
                      <a:schemeClr val="tx1"/>
                    </a:gs>
                  </a:gsLst>
                  <a:lin ang="5400000" scaled="0"/>
                </a:gradFill>
              </a:rPr>
              <a:t>Democratize AI</a:t>
            </a:r>
          </a:p>
        </p:txBody>
      </p:sp>
      <p:sp>
        <p:nvSpPr>
          <p:cNvPr id="40" name="TextBox 39">
            <a:extLst>
              <a:ext uri="{FF2B5EF4-FFF2-40B4-BE49-F238E27FC236}">
                <a16:creationId xmlns:a16="http://schemas.microsoft.com/office/drawing/2014/main" id="{BBFD8D5D-F137-4149-96B2-92E3319A85CE}"/>
              </a:ext>
            </a:extLst>
          </p:cNvPr>
          <p:cNvSpPr txBox="1"/>
          <p:nvPr/>
        </p:nvSpPr>
        <p:spPr>
          <a:xfrm>
            <a:off x="8250374" y="2392357"/>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gradFill>
                  <a:gsLst>
                    <a:gs pos="2917">
                      <a:schemeClr val="tx1"/>
                    </a:gs>
                    <a:gs pos="30000">
                      <a:schemeClr val="tx1"/>
                    </a:gs>
                  </a:gsLst>
                  <a:lin ang="5400000" scaled="0"/>
                </a:gradFill>
              </a:rPr>
              <a:t>Continuously Enhance</a:t>
            </a:r>
          </a:p>
        </p:txBody>
      </p:sp>
      <p:sp>
        <p:nvSpPr>
          <p:cNvPr id="41" name="TextBox 40">
            <a:extLst>
              <a:ext uri="{FF2B5EF4-FFF2-40B4-BE49-F238E27FC236}">
                <a16:creationId xmlns:a16="http://schemas.microsoft.com/office/drawing/2014/main" id="{C205ED0F-A5B5-4396-A7F0-512C8A8B1984}"/>
              </a:ext>
            </a:extLst>
          </p:cNvPr>
          <p:cNvSpPr txBox="1"/>
          <p:nvPr/>
        </p:nvSpPr>
        <p:spPr>
          <a:xfrm>
            <a:off x="10139870" y="2517007"/>
            <a:ext cx="1724355"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a:gradFill>
                  <a:gsLst>
                    <a:gs pos="2917">
                      <a:schemeClr val="tx1"/>
                    </a:gs>
                    <a:gs pos="30000">
                      <a:schemeClr val="tx1"/>
                    </a:gs>
                  </a:gsLst>
                  <a:lin ang="5400000" scaled="0"/>
                </a:gradFill>
              </a:rPr>
              <a:t>Take Action</a:t>
            </a:r>
          </a:p>
        </p:txBody>
      </p:sp>
    </p:spTree>
    <p:extLst>
      <p:ext uri="{BB962C8B-B14F-4D97-AF65-F5344CB8AC3E}">
        <p14:creationId xmlns:p14="http://schemas.microsoft.com/office/powerpoint/2010/main" val="2041838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nodeType="withEffect">
                                  <p:stCondLst>
                                    <p:cond delay="25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42" presetClass="path" presetSubtype="0" decel="100000" fill="hold" nodeType="withEffect">
                                  <p:stCondLst>
                                    <p:cond delay="0"/>
                                  </p:stCondLst>
                                  <p:childTnLst>
                                    <p:animMotion origin="layout" path="M -3.33333E-6 -2.22222E-6 L -0.0345 -0.00092 " pathEditMode="relative" rAng="0" ptsTypes="AA">
                                      <p:cBhvr>
                                        <p:cTn id="21"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9" grpId="0" animBg="1"/>
      <p:bldP spid="60" grpId="0" animBg="1"/>
      <p:bldP spid="61"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7C901-A336-45DC-A4F0-EA1ECF67F755}"/>
              </a:ext>
            </a:extLst>
          </p:cNvPr>
          <p:cNvSpPr>
            <a:spLocks noGrp="1"/>
          </p:cNvSpPr>
          <p:nvPr>
            <p:ph type="title"/>
          </p:nvPr>
        </p:nvSpPr>
        <p:spPr/>
        <p:txBody>
          <a:bodyPr/>
          <a:lstStyle/>
          <a:p>
            <a:r>
              <a:rPr lang="en-US" dirty="0"/>
              <a:t>Q1: Which of the following answers is correct?</a:t>
            </a:r>
          </a:p>
        </p:txBody>
      </p:sp>
      <p:sp>
        <p:nvSpPr>
          <p:cNvPr id="4" name="Rectangle 3">
            <a:extLst>
              <a:ext uri="{FF2B5EF4-FFF2-40B4-BE49-F238E27FC236}">
                <a16:creationId xmlns:a16="http://schemas.microsoft.com/office/drawing/2014/main" id="{B5AA10B8-45EB-47FE-B8CF-9C7209567224}"/>
              </a:ext>
            </a:extLst>
          </p:cNvPr>
          <p:cNvSpPr/>
          <p:nvPr/>
        </p:nvSpPr>
        <p:spPr>
          <a:xfrm>
            <a:off x="711200" y="3572302"/>
            <a:ext cx="5588000" cy="8309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C3C41"/>
                </a:solidFill>
                <a:effectLst/>
                <a:uLnTx/>
                <a:uFillTx/>
                <a:latin typeface="Segoe UI"/>
                <a:ea typeface="+mn-ea"/>
                <a:cs typeface="+mn-cs"/>
              </a:rPr>
              <a:t>If abandon rate increases, which rate will decrease?</a:t>
            </a:r>
          </a:p>
        </p:txBody>
      </p:sp>
      <p:sp>
        <p:nvSpPr>
          <p:cNvPr id="13" name="Rectangle 12">
            <a:extLst>
              <a:ext uri="{FF2B5EF4-FFF2-40B4-BE49-F238E27FC236}">
                <a16:creationId xmlns:a16="http://schemas.microsoft.com/office/drawing/2014/main" id="{627649FC-474A-4289-ABA8-98B581C88818}"/>
              </a:ext>
            </a:extLst>
          </p:cNvPr>
          <p:cNvSpPr/>
          <p:nvPr/>
        </p:nvSpPr>
        <p:spPr bwMode="auto">
          <a:xfrm>
            <a:off x="7322944" y="1645920"/>
            <a:ext cx="4411855" cy="4683760"/>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B9A50229-C110-4EAA-8AF5-A5B86206CF8F}"/>
              </a:ext>
            </a:extLst>
          </p:cNvPr>
          <p:cNvSpPr/>
          <p:nvPr/>
        </p:nvSpPr>
        <p:spPr bwMode="auto">
          <a:xfrm>
            <a:off x="455995" y="1645920"/>
            <a:ext cx="6639749" cy="46837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6">
            <a:extLst>
              <a:ext uri="{FF2B5EF4-FFF2-40B4-BE49-F238E27FC236}">
                <a16:creationId xmlns:a16="http://schemas.microsoft.com/office/drawing/2014/main" id="{E1372339-14C3-446D-A308-DDFEBE2B82CC}"/>
              </a:ext>
            </a:extLst>
          </p:cNvPr>
          <p:cNvSpPr/>
          <p:nvPr/>
        </p:nvSpPr>
        <p:spPr bwMode="auto">
          <a:xfrm>
            <a:off x="455995" y="1645920"/>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BDFB3564-A139-4B6A-8050-3D3E966EF465}"/>
              </a:ext>
            </a:extLst>
          </p:cNvPr>
          <p:cNvGrpSpPr/>
          <p:nvPr/>
        </p:nvGrpSpPr>
        <p:grpSpPr>
          <a:xfrm>
            <a:off x="7565134" y="2423998"/>
            <a:ext cx="3927475" cy="3127605"/>
            <a:chOff x="7565134" y="2150154"/>
            <a:chExt cx="3927475" cy="3127605"/>
          </a:xfrm>
        </p:grpSpPr>
        <p:sp>
          <p:nvSpPr>
            <p:cNvPr id="29" name="Rectangle: Rounded Corners 28">
              <a:extLst>
                <a:ext uri="{FF2B5EF4-FFF2-40B4-BE49-F238E27FC236}">
                  <a16:creationId xmlns:a16="http://schemas.microsoft.com/office/drawing/2014/main" id="{8F94A67C-E74B-4A34-8172-C6DACEF14DCE}"/>
                </a:ext>
              </a:extLst>
            </p:cNvPr>
            <p:cNvSpPr/>
            <p:nvPr/>
          </p:nvSpPr>
          <p:spPr bwMode="auto">
            <a:xfrm>
              <a:off x="7565134" y="215015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A. Engagement rate</a:t>
              </a:r>
            </a:p>
          </p:txBody>
        </p:sp>
        <p:sp>
          <p:nvSpPr>
            <p:cNvPr id="30" name="Rectangle: Rounded Corners 29">
              <a:extLst>
                <a:ext uri="{FF2B5EF4-FFF2-40B4-BE49-F238E27FC236}">
                  <a16:creationId xmlns:a16="http://schemas.microsoft.com/office/drawing/2014/main" id="{EE6F8F84-9FC6-47C0-967C-6AD223425248}"/>
                </a:ext>
              </a:extLst>
            </p:cNvPr>
            <p:cNvSpPr/>
            <p:nvPr/>
          </p:nvSpPr>
          <p:spPr bwMode="auto">
            <a:xfrm>
              <a:off x="7565134" y="2976789"/>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B. </a:t>
              </a:r>
              <a:r>
                <a:rPr kumimoji="0" lang="en-US" sz="1800" b="1" i="0" u="none" strike="noStrike" kern="1200" cap="none" spc="0" normalizeH="0" baseline="0" noProof="0">
                  <a:ln>
                    <a:noFill/>
                  </a:ln>
                  <a:solidFill>
                    <a:srgbClr val="3C3C41"/>
                  </a:solidFill>
                  <a:effectLst/>
                  <a:uLnTx/>
                  <a:uFillTx/>
                  <a:latin typeface="Segoe UI"/>
                  <a:ea typeface="+mn-ea"/>
                  <a:cs typeface="+mn-cs"/>
                </a:rPr>
                <a:t>Either</a:t>
              </a:r>
              <a:r>
                <a:rPr kumimoji="0" lang="en-US" sz="1800" b="0" i="0" u="none" strike="noStrike" kern="1200" cap="none" spc="0" normalizeH="0" baseline="0" noProof="0">
                  <a:ln>
                    <a:noFill/>
                  </a:ln>
                  <a:solidFill>
                    <a:srgbClr val="3C3C41"/>
                  </a:solidFill>
                  <a:effectLst/>
                  <a:uLnTx/>
                  <a:uFillTx/>
                  <a:latin typeface="Segoe UI"/>
                  <a:ea typeface="+mn-ea"/>
                  <a:cs typeface="+mn-cs"/>
                </a:rPr>
                <a:t> Resolution rate </a:t>
              </a:r>
              <a:r>
                <a:rPr kumimoji="0" lang="en-US" sz="1800" b="1" i="0" u="none" strike="noStrike" kern="1200" cap="none" spc="0" normalizeH="0" baseline="0" noProof="0">
                  <a:ln>
                    <a:noFill/>
                  </a:ln>
                  <a:solidFill>
                    <a:srgbClr val="3C3C41"/>
                  </a:solidFill>
                  <a:effectLst/>
                  <a:uLnTx/>
                  <a:uFillTx/>
                  <a:latin typeface="Segoe UI"/>
                  <a:ea typeface="+mn-ea"/>
                  <a:cs typeface="+mn-cs"/>
                </a:rPr>
                <a:t>or</a:t>
              </a:r>
              <a:r>
                <a:rPr kumimoji="0" lang="en-US" sz="1800" b="0" i="0" u="none" strike="noStrike" kern="1200" cap="none" spc="0" normalizeH="0" baseline="0" noProof="0">
                  <a:ln>
                    <a:noFill/>
                  </a:ln>
                  <a:solidFill>
                    <a:srgbClr val="3C3C41"/>
                  </a:solidFill>
                  <a:effectLst/>
                  <a:uLnTx/>
                  <a:uFillTx/>
                  <a:latin typeface="Segoe UI"/>
                  <a:ea typeface="+mn-ea"/>
                  <a:cs typeface="+mn-cs"/>
                </a:rPr>
                <a:t> Escalation rate</a:t>
              </a:r>
            </a:p>
          </p:txBody>
        </p:sp>
        <p:sp>
          <p:nvSpPr>
            <p:cNvPr id="31" name="Rectangle: Rounded Corners 30">
              <a:extLst>
                <a:ext uri="{FF2B5EF4-FFF2-40B4-BE49-F238E27FC236}">
                  <a16:creationId xmlns:a16="http://schemas.microsoft.com/office/drawing/2014/main" id="{7ED595C0-B5CC-4C04-8807-59C800ABACF0}"/>
                </a:ext>
              </a:extLst>
            </p:cNvPr>
            <p:cNvSpPr/>
            <p:nvPr/>
          </p:nvSpPr>
          <p:spPr bwMode="auto">
            <a:xfrm>
              <a:off x="7565134" y="380342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C. </a:t>
              </a:r>
              <a:r>
                <a:rPr kumimoji="0" lang="en-US" sz="1800" b="1" i="0" u="none" strike="noStrike" kern="1200" cap="none" spc="0" normalizeH="0" baseline="0" noProof="0">
                  <a:ln>
                    <a:noFill/>
                  </a:ln>
                  <a:solidFill>
                    <a:srgbClr val="3C3C41"/>
                  </a:solidFill>
                  <a:effectLst/>
                  <a:uLnTx/>
                  <a:uFillTx/>
                  <a:latin typeface="Segoe UI"/>
                  <a:ea typeface="+mn-ea"/>
                  <a:cs typeface="+mn-cs"/>
                </a:rPr>
                <a:t>Both</a:t>
              </a:r>
              <a:r>
                <a:rPr kumimoji="0" lang="en-US" sz="1800" b="0" i="0" u="none" strike="noStrike" kern="1200" cap="none" spc="0" normalizeH="0" baseline="0" noProof="0">
                  <a:ln>
                    <a:noFill/>
                  </a:ln>
                  <a:solidFill>
                    <a:srgbClr val="3C3C41"/>
                  </a:solidFill>
                  <a:effectLst/>
                  <a:uLnTx/>
                  <a:uFillTx/>
                  <a:latin typeface="Segoe UI"/>
                  <a:ea typeface="+mn-ea"/>
                  <a:cs typeface="+mn-cs"/>
                </a:rPr>
                <a:t> Resolution rate and Escalation rate</a:t>
              </a:r>
            </a:p>
          </p:txBody>
        </p:sp>
        <p:sp>
          <p:nvSpPr>
            <p:cNvPr id="32" name="Rectangle: Rounded Corners 31">
              <a:extLst>
                <a:ext uri="{FF2B5EF4-FFF2-40B4-BE49-F238E27FC236}">
                  <a16:creationId xmlns:a16="http://schemas.microsoft.com/office/drawing/2014/main" id="{71A7D693-D7E8-414B-B9DA-E12BECF71181}"/>
                </a:ext>
              </a:extLst>
            </p:cNvPr>
            <p:cNvSpPr/>
            <p:nvPr/>
          </p:nvSpPr>
          <p:spPr bwMode="auto">
            <a:xfrm>
              <a:off x="7565134" y="4630059"/>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D. Non-engagement rate</a:t>
              </a:r>
            </a:p>
          </p:txBody>
        </p:sp>
      </p:grpSp>
    </p:spTree>
    <p:extLst>
      <p:ext uri="{BB962C8B-B14F-4D97-AF65-F5344CB8AC3E}">
        <p14:creationId xmlns:p14="http://schemas.microsoft.com/office/powerpoint/2010/main" val="22260590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7C901-A336-45DC-A4F0-EA1ECF67F755}"/>
              </a:ext>
            </a:extLst>
          </p:cNvPr>
          <p:cNvSpPr>
            <a:spLocks noGrp="1"/>
          </p:cNvSpPr>
          <p:nvPr>
            <p:ph type="title"/>
          </p:nvPr>
        </p:nvSpPr>
        <p:spPr/>
        <p:txBody>
          <a:bodyPr/>
          <a:lstStyle/>
          <a:p>
            <a:r>
              <a:rPr lang="en-US"/>
              <a:t>Answer:</a:t>
            </a:r>
          </a:p>
        </p:txBody>
      </p:sp>
      <p:sp>
        <p:nvSpPr>
          <p:cNvPr id="14" name="Rectangle 13">
            <a:extLst>
              <a:ext uri="{FF2B5EF4-FFF2-40B4-BE49-F238E27FC236}">
                <a16:creationId xmlns:a16="http://schemas.microsoft.com/office/drawing/2014/main" id="{DD9D5D45-AEC8-4393-9FDB-F7890547CE74}"/>
              </a:ext>
            </a:extLst>
          </p:cNvPr>
          <p:cNvSpPr/>
          <p:nvPr/>
        </p:nvSpPr>
        <p:spPr>
          <a:xfrm>
            <a:off x="711200" y="3572302"/>
            <a:ext cx="5588000" cy="8309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C3C41"/>
                </a:solidFill>
                <a:effectLst/>
                <a:uLnTx/>
                <a:uFillTx/>
                <a:latin typeface="Segoe UI"/>
                <a:ea typeface="+mn-ea"/>
                <a:cs typeface="+mn-cs"/>
              </a:rPr>
              <a:t>If abandon rate increases, which rate will decrease?</a:t>
            </a:r>
          </a:p>
        </p:txBody>
      </p:sp>
      <p:sp>
        <p:nvSpPr>
          <p:cNvPr id="15" name="Rectangle 14">
            <a:extLst>
              <a:ext uri="{FF2B5EF4-FFF2-40B4-BE49-F238E27FC236}">
                <a16:creationId xmlns:a16="http://schemas.microsoft.com/office/drawing/2014/main" id="{5DEE9AF2-851C-40DD-9E59-01528EB21EDA}"/>
              </a:ext>
            </a:extLst>
          </p:cNvPr>
          <p:cNvSpPr/>
          <p:nvPr/>
        </p:nvSpPr>
        <p:spPr bwMode="auto">
          <a:xfrm>
            <a:off x="7322944" y="1645920"/>
            <a:ext cx="4411855" cy="4683760"/>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C2BBC164-FEBE-4ECF-9389-5F4DB88A2AB1}"/>
              </a:ext>
            </a:extLst>
          </p:cNvPr>
          <p:cNvSpPr/>
          <p:nvPr/>
        </p:nvSpPr>
        <p:spPr bwMode="auto">
          <a:xfrm>
            <a:off x="455995" y="1645920"/>
            <a:ext cx="6639749" cy="46837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6">
            <a:extLst>
              <a:ext uri="{FF2B5EF4-FFF2-40B4-BE49-F238E27FC236}">
                <a16:creationId xmlns:a16="http://schemas.microsoft.com/office/drawing/2014/main" id="{2628DDBE-85C9-47E9-A95F-612E278A0BE6}"/>
              </a:ext>
            </a:extLst>
          </p:cNvPr>
          <p:cNvSpPr/>
          <p:nvPr/>
        </p:nvSpPr>
        <p:spPr bwMode="auto">
          <a:xfrm>
            <a:off x="455995" y="1645920"/>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37C76BE5-CAAD-4196-BED7-03AD3CAE2E32}"/>
              </a:ext>
            </a:extLst>
          </p:cNvPr>
          <p:cNvGrpSpPr/>
          <p:nvPr/>
        </p:nvGrpSpPr>
        <p:grpSpPr>
          <a:xfrm>
            <a:off x="7565134" y="2423998"/>
            <a:ext cx="3927475" cy="3127605"/>
            <a:chOff x="7565134" y="2150154"/>
            <a:chExt cx="3927475" cy="3127605"/>
          </a:xfrm>
        </p:grpSpPr>
        <p:sp>
          <p:nvSpPr>
            <p:cNvPr id="29" name="Rectangle: Rounded Corners 28">
              <a:extLst>
                <a:ext uri="{FF2B5EF4-FFF2-40B4-BE49-F238E27FC236}">
                  <a16:creationId xmlns:a16="http://schemas.microsoft.com/office/drawing/2014/main" id="{F6A18BD9-C424-47EB-A630-A8226923E81D}"/>
                </a:ext>
              </a:extLst>
            </p:cNvPr>
            <p:cNvSpPr/>
            <p:nvPr/>
          </p:nvSpPr>
          <p:spPr bwMode="auto">
            <a:xfrm>
              <a:off x="7565134" y="2150154"/>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A. Engagement rate</a:t>
              </a:r>
            </a:p>
          </p:txBody>
        </p:sp>
        <p:sp>
          <p:nvSpPr>
            <p:cNvPr id="30" name="Rectangle: Rounded Corners 29">
              <a:extLst>
                <a:ext uri="{FF2B5EF4-FFF2-40B4-BE49-F238E27FC236}">
                  <a16:creationId xmlns:a16="http://schemas.microsoft.com/office/drawing/2014/main" id="{BCB02B79-073C-4FEC-A833-A81A07ED1BA6}"/>
                </a:ext>
              </a:extLst>
            </p:cNvPr>
            <p:cNvSpPr/>
            <p:nvPr/>
          </p:nvSpPr>
          <p:spPr bwMode="auto">
            <a:xfrm>
              <a:off x="7565134" y="2976789"/>
              <a:ext cx="3927475" cy="6477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a:ea typeface="+mn-ea"/>
                  <a:cs typeface="+mn-cs"/>
                </a:rPr>
                <a:t>B. </a:t>
              </a:r>
              <a:r>
                <a:rPr kumimoji="0" lang="en-US" sz="1800" b="1" i="0" u="none" strike="noStrike" kern="1200" cap="none" spc="0" normalizeH="0" baseline="0" noProof="0">
                  <a:ln>
                    <a:noFill/>
                  </a:ln>
                  <a:solidFill>
                    <a:schemeClr val="bg1"/>
                  </a:solidFill>
                  <a:effectLst/>
                  <a:uLnTx/>
                  <a:uFillTx/>
                  <a:latin typeface="Segoe UI"/>
                  <a:ea typeface="+mn-ea"/>
                  <a:cs typeface="+mn-cs"/>
                </a:rPr>
                <a:t>Either</a:t>
              </a:r>
              <a:r>
                <a:rPr kumimoji="0" lang="en-US" sz="1800" b="0" i="0" u="none" strike="noStrike" kern="1200" cap="none" spc="0" normalizeH="0" baseline="0" noProof="0">
                  <a:ln>
                    <a:noFill/>
                  </a:ln>
                  <a:solidFill>
                    <a:schemeClr val="bg1"/>
                  </a:solidFill>
                  <a:effectLst/>
                  <a:uLnTx/>
                  <a:uFillTx/>
                  <a:latin typeface="Segoe UI"/>
                  <a:ea typeface="+mn-ea"/>
                  <a:cs typeface="+mn-cs"/>
                </a:rPr>
                <a:t> Resolution rate </a:t>
              </a:r>
              <a:r>
                <a:rPr kumimoji="0" lang="en-US" sz="1800" b="1" i="0" u="none" strike="noStrike" kern="1200" cap="none" spc="0" normalizeH="0" baseline="0" noProof="0">
                  <a:ln>
                    <a:noFill/>
                  </a:ln>
                  <a:solidFill>
                    <a:schemeClr val="bg1"/>
                  </a:solidFill>
                  <a:effectLst/>
                  <a:uLnTx/>
                  <a:uFillTx/>
                  <a:latin typeface="Segoe UI"/>
                  <a:ea typeface="+mn-ea"/>
                  <a:cs typeface="+mn-cs"/>
                </a:rPr>
                <a:t>or</a:t>
              </a:r>
              <a:r>
                <a:rPr kumimoji="0" lang="en-US" sz="1800" b="0" i="0" u="none" strike="noStrike" kern="1200" cap="none" spc="0" normalizeH="0" baseline="0" noProof="0">
                  <a:ln>
                    <a:noFill/>
                  </a:ln>
                  <a:solidFill>
                    <a:schemeClr val="bg1"/>
                  </a:solidFill>
                  <a:effectLst/>
                  <a:uLnTx/>
                  <a:uFillTx/>
                  <a:latin typeface="Segoe UI"/>
                  <a:ea typeface="+mn-ea"/>
                  <a:cs typeface="+mn-cs"/>
                </a:rPr>
                <a:t> Escalation rate</a:t>
              </a:r>
            </a:p>
          </p:txBody>
        </p:sp>
        <p:sp>
          <p:nvSpPr>
            <p:cNvPr id="31" name="Rectangle: Rounded Corners 30">
              <a:extLst>
                <a:ext uri="{FF2B5EF4-FFF2-40B4-BE49-F238E27FC236}">
                  <a16:creationId xmlns:a16="http://schemas.microsoft.com/office/drawing/2014/main" id="{DFA7DDDF-676B-478A-B5FF-7D08304AAE98}"/>
                </a:ext>
              </a:extLst>
            </p:cNvPr>
            <p:cNvSpPr/>
            <p:nvPr/>
          </p:nvSpPr>
          <p:spPr bwMode="auto">
            <a:xfrm>
              <a:off x="7565134" y="3803424"/>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C. </a:t>
              </a:r>
              <a:r>
                <a:rPr kumimoji="0" lang="en-US" sz="1800" b="1" i="0" u="none" strike="noStrike" kern="1200" cap="none" spc="0" normalizeH="0" baseline="0" noProof="0">
                  <a:ln>
                    <a:noFill/>
                  </a:ln>
                  <a:solidFill>
                    <a:srgbClr val="3C3C41"/>
                  </a:solidFill>
                  <a:effectLst/>
                  <a:uLnTx/>
                  <a:uFillTx/>
                  <a:latin typeface="Segoe UI"/>
                  <a:ea typeface="+mn-ea"/>
                  <a:cs typeface="+mn-cs"/>
                </a:rPr>
                <a:t>Both</a:t>
              </a:r>
              <a:r>
                <a:rPr kumimoji="0" lang="en-US" sz="1800" b="0" i="0" u="none" strike="noStrike" kern="1200" cap="none" spc="0" normalizeH="0" baseline="0" noProof="0">
                  <a:ln>
                    <a:noFill/>
                  </a:ln>
                  <a:solidFill>
                    <a:srgbClr val="3C3C41"/>
                  </a:solidFill>
                  <a:effectLst/>
                  <a:uLnTx/>
                  <a:uFillTx/>
                  <a:latin typeface="Segoe UI"/>
                  <a:ea typeface="+mn-ea"/>
                  <a:cs typeface="+mn-cs"/>
                </a:rPr>
                <a:t> Resolution rate and Escalation rate</a:t>
              </a:r>
            </a:p>
          </p:txBody>
        </p:sp>
        <p:sp>
          <p:nvSpPr>
            <p:cNvPr id="32" name="Rectangle: Rounded Corners 31">
              <a:extLst>
                <a:ext uri="{FF2B5EF4-FFF2-40B4-BE49-F238E27FC236}">
                  <a16:creationId xmlns:a16="http://schemas.microsoft.com/office/drawing/2014/main" id="{AE3527A2-C4FC-4505-9C5D-8444F2D4F6AD}"/>
                </a:ext>
              </a:extLst>
            </p:cNvPr>
            <p:cNvSpPr/>
            <p:nvPr/>
          </p:nvSpPr>
          <p:spPr bwMode="auto">
            <a:xfrm>
              <a:off x="7565134" y="4630059"/>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D. Non-engagement rate</a:t>
              </a:r>
            </a:p>
          </p:txBody>
        </p:sp>
      </p:grpSp>
      <p:sp>
        <p:nvSpPr>
          <p:cNvPr id="17" name="Content Placeholder 3">
            <a:extLst>
              <a:ext uri="{FF2B5EF4-FFF2-40B4-BE49-F238E27FC236}">
                <a16:creationId xmlns:a16="http://schemas.microsoft.com/office/drawing/2014/main" id="{7375B3EC-5E5C-4B7C-9905-8FF53F155401}"/>
              </a:ext>
            </a:extLst>
          </p:cNvPr>
          <p:cNvSpPr txBox="1">
            <a:spLocks/>
          </p:cNvSpPr>
          <p:nvPr/>
        </p:nvSpPr>
        <p:spPr>
          <a:xfrm>
            <a:off x="7322944" y="5622787"/>
            <a:ext cx="4411854" cy="646331"/>
          </a:xfrm>
          <a:prstGeom prst="rect">
            <a:avLst/>
          </a:prstGeom>
          <a:solidFill>
            <a:srgbClr val="CFF6F9"/>
          </a:solidFill>
          <a:ln w="6350">
            <a:noFill/>
          </a:ln>
        </p:spPr>
        <p:txBody>
          <a:bodyPr wrap="square" anchor="ctr">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49" normalizeH="0" baseline="0" noProof="0">
                <a:ln>
                  <a:noFill/>
                </a:ln>
                <a:solidFill>
                  <a:schemeClr val="tx2"/>
                </a:solidFill>
                <a:effectLst/>
                <a:uLnTx/>
                <a:uFillTx/>
                <a:latin typeface="Segoe UI Semibold"/>
                <a:ea typeface="+mn-ea"/>
                <a:cs typeface="Calibri"/>
              </a:rPr>
              <a:t>Abandon rate + Resolution rate + escalation rate = 1</a:t>
            </a:r>
          </a:p>
        </p:txBody>
      </p:sp>
    </p:spTree>
    <p:extLst>
      <p:ext uri="{BB962C8B-B14F-4D97-AF65-F5344CB8AC3E}">
        <p14:creationId xmlns:p14="http://schemas.microsoft.com/office/powerpoint/2010/main" val="2871683913"/>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Content Placeholder 4">
            <a:extLst>
              <a:ext uri="{FF2B5EF4-FFF2-40B4-BE49-F238E27FC236}">
                <a16:creationId xmlns:a16="http://schemas.microsoft.com/office/drawing/2014/main" id="{776B0110-1F07-4F52-AF50-3C2FFF4C7045}"/>
              </a:ext>
            </a:extLst>
          </p:cNvPr>
          <p:cNvPicPr>
            <a:picLocks noChangeAspect="1"/>
          </p:cNvPicPr>
          <p:nvPr/>
        </p:nvPicPr>
        <p:blipFill rotWithShape="1">
          <a:blip r:embed="rId2"/>
          <a:srcRect r="1427"/>
          <a:stretch/>
        </p:blipFill>
        <p:spPr>
          <a:xfrm>
            <a:off x="2152684" y="1681666"/>
            <a:ext cx="3246371" cy="4612268"/>
          </a:xfrm>
          <a:prstGeom prst="rect">
            <a:avLst/>
          </a:prstGeom>
        </p:spPr>
      </p:pic>
      <p:sp>
        <p:nvSpPr>
          <p:cNvPr id="2" name="Title 1">
            <a:extLst>
              <a:ext uri="{FF2B5EF4-FFF2-40B4-BE49-F238E27FC236}">
                <a16:creationId xmlns:a16="http://schemas.microsoft.com/office/drawing/2014/main" id="{729E159D-BEC3-487F-9F23-AB0DEF2A2A31}"/>
              </a:ext>
            </a:extLst>
          </p:cNvPr>
          <p:cNvSpPr>
            <a:spLocks noGrp="1"/>
          </p:cNvSpPr>
          <p:nvPr>
            <p:ph type="title"/>
          </p:nvPr>
        </p:nvSpPr>
        <p:spPr/>
        <p:txBody>
          <a:bodyPr/>
          <a:lstStyle/>
          <a:p>
            <a:r>
              <a:rPr lang="en-US" dirty="0"/>
              <a:t>Q2: How would you improve this session?</a:t>
            </a:r>
          </a:p>
        </p:txBody>
      </p:sp>
      <p:sp>
        <p:nvSpPr>
          <p:cNvPr id="15" name="Rectangle 14">
            <a:extLst>
              <a:ext uri="{FF2B5EF4-FFF2-40B4-BE49-F238E27FC236}">
                <a16:creationId xmlns:a16="http://schemas.microsoft.com/office/drawing/2014/main" id="{A8FDF2C0-30E9-46A9-8720-F9CC4BA8B91C}"/>
              </a:ext>
            </a:extLst>
          </p:cNvPr>
          <p:cNvSpPr/>
          <p:nvPr/>
        </p:nvSpPr>
        <p:spPr bwMode="auto">
          <a:xfrm>
            <a:off x="7322944" y="1645920"/>
            <a:ext cx="4411855" cy="4683760"/>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74D73C3C-950D-44E5-BCE5-665429F5387D}"/>
              </a:ext>
            </a:extLst>
          </p:cNvPr>
          <p:cNvSpPr/>
          <p:nvPr/>
        </p:nvSpPr>
        <p:spPr bwMode="auto">
          <a:xfrm>
            <a:off x="455995" y="1645920"/>
            <a:ext cx="6639749" cy="46837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6">
            <a:extLst>
              <a:ext uri="{FF2B5EF4-FFF2-40B4-BE49-F238E27FC236}">
                <a16:creationId xmlns:a16="http://schemas.microsoft.com/office/drawing/2014/main" id="{B2D47B36-CE72-48F6-9D1C-64A187A45F5A}"/>
              </a:ext>
            </a:extLst>
          </p:cNvPr>
          <p:cNvSpPr/>
          <p:nvPr/>
        </p:nvSpPr>
        <p:spPr bwMode="auto">
          <a:xfrm>
            <a:off x="455995" y="1645920"/>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C06F37CD-9199-49D5-82A8-03F265BF9662}"/>
              </a:ext>
            </a:extLst>
          </p:cNvPr>
          <p:cNvGrpSpPr/>
          <p:nvPr/>
        </p:nvGrpSpPr>
        <p:grpSpPr>
          <a:xfrm>
            <a:off x="7565134" y="2831193"/>
            <a:ext cx="3927475" cy="2313214"/>
            <a:chOff x="7521574" y="2400300"/>
            <a:chExt cx="3927475" cy="2313214"/>
          </a:xfrm>
          <a:solidFill>
            <a:schemeClr val="bg1">
              <a:lumMod val="85000"/>
            </a:schemeClr>
          </a:solidFill>
        </p:grpSpPr>
        <p:sp>
          <p:nvSpPr>
            <p:cNvPr id="20" name="Rectangle: Rounded Corners 19">
              <a:extLst>
                <a:ext uri="{FF2B5EF4-FFF2-40B4-BE49-F238E27FC236}">
                  <a16:creationId xmlns:a16="http://schemas.microsoft.com/office/drawing/2014/main" id="{54B8E5EE-2F4E-4A03-8ACE-4AE42B3E2F6C}"/>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A. Add new topics</a:t>
              </a:r>
            </a:p>
          </p:txBody>
        </p:sp>
        <p:sp>
          <p:nvSpPr>
            <p:cNvPr id="21" name="Rectangle: Rounded Corners 20">
              <a:extLst>
                <a:ext uri="{FF2B5EF4-FFF2-40B4-BE49-F238E27FC236}">
                  <a16:creationId xmlns:a16="http://schemas.microsoft.com/office/drawing/2014/main" id="{AF015945-1FCA-4068-933B-C127F930B50D}"/>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B. Re-design this topic</a:t>
              </a:r>
            </a:p>
          </p:txBody>
        </p:sp>
        <p:sp>
          <p:nvSpPr>
            <p:cNvPr id="22" name="Rectangle: Rounded Corners 21">
              <a:extLst>
                <a:ext uri="{FF2B5EF4-FFF2-40B4-BE49-F238E27FC236}">
                  <a16:creationId xmlns:a16="http://schemas.microsoft.com/office/drawing/2014/main" id="{FE55A796-F8F3-4F21-A64D-52B2D9A714D8}"/>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C. Add more trigger phrases</a:t>
              </a:r>
            </a:p>
          </p:txBody>
        </p:sp>
      </p:grpSp>
    </p:spTree>
    <p:extLst>
      <p:ext uri="{BB962C8B-B14F-4D97-AF65-F5344CB8AC3E}">
        <p14:creationId xmlns:p14="http://schemas.microsoft.com/office/powerpoint/2010/main" val="69203680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E159D-BEC3-487F-9F23-AB0DEF2A2A31}"/>
              </a:ext>
            </a:extLst>
          </p:cNvPr>
          <p:cNvSpPr>
            <a:spLocks noGrp="1"/>
          </p:cNvSpPr>
          <p:nvPr>
            <p:ph type="title"/>
          </p:nvPr>
        </p:nvSpPr>
        <p:spPr/>
        <p:txBody>
          <a:bodyPr/>
          <a:lstStyle/>
          <a:p>
            <a:r>
              <a:rPr lang="en-US"/>
              <a:t>Answer:</a:t>
            </a:r>
          </a:p>
        </p:txBody>
      </p:sp>
      <p:pic>
        <p:nvPicPr>
          <p:cNvPr id="12" name="Content Placeholder 4">
            <a:extLst>
              <a:ext uri="{FF2B5EF4-FFF2-40B4-BE49-F238E27FC236}">
                <a16:creationId xmlns:a16="http://schemas.microsoft.com/office/drawing/2014/main" id="{C99E6F8F-7068-4346-A0A9-F3ECC16ADE17}"/>
              </a:ext>
            </a:extLst>
          </p:cNvPr>
          <p:cNvPicPr>
            <a:picLocks noChangeAspect="1"/>
          </p:cNvPicPr>
          <p:nvPr/>
        </p:nvPicPr>
        <p:blipFill rotWithShape="1">
          <a:blip r:embed="rId2"/>
          <a:srcRect r="1427"/>
          <a:stretch/>
        </p:blipFill>
        <p:spPr>
          <a:xfrm>
            <a:off x="2152684" y="1681666"/>
            <a:ext cx="3246371" cy="4612268"/>
          </a:xfrm>
          <a:prstGeom prst="rect">
            <a:avLst/>
          </a:prstGeom>
        </p:spPr>
      </p:pic>
      <p:sp>
        <p:nvSpPr>
          <p:cNvPr id="13" name="Rectangle 12">
            <a:extLst>
              <a:ext uri="{FF2B5EF4-FFF2-40B4-BE49-F238E27FC236}">
                <a16:creationId xmlns:a16="http://schemas.microsoft.com/office/drawing/2014/main" id="{904A2316-7895-402C-9F2A-AA100B37B1EB}"/>
              </a:ext>
            </a:extLst>
          </p:cNvPr>
          <p:cNvSpPr/>
          <p:nvPr/>
        </p:nvSpPr>
        <p:spPr bwMode="auto">
          <a:xfrm>
            <a:off x="7322944" y="1645920"/>
            <a:ext cx="4411855" cy="4683760"/>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A51A3E5-58A4-43C0-B9A0-7910C1368BEA}"/>
              </a:ext>
            </a:extLst>
          </p:cNvPr>
          <p:cNvSpPr/>
          <p:nvPr/>
        </p:nvSpPr>
        <p:spPr bwMode="auto">
          <a:xfrm>
            <a:off x="455995" y="1645920"/>
            <a:ext cx="6639749" cy="46837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6">
            <a:extLst>
              <a:ext uri="{FF2B5EF4-FFF2-40B4-BE49-F238E27FC236}">
                <a16:creationId xmlns:a16="http://schemas.microsoft.com/office/drawing/2014/main" id="{751CDE83-4D1D-4654-B416-5AF9B1BFB84B}"/>
              </a:ext>
            </a:extLst>
          </p:cNvPr>
          <p:cNvSpPr/>
          <p:nvPr/>
        </p:nvSpPr>
        <p:spPr bwMode="auto">
          <a:xfrm>
            <a:off x="455995" y="1645920"/>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0B5C1052-CF56-4952-97B2-623729D84015}"/>
              </a:ext>
            </a:extLst>
          </p:cNvPr>
          <p:cNvGrpSpPr/>
          <p:nvPr/>
        </p:nvGrpSpPr>
        <p:grpSpPr>
          <a:xfrm>
            <a:off x="7565134" y="2831193"/>
            <a:ext cx="3927475" cy="2313214"/>
            <a:chOff x="7521574" y="2400300"/>
            <a:chExt cx="3927475" cy="2313214"/>
          </a:xfrm>
          <a:solidFill>
            <a:schemeClr val="bg1">
              <a:lumMod val="85000"/>
            </a:schemeClr>
          </a:solidFill>
        </p:grpSpPr>
        <p:sp>
          <p:nvSpPr>
            <p:cNvPr id="17" name="Rectangle: Rounded Corners 16">
              <a:extLst>
                <a:ext uri="{FF2B5EF4-FFF2-40B4-BE49-F238E27FC236}">
                  <a16:creationId xmlns:a16="http://schemas.microsoft.com/office/drawing/2014/main" id="{8629B739-0677-47C8-A7D8-0D8A53F29855}"/>
                </a:ext>
              </a:extLst>
            </p:cNvPr>
            <p:cNvSpPr/>
            <p:nvPr/>
          </p:nvSpPr>
          <p:spPr bwMode="auto">
            <a:xfrm>
              <a:off x="7521574" y="2400300"/>
              <a:ext cx="3927475" cy="6477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latin typeface="Segoe UI"/>
                </a:rPr>
                <a:t>A. Add new topics</a:t>
              </a:r>
            </a:p>
          </p:txBody>
        </p:sp>
        <p:sp>
          <p:nvSpPr>
            <p:cNvPr id="20" name="Rectangle: Rounded Corners 19">
              <a:extLst>
                <a:ext uri="{FF2B5EF4-FFF2-40B4-BE49-F238E27FC236}">
                  <a16:creationId xmlns:a16="http://schemas.microsoft.com/office/drawing/2014/main" id="{2D9B986A-F51A-44E7-A26E-2184EB3EFA56}"/>
                </a:ext>
              </a:extLst>
            </p:cNvPr>
            <p:cNvSpPr/>
            <p:nvPr/>
          </p:nvSpPr>
          <p:spPr bwMode="auto">
            <a:xfrm>
              <a:off x="7521574" y="3233057"/>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B. Re-design this topic</a:t>
              </a:r>
            </a:p>
          </p:txBody>
        </p:sp>
        <p:sp>
          <p:nvSpPr>
            <p:cNvPr id="21" name="Rectangle: Rounded Corners 20">
              <a:extLst>
                <a:ext uri="{FF2B5EF4-FFF2-40B4-BE49-F238E27FC236}">
                  <a16:creationId xmlns:a16="http://schemas.microsoft.com/office/drawing/2014/main" id="{97BD7097-F649-499C-8708-73D8F966443C}"/>
                </a:ext>
              </a:extLst>
            </p:cNvPr>
            <p:cNvSpPr/>
            <p:nvPr/>
          </p:nvSpPr>
          <p:spPr bwMode="auto">
            <a:xfrm>
              <a:off x="7521574" y="4065814"/>
              <a:ext cx="3927475" cy="6477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latin typeface="Segoe UI"/>
                </a:rPr>
                <a:t>C. Add more trigger phrases</a:t>
              </a:r>
            </a:p>
          </p:txBody>
        </p:sp>
      </p:grpSp>
    </p:spTree>
    <p:extLst>
      <p:ext uri="{BB962C8B-B14F-4D97-AF65-F5344CB8AC3E}">
        <p14:creationId xmlns:p14="http://schemas.microsoft.com/office/powerpoint/2010/main" val="267485473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7C901-A336-45DC-A4F0-EA1ECF67F755}"/>
              </a:ext>
            </a:extLst>
          </p:cNvPr>
          <p:cNvSpPr>
            <a:spLocks noGrp="1"/>
          </p:cNvSpPr>
          <p:nvPr>
            <p:ph type="title"/>
          </p:nvPr>
        </p:nvSpPr>
        <p:spPr/>
        <p:txBody>
          <a:bodyPr/>
          <a:lstStyle/>
          <a:p>
            <a:r>
              <a:rPr lang="en-US" dirty="0"/>
              <a:t>Q3: Which of the following statements is correct?</a:t>
            </a:r>
          </a:p>
        </p:txBody>
      </p:sp>
      <p:grpSp>
        <p:nvGrpSpPr>
          <p:cNvPr id="18" name="Group 17">
            <a:extLst>
              <a:ext uri="{FF2B5EF4-FFF2-40B4-BE49-F238E27FC236}">
                <a16:creationId xmlns:a16="http://schemas.microsoft.com/office/drawing/2014/main" id="{695D8AA4-3777-40D9-82C4-F9CC2BD2828B}"/>
              </a:ext>
            </a:extLst>
          </p:cNvPr>
          <p:cNvGrpSpPr/>
          <p:nvPr/>
        </p:nvGrpSpPr>
        <p:grpSpPr>
          <a:xfrm>
            <a:off x="1549402" y="2709749"/>
            <a:ext cx="9093198" cy="2313214"/>
            <a:chOff x="7521574" y="2400300"/>
            <a:chExt cx="3927475" cy="2313214"/>
          </a:xfrm>
          <a:solidFill>
            <a:schemeClr val="bg1">
              <a:lumMod val="95000"/>
            </a:schemeClr>
          </a:solidFill>
        </p:grpSpPr>
        <p:sp>
          <p:nvSpPr>
            <p:cNvPr id="19" name="Rectangle: Rounded Corners 18">
              <a:extLst>
                <a:ext uri="{FF2B5EF4-FFF2-40B4-BE49-F238E27FC236}">
                  <a16:creationId xmlns:a16="http://schemas.microsoft.com/office/drawing/2014/main" id="{479362D3-77FC-41C9-9335-E2E12BA9E84E}"/>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A. Adding a good variety of trigger phrases can help increase the resolution rate.</a:t>
              </a:r>
            </a:p>
          </p:txBody>
        </p:sp>
        <p:sp>
          <p:nvSpPr>
            <p:cNvPr id="20" name="Rectangle: Rounded Corners 19">
              <a:extLst>
                <a:ext uri="{FF2B5EF4-FFF2-40B4-BE49-F238E27FC236}">
                  <a16:creationId xmlns:a16="http://schemas.microsoft.com/office/drawing/2014/main" id="{547D35D7-3604-48C5-87AA-B9C45617FEFB}"/>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41300" marR="0" lvl="0" indent="-2413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B. If the user reaches the ‘End of conversation’ but he/she does not respond to the survey, this will decrease the resolution rate.</a:t>
              </a:r>
            </a:p>
          </p:txBody>
        </p:sp>
        <p:sp>
          <p:nvSpPr>
            <p:cNvPr id="21" name="Rectangle: Rounded Corners 20">
              <a:extLst>
                <a:ext uri="{FF2B5EF4-FFF2-40B4-BE49-F238E27FC236}">
                  <a16:creationId xmlns:a16="http://schemas.microsoft.com/office/drawing/2014/main" id="{1738B47A-87AE-4115-B5DF-F0CB358BF93F}"/>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C. Adding more escalate nodes in the conversation can increase the resolution rate.</a:t>
              </a:r>
            </a:p>
          </p:txBody>
        </p:sp>
      </p:grpSp>
      <p:sp>
        <p:nvSpPr>
          <p:cNvPr id="22" name="Rectangle 21">
            <a:extLst>
              <a:ext uri="{FF2B5EF4-FFF2-40B4-BE49-F238E27FC236}">
                <a16:creationId xmlns:a16="http://schemas.microsoft.com/office/drawing/2014/main" id="{3CF5BF56-7DF3-4852-B9C9-45ED353BC090}"/>
              </a:ext>
            </a:extLst>
          </p:cNvPr>
          <p:cNvSpPr/>
          <p:nvPr/>
        </p:nvSpPr>
        <p:spPr bwMode="auto">
          <a:xfrm>
            <a:off x="455995" y="2201863"/>
            <a:ext cx="11280010" cy="331356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6">
            <a:extLst>
              <a:ext uri="{FF2B5EF4-FFF2-40B4-BE49-F238E27FC236}">
                <a16:creationId xmlns:a16="http://schemas.microsoft.com/office/drawing/2014/main" id="{D678A0BE-9973-44A4-A8B1-7DDB99531BE6}"/>
              </a:ext>
            </a:extLst>
          </p:cNvPr>
          <p:cNvSpPr/>
          <p:nvPr/>
        </p:nvSpPr>
        <p:spPr bwMode="auto">
          <a:xfrm>
            <a:off x="455995" y="2201863"/>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038062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7C901-A336-45DC-A4F0-EA1ECF67F755}"/>
              </a:ext>
            </a:extLst>
          </p:cNvPr>
          <p:cNvSpPr>
            <a:spLocks noGrp="1"/>
          </p:cNvSpPr>
          <p:nvPr>
            <p:ph type="title"/>
          </p:nvPr>
        </p:nvSpPr>
        <p:spPr/>
        <p:txBody>
          <a:bodyPr/>
          <a:lstStyle/>
          <a:p>
            <a:r>
              <a:rPr lang="en-US"/>
              <a:t>Answer:</a:t>
            </a:r>
          </a:p>
        </p:txBody>
      </p:sp>
      <p:grpSp>
        <p:nvGrpSpPr>
          <p:cNvPr id="28" name="Group 27">
            <a:extLst>
              <a:ext uri="{FF2B5EF4-FFF2-40B4-BE49-F238E27FC236}">
                <a16:creationId xmlns:a16="http://schemas.microsoft.com/office/drawing/2014/main" id="{1CB26669-0112-4B1F-89D1-373ABFCBD9AD}"/>
              </a:ext>
            </a:extLst>
          </p:cNvPr>
          <p:cNvGrpSpPr/>
          <p:nvPr/>
        </p:nvGrpSpPr>
        <p:grpSpPr>
          <a:xfrm>
            <a:off x="1549402" y="2709749"/>
            <a:ext cx="9093198" cy="2313214"/>
            <a:chOff x="7521574" y="2400300"/>
            <a:chExt cx="3927475" cy="2313214"/>
          </a:xfrm>
          <a:solidFill>
            <a:schemeClr val="bg1">
              <a:lumMod val="95000"/>
            </a:schemeClr>
          </a:solidFill>
        </p:grpSpPr>
        <p:sp>
          <p:nvSpPr>
            <p:cNvPr id="29" name="Rectangle: Rounded Corners 28">
              <a:extLst>
                <a:ext uri="{FF2B5EF4-FFF2-40B4-BE49-F238E27FC236}">
                  <a16:creationId xmlns:a16="http://schemas.microsoft.com/office/drawing/2014/main" id="{404C93FC-23C1-4557-A82E-08FEF7E56426}"/>
                </a:ext>
              </a:extLst>
            </p:cNvPr>
            <p:cNvSpPr/>
            <p:nvPr/>
          </p:nvSpPr>
          <p:spPr bwMode="auto">
            <a:xfrm>
              <a:off x="7521574" y="2400300"/>
              <a:ext cx="3927475" cy="6477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 Adding a good variety of trigger phrases can help increase the resolution rate.</a:t>
              </a:r>
            </a:p>
          </p:txBody>
        </p:sp>
        <p:sp>
          <p:nvSpPr>
            <p:cNvPr id="30" name="Rectangle: Rounded Corners 29">
              <a:extLst>
                <a:ext uri="{FF2B5EF4-FFF2-40B4-BE49-F238E27FC236}">
                  <a16:creationId xmlns:a16="http://schemas.microsoft.com/office/drawing/2014/main" id="{50A33E60-A6DE-4BAE-9F88-ECA59EA12E0E}"/>
                </a:ext>
              </a:extLst>
            </p:cNvPr>
            <p:cNvSpPr/>
            <p:nvPr/>
          </p:nvSpPr>
          <p:spPr bwMode="auto">
            <a:xfrm>
              <a:off x="7521574" y="3233057"/>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41300" marR="0" lvl="0" indent="-24130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B. If the user reaches the ‘End of conversation’ but he/she does not respond to the survey, this will decrease the resolution rate.</a:t>
              </a:r>
            </a:p>
          </p:txBody>
        </p:sp>
        <p:sp>
          <p:nvSpPr>
            <p:cNvPr id="31" name="Rectangle: Rounded Corners 30">
              <a:extLst>
                <a:ext uri="{FF2B5EF4-FFF2-40B4-BE49-F238E27FC236}">
                  <a16:creationId xmlns:a16="http://schemas.microsoft.com/office/drawing/2014/main" id="{3AE6892C-0C22-467F-8014-8B7D98E27C5C}"/>
                </a:ext>
              </a:extLst>
            </p:cNvPr>
            <p:cNvSpPr/>
            <p:nvPr/>
          </p:nvSpPr>
          <p:spPr bwMode="auto">
            <a:xfrm>
              <a:off x="7521574" y="4065814"/>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C. Adding more escalate nodes in the conversation can increase the resolution rate.</a:t>
              </a:r>
            </a:p>
          </p:txBody>
        </p:sp>
      </p:grpSp>
      <p:sp>
        <p:nvSpPr>
          <p:cNvPr id="32" name="Rectangle 31">
            <a:extLst>
              <a:ext uri="{FF2B5EF4-FFF2-40B4-BE49-F238E27FC236}">
                <a16:creationId xmlns:a16="http://schemas.microsoft.com/office/drawing/2014/main" id="{87385463-E096-4E47-8B23-13C68B609BCD}"/>
              </a:ext>
            </a:extLst>
          </p:cNvPr>
          <p:cNvSpPr/>
          <p:nvPr/>
        </p:nvSpPr>
        <p:spPr bwMode="auto">
          <a:xfrm>
            <a:off x="455995" y="2201863"/>
            <a:ext cx="11280010" cy="331356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6">
            <a:extLst>
              <a:ext uri="{FF2B5EF4-FFF2-40B4-BE49-F238E27FC236}">
                <a16:creationId xmlns:a16="http://schemas.microsoft.com/office/drawing/2014/main" id="{00001D7F-7882-4C44-BF86-3FDB682E4E7F}"/>
              </a:ext>
            </a:extLst>
          </p:cNvPr>
          <p:cNvSpPr/>
          <p:nvPr/>
        </p:nvSpPr>
        <p:spPr bwMode="auto">
          <a:xfrm>
            <a:off x="455995" y="2201863"/>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3752576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5C3F72-4BF7-4A81-A650-558A2DD2AF46}"/>
              </a:ext>
            </a:extLst>
          </p:cNvPr>
          <p:cNvSpPr>
            <a:spLocks noGrp="1"/>
          </p:cNvSpPr>
          <p:nvPr>
            <p:ph type="title"/>
          </p:nvPr>
        </p:nvSpPr>
        <p:spPr/>
        <p:txBody>
          <a:bodyPr/>
          <a:lstStyle/>
          <a:p>
            <a:r>
              <a:rPr lang="en-US" sz="4400">
                <a:ea typeface="+mj-lt"/>
                <a:cs typeface="+mj-lt"/>
              </a:rPr>
              <a:t>Wrap up and next steps</a:t>
            </a:r>
            <a:endParaRPr lang="en-US" sz="4400">
              <a:cs typeface="Segoe UI"/>
            </a:endParaRPr>
          </a:p>
        </p:txBody>
      </p:sp>
      <p:grpSp>
        <p:nvGrpSpPr>
          <p:cNvPr id="3" name="Group 2">
            <a:extLst>
              <a:ext uri="{FF2B5EF4-FFF2-40B4-BE49-F238E27FC236}">
                <a16:creationId xmlns:a16="http://schemas.microsoft.com/office/drawing/2014/main" id="{EF1F4095-5C8D-4151-864C-3CA283A2DEE7}"/>
              </a:ext>
            </a:extLst>
          </p:cNvPr>
          <p:cNvGrpSpPr/>
          <p:nvPr/>
        </p:nvGrpSpPr>
        <p:grpSpPr>
          <a:xfrm>
            <a:off x="9224441" y="4884661"/>
            <a:ext cx="2967561" cy="1976519"/>
            <a:chOff x="9224440" y="4884660"/>
            <a:chExt cx="2967561" cy="1976519"/>
          </a:xfrm>
        </p:grpSpPr>
        <p:sp>
          <p:nvSpPr>
            <p:cNvPr id="5" name="Freeform: Shape 4">
              <a:extLst>
                <a:ext uri="{FF2B5EF4-FFF2-40B4-BE49-F238E27FC236}">
                  <a16:creationId xmlns:a16="http://schemas.microsoft.com/office/drawing/2014/main" id="{351B5FA3-362F-4B3F-AAF7-E642111E4FB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E0F32098-3EE0-41FA-8F16-7B4789FD195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A735912-B3AA-403C-9AED-56C1BC0C2E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ED7EFBB-00A2-4BF7-BC31-5B9869E220F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9E21D765-8981-4B8B-B35C-0C74836BFE9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2AE39DF4-9C39-4674-B4FC-4EEF3723F8F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C7EC0A9-BAAD-4E6B-AE84-3B3AA614D55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72C74C1-42C5-43D8-B881-E26D899FF49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044625D-DC63-4FAF-B289-E222AB44AAA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FEF8D74C-3B73-4974-A769-17D93B1A947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0B08FED0-1FF9-48E0-9193-F15F83B5E7E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9D17FE8E-FED5-48D0-B10A-F5E5C43F699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68FAA411-D389-4F5A-917E-DB55E76DB39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A8413F18-1F93-49D9-AAF1-294115F8AC6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09F72D7-904B-485A-BFBF-1E97EF5F1C8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9F6367DF-DD5A-4F99-8938-7E385D91148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8CCA540-C887-46DA-B406-394B0AD7CAD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FCBB388-174E-4004-9165-D2CF8F2F11C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1A65D66-AF97-451A-84BE-8EB8345EC6B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555D7091-F168-47EB-9A03-8C3293AE9384}"/>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3DF5956-FE13-4841-ABAC-BA12242DF38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759A0532-92BF-48FC-8B77-4D1F005F789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DEBDB613-E17D-4E62-97BC-0135432A3CD5}"/>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FB63EC46-6443-4FD2-B198-1D006A80C95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1C474AAF-2C93-443A-8DFC-946B016F0A6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9305759-4039-41F9-B2D5-8D5230CD1286}"/>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FC8A361A-AD89-44F6-AFB5-071BFD8023AA}"/>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08FDECF4-BB6F-4BD1-9926-40FAE10E659E}"/>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D130D64-8837-4DB2-91E8-64A7DF668DF8}"/>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407AF5EF-BFEC-48F0-8FCB-3D64B904E34A}"/>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8AD131E5-D795-4531-852D-263E3AE3725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4897C4E8-D278-489A-9D10-7703C108026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F10DCB2-3032-46E7-8B89-3B447CD40BF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AB2F07E4-E87E-46CB-9669-17C2CAA5A36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6448D941-0B40-42F8-A584-2A0E4AC4AFAF}"/>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3CBDB20-ADEC-4520-9C78-02E22A96086C}"/>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0DA80336-EDA3-4257-BA89-8A021FBE97C6}"/>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A3E88E4-B5B0-4C0F-9D06-45C9260DDCCA}"/>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D109684-F1C4-4369-8828-D38C55EB33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8271D6FE-C7AB-4E82-90F8-5680ED28AC7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8A5A2DD-D889-49A7-A385-7B879E7CE4F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CE42627D-EDBF-4638-8F31-125AB8DEB8A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76ED9F37-CF29-4FB1-A6B1-B6F5A882060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54BA936-0473-431A-9807-4903FBDA5B4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6769967-281B-4360-A12D-602E1317C3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10204064-1229-4951-8DD2-41876DA8E49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8F6EC3FD-8D3E-41CD-B315-1C3FA244C06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810C97C4-53B5-4264-B6DA-EAF81C05267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84165811-3909-430F-A832-27625A6DAD4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C881D6C-EED2-448E-9703-5A5FF1E2256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B194E312-6E81-46A3-B3E7-73260554BA4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8704D6D-B20E-49AC-B229-33CBF0745A7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6504F2C6-2CEF-4BC7-B9C5-C32B1CC154F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37A360C-B730-43E2-86C5-D0E8703F221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C7F3B05F-512C-4C61-BFE3-4EF74E39565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ADA044A1-9FB6-469D-80DA-E6B752F59AF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B8E539B5-FAF7-4D0B-BDE4-F094D5761DB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A3FE3FE-4AFE-48B2-ABFF-9B213D66219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FA3D6E0-8F96-4330-9F12-D7B78310D45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AD2599DB-E411-406F-B371-254DA0EF7F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46027A25-AACE-4AD4-8FAF-EF5BFCDA11D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B255B797-2C02-4DC4-A893-79222F49D4F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9899DF27-5848-412A-ADF1-01C1390ABB5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6DE88F75-1CDF-403B-AA98-D651D7C52C5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3061587-46F0-4325-BCA1-BB73FB88237D}"/>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9A0A642-FFD5-495B-A8BC-797351B33B2A}"/>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5EB6B3A-D4E8-41E5-BA56-6E509DC28F14}"/>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5A0268F-807B-4A36-8576-4E18B145CBCF}"/>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59D4C7F-1D4D-4EF4-AB33-B90FCE4281F6}"/>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90146BF-2F5C-4F65-A9A6-DDDF4972E77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6E36351-E8F7-4724-B0E6-080A9EAD381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D58CDB34-DD88-4B49-B1A2-78F5FC79115E}"/>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531F002-BCAD-4BB4-B988-E9A6A1861CA7}"/>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1A89BE0-66E6-4AF4-AF63-86F6C121E888}"/>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383E2158-106D-4078-BC4A-812D5062F259}"/>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7FBF017-2A29-4CFB-9028-A3AE346331F3}"/>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38D3CF32-3F31-4F2F-8930-10B89604F289}"/>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C4F4277E-EE70-42AF-B455-6B348F328A19}"/>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FE5C1D32-38E8-4DEF-A11E-BF172FBC11A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43843C9-B2D5-4F16-9BC3-7EC0EE47B90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5C1F84D-B8B2-4151-9416-5125DC029422}"/>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DEDC6F87-9F07-4433-AE13-D9D11255F776}"/>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431FAB03-6F9B-45B6-A251-8F7D677847E4}"/>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1083E248-0A48-4858-AA68-2A8CE716260C}"/>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5A8F74E4-3A5D-4592-9B8E-8CC8D4A72CE7}"/>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4393224-A723-47B6-B678-B7FF4B30FCD2}"/>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ABDA00B9-804A-4988-9684-53DAC2141A5A}"/>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66EF4C8A-ACAD-4EF8-987C-C49559D893EA}"/>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F22B71E5-43AC-461C-8292-6EDE4C98C8FA}"/>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9836B792-73CD-451F-B4B8-8BFB11E47C6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9F929A2-1DF7-40E6-AE55-F6C3DCF5A1B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6B8B29F1-D87E-45FA-B94C-E9B4C8BE68D8}"/>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553E82F2-7EEC-45A9-879F-5D236FB35283}"/>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D7DB80F-CC27-41AC-934E-208D9F10C62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3F107CB0-B0A5-4B1A-B2E8-667968E7AC5B}"/>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74509B40-6FA1-49DF-B085-6D294A90473B}"/>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5C02AEA-8E87-45D9-8C74-D9469E3ABAA3}"/>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41BC5C42-A25A-46D6-9D3D-B1822E8F2E64}"/>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4B8910B3-4718-47CC-B137-79FE97103C9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F7BD20F2-F5E1-42C5-BB73-95EB6EF82CE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64E30F48-0E4E-46FF-97F4-82D7BBDF73FA}"/>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2A44BD4-2B4A-4B76-A657-429933BA85F2}"/>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A8DA7EFF-3BAB-467A-A3E6-C700D136A95D}"/>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04CD1042-0050-45EF-B8B9-D948DA885917}"/>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FD47C77-D7C4-4A9E-92EA-39B488C4D9D3}"/>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5A767F6-E8F4-4E4D-9C65-375335FC00B8}"/>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A0F5E2A2-17CF-4789-8100-EE61521B3AEE}"/>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07EFC21-BA41-4847-A418-97A01FF0B447}"/>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264E0E15-6689-43D9-AE2D-8C93460D5679}"/>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D6560D5-4F07-4E73-8995-CBCE644E9A8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0B7E9319-C3E9-42D4-9DCB-1DEA55C1E47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DB6F4909-3AD2-4560-A600-595E0ED06138}"/>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121D979E-98B6-48B7-9A2B-644FA1B8F446}"/>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BE2794AF-DD75-4DCA-913D-D5B689708116}"/>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D7B2E966-A7DC-4FD0-91DA-15B471DE6D17}"/>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41F3824F-9E2B-4DDB-89E6-56566C9AACD8}"/>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F7214E2D-511C-44C1-B3DA-B9CC35D17F0B}"/>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58772223-3790-4E0F-B98B-B87DBD550EC0}"/>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F0783713-52C2-423F-9052-E80C7E20447C}"/>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6390981C-7D8B-410E-8F55-890A40D22761}"/>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B433B8BF-E0FB-4678-BD20-74B2A4ABFF69}"/>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2EFC9DC1-6974-42D5-82C0-A66584AA5E8E}"/>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A9187E93-2B3D-4F2C-B865-569D14230C34}"/>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D4A2E8ED-8919-4282-A68F-E086F382DD12}"/>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75055E2C-ABD1-46F4-A597-08718485300D}"/>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782D5F8-7393-4026-9B17-E586EBA3530D}"/>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41E1D554-9C1C-4B94-B235-01C78B619968}"/>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93361460-B540-4F33-9146-5BC96DDE6B49}"/>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07F9A3EB-319B-42A4-8F71-316F64189055}"/>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E05C4343-3E1A-4DE9-9539-264D2295F43E}"/>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FA790A8F-D423-4E8A-AC72-38F668FE1B23}"/>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9DFB4796-43A4-4EE0-8C84-CAF46F714608}"/>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A5E0CE30-8B31-4F97-A3EB-05BB2923074A}"/>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DAA4EC53-DB3F-4F04-98A2-5A47CAA9EC72}"/>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22B4F4B-2647-4B49-83A5-5A95B2B5D8D5}"/>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F7FD0A6B-C327-4B9E-867E-9C9B8D8F5219}"/>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5FE6949F-168B-487D-A6AC-4F0C862F9DEB}"/>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D37E2507-20E2-415E-A402-DAE114803CC4}"/>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667CBC7B-796C-4CE7-AC37-59663957D98C}"/>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A977CA-7FF7-4F19-A671-6409C098A5AB}"/>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05BC09B9-1F8C-45BD-9E64-42F75A2F0874}"/>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AFFFCA6E-D021-42C8-BCF9-D39FA2008255}"/>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CE9907B6-D1D3-4086-B596-7C9730E27677}"/>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EAE34A45-36F8-41D3-A5DD-90849065C35E}"/>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414B8446-A529-4CE7-9CF6-3825CC960D47}"/>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A6AA0050-DE17-407B-8563-105A060E78E8}"/>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E610405D-03A1-407C-A144-E69FFDBCAB10}"/>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68180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nSpc>
                <a:spcPct val="100000"/>
              </a:lnSpc>
            </a:pPr>
            <a:r>
              <a:rPr lang="en-US" spc="0"/>
              <a:t>The Road Ahead</a:t>
            </a:r>
          </a:p>
        </p:txBody>
      </p:sp>
      <p:grpSp>
        <p:nvGrpSpPr>
          <p:cNvPr id="5" name="Graphic 3">
            <a:extLst>
              <a:ext uri="{FF2B5EF4-FFF2-40B4-BE49-F238E27FC236}">
                <a16:creationId xmlns:a16="http://schemas.microsoft.com/office/drawing/2014/main" id="{A32B9812-1A3F-4E79-AD77-6F30EC19104F}"/>
              </a:ext>
            </a:extLst>
          </p:cNvPr>
          <p:cNvGrpSpPr/>
          <p:nvPr/>
        </p:nvGrpSpPr>
        <p:grpSpPr>
          <a:xfrm>
            <a:off x="10160371" y="4383314"/>
            <a:ext cx="925316" cy="1843190"/>
            <a:chOff x="9061177" y="5709556"/>
            <a:chExt cx="118109" cy="235268"/>
          </a:xfrm>
          <a:noFill/>
        </p:grpSpPr>
        <p:sp>
          <p:nvSpPr>
            <p:cNvPr id="6" name="Freeform: Shape 5">
              <a:extLst>
                <a:ext uri="{FF2B5EF4-FFF2-40B4-BE49-F238E27FC236}">
                  <a16:creationId xmlns:a16="http://schemas.microsoft.com/office/drawing/2014/main" id="{6AD98782-0321-4E16-B778-F0E9B48FD68E}"/>
                </a:ext>
              </a:extLst>
            </p:cNvPr>
            <p:cNvSpPr/>
            <p:nvPr/>
          </p:nvSpPr>
          <p:spPr>
            <a:xfrm>
              <a:off x="9085942" y="5709556"/>
              <a:ext cx="9525" cy="223837"/>
            </a:xfrm>
            <a:custGeom>
              <a:avLst/>
              <a:gdLst>
                <a:gd name="connsiteX0" fmla="*/ 0 w 9525"/>
                <a:gd name="connsiteY0" fmla="*/ 223838 h 223837"/>
                <a:gd name="connsiteX1" fmla="*/ 0 w 9525"/>
                <a:gd name="connsiteY1" fmla="*/ 0 h 223837"/>
              </a:gdLst>
              <a:ahLst/>
              <a:cxnLst>
                <a:cxn ang="0">
                  <a:pos x="connsiteX0" y="connsiteY0"/>
                </a:cxn>
                <a:cxn ang="0">
                  <a:pos x="connsiteX1" y="connsiteY1"/>
                </a:cxn>
              </a:cxnLst>
              <a:rect l="l" t="t" r="r" b="b"/>
              <a:pathLst>
                <a:path w="9525" h="223837">
                  <a:moveTo>
                    <a:pt x="0" y="223838"/>
                  </a:moveTo>
                  <a:lnTo>
                    <a:pt x="0" y="0"/>
                  </a:lnTo>
                </a:path>
              </a:pathLst>
            </a:custGeom>
            <a:ln w="22225" cap="sq">
              <a:solidFill>
                <a:srgbClr val="0B556A"/>
              </a:solidFill>
              <a:prstDash val="solid"/>
              <a:miter/>
            </a:ln>
          </p:spPr>
          <p:txBody>
            <a:bodyPr rtlCol="0" anchor="ctr"/>
            <a:lstStyle/>
            <a:p>
              <a:endParaRPr lang="en-IN"/>
            </a:p>
          </p:txBody>
        </p:sp>
        <p:grpSp>
          <p:nvGrpSpPr>
            <p:cNvPr id="7" name="Graphic 3">
              <a:extLst>
                <a:ext uri="{FF2B5EF4-FFF2-40B4-BE49-F238E27FC236}">
                  <a16:creationId xmlns:a16="http://schemas.microsoft.com/office/drawing/2014/main" id="{A32B9812-1A3F-4E79-AD77-6F30EC19104F}"/>
                </a:ext>
              </a:extLst>
            </p:cNvPr>
            <p:cNvGrpSpPr/>
            <p:nvPr/>
          </p:nvGrpSpPr>
          <p:grpSpPr>
            <a:xfrm>
              <a:off x="9061177" y="5714319"/>
              <a:ext cx="118109" cy="230505"/>
              <a:chOff x="9061177" y="5714319"/>
              <a:chExt cx="118109" cy="230505"/>
            </a:xfrm>
            <a:noFill/>
          </p:grpSpPr>
          <p:sp>
            <p:nvSpPr>
              <p:cNvPr id="8" name="Freeform: Shape 7">
                <a:extLst>
                  <a:ext uri="{FF2B5EF4-FFF2-40B4-BE49-F238E27FC236}">
                    <a16:creationId xmlns:a16="http://schemas.microsoft.com/office/drawing/2014/main" id="{D338C88C-219F-462E-8D4B-FEE57AA681B4}"/>
                  </a:ext>
                </a:extLst>
              </p:cNvPr>
              <p:cNvSpPr/>
              <p:nvPr/>
            </p:nvSpPr>
            <p:spPr>
              <a:xfrm>
                <a:off x="9085942" y="5714319"/>
                <a:ext cx="93344" cy="39052"/>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9A43F878-DDDC-45B0-8941-8B595C3066A6}"/>
                  </a:ext>
                </a:extLst>
              </p:cNvPr>
              <p:cNvSpPr/>
              <p:nvPr/>
            </p:nvSpPr>
            <p:spPr>
              <a:xfrm>
                <a:off x="9061177" y="5935299"/>
                <a:ext cx="47625" cy="9525"/>
              </a:xfrm>
              <a:custGeom>
                <a:avLst/>
                <a:gdLst>
                  <a:gd name="connsiteX0" fmla="*/ 0 w 47625"/>
                  <a:gd name="connsiteY0" fmla="*/ 0 h 9525"/>
                  <a:gd name="connsiteX1" fmla="*/ 47625 w 47625"/>
                  <a:gd name="connsiteY1" fmla="*/ 0 h 9525"/>
                </a:gdLst>
                <a:ahLst/>
                <a:cxnLst>
                  <a:cxn ang="0">
                    <a:pos x="connsiteX0" y="connsiteY0"/>
                  </a:cxn>
                  <a:cxn ang="0">
                    <a:pos x="connsiteX1" y="connsiteY1"/>
                  </a:cxn>
                </a:cxnLst>
                <a:rect l="l" t="t" r="r" b="b"/>
                <a:pathLst>
                  <a:path w="47625" h="9525">
                    <a:moveTo>
                      <a:pt x="0" y="0"/>
                    </a:moveTo>
                    <a:lnTo>
                      <a:pt x="47625" y="0"/>
                    </a:lnTo>
                  </a:path>
                </a:pathLst>
              </a:custGeom>
              <a:ln w="22225" cap="sq">
                <a:solidFill>
                  <a:srgbClr val="0B556A"/>
                </a:solid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E85D1A25-39E3-47A2-A1CC-ACB2A05187EC}"/>
                  </a:ext>
                </a:extLst>
              </p:cNvPr>
              <p:cNvSpPr/>
              <p:nvPr/>
            </p:nvSpPr>
            <p:spPr>
              <a:xfrm>
                <a:off x="9085942" y="5772253"/>
                <a:ext cx="64765" cy="27096"/>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grpSp>
      </p:grpSp>
    </p:spTree>
    <p:extLst>
      <p:ext uri="{BB962C8B-B14F-4D97-AF65-F5344CB8AC3E}">
        <p14:creationId xmlns:p14="http://schemas.microsoft.com/office/powerpoint/2010/main" val="3887289494"/>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Shape 35">
            <a:extLst>
              <a:ext uri="{FF2B5EF4-FFF2-40B4-BE49-F238E27FC236}">
                <a16:creationId xmlns:a16="http://schemas.microsoft.com/office/drawing/2014/main" id="{3013DEE0-FA3B-485D-B4B2-C2EE0346A793}"/>
              </a:ext>
            </a:extLst>
          </p:cNvPr>
          <p:cNvSpPr/>
          <p:nvPr/>
        </p:nvSpPr>
        <p:spPr bwMode="auto">
          <a:xfrm flipH="1">
            <a:off x="1" y="0"/>
            <a:ext cx="9578232" cy="6858001"/>
          </a:xfrm>
          <a:custGeom>
            <a:avLst/>
            <a:gdLst>
              <a:gd name="connsiteX0" fmla="*/ 9578232 w 9578232"/>
              <a:gd name="connsiteY0" fmla="*/ 0 h 6858001"/>
              <a:gd name="connsiteX1" fmla="*/ 6857999 w 9578232"/>
              <a:gd name="connsiteY1" fmla="*/ 0 h 6858001"/>
              <a:gd name="connsiteX2" fmla="*/ 0 w 9578232"/>
              <a:gd name="connsiteY2" fmla="*/ 6858001 h 6858001"/>
              <a:gd name="connsiteX3" fmla="*/ 9578232 w 9578232"/>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9578232" h="6858001">
                <a:moveTo>
                  <a:pt x="9578232" y="0"/>
                </a:moveTo>
                <a:lnTo>
                  <a:pt x="6857999" y="0"/>
                </a:lnTo>
                <a:lnTo>
                  <a:pt x="0" y="6858001"/>
                </a:lnTo>
                <a:lnTo>
                  <a:pt x="9578232" y="6858001"/>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E47E315A-C867-4066-A24F-80A7DBCB66D4}"/>
              </a:ext>
            </a:extLst>
          </p:cNvPr>
          <p:cNvSpPr/>
          <p:nvPr/>
        </p:nvSpPr>
        <p:spPr bwMode="auto">
          <a:xfrm rot="10800000">
            <a:off x="-1" y="0"/>
            <a:ext cx="3538618" cy="3512911"/>
          </a:xfrm>
          <a:custGeom>
            <a:avLst/>
            <a:gdLst>
              <a:gd name="connsiteX0" fmla="*/ 3538618 w 3538618"/>
              <a:gd name="connsiteY0" fmla="*/ 3512911 h 3512911"/>
              <a:gd name="connsiteX1" fmla="*/ 0 w 3538618"/>
              <a:gd name="connsiteY1" fmla="*/ 3512911 h 3512911"/>
              <a:gd name="connsiteX2" fmla="*/ 3512911 w 3538618"/>
              <a:gd name="connsiteY2" fmla="*/ 0 h 3512911"/>
              <a:gd name="connsiteX3" fmla="*/ 3538618 w 3538618"/>
              <a:gd name="connsiteY3" fmla="*/ 24151 h 3512911"/>
            </a:gdLst>
            <a:ahLst/>
            <a:cxnLst>
              <a:cxn ang="0">
                <a:pos x="connsiteX0" y="connsiteY0"/>
              </a:cxn>
              <a:cxn ang="0">
                <a:pos x="connsiteX1" y="connsiteY1"/>
              </a:cxn>
              <a:cxn ang="0">
                <a:pos x="connsiteX2" y="connsiteY2"/>
              </a:cxn>
              <a:cxn ang="0">
                <a:pos x="connsiteX3" y="connsiteY3"/>
              </a:cxn>
            </a:cxnLst>
            <a:rect l="l" t="t" r="r" b="b"/>
            <a:pathLst>
              <a:path w="3538618" h="3512911">
                <a:moveTo>
                  <a:pt x="3538618" y="3512911"/>
                </a:moveTo>
                <a:lnTo>
                  <a:pt x="0" y="3512911"/>
                </a:lnTo>
                <a:lnTo>
                  <a:pt x="3512911" y="0"/>
                </a:lnTo>
                <a:lnTo>
                  <a:pt x="3538618" y="2415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2AEF2194-79A2-4C17-AC5B-7AAE3FADBBB2}"/>
              </a:ext>
            </a:extLst>
          </p:cNvPr>
          <p:cNvSpPr/>
          <p:nvPr/>
        </p:nvSpPr>
        <p:spPr bwMode="auto">
          <a:xfrm>
            <a:off x="8899666" y="4958814"/>
            <a:ext cx="3292334" cy="1899187"/>
          </a:xfrm>
          <a:custGeom>
            <a:avLst/>
            <a:gdLst>
              <a:gd name="connsiteX0" fmla="*/ 1899187 w 3292334"/>
              <a:gd name="connsiteY0" fmla="*/ 0 h 1899187"/>
              <a:gd name="connsiteX1" fmla="*/ 3292334 w 3292334"/>
              <a:gd name="connsiteY1" fmla="*/ 1308850 h 1899187"/>
              <a:gd name="connsiteX2" fmla="*/ 3292334 w 3292334"/>
              <a:gd name="connsiteY2" fmla="*/ 1899187 h 1899187"/>
              <a:gd name="connsiteX3" fmla="*/ 0 w 3292334"/>
              <a:gd name="connsiteY3" fmla="*/ 1899187 h 1899187"/>
            </a:gdLst>
            <a:ahLst/>
            <a:cxnLst>
              <a:cxn ang="0">
                <a:pos x="connsiteX0" y="connsiteY0"/>
              </a:cxn>
              <a:cxn ang="0">
                <a:pos x="connsiteX1" y="connsiteY1"/>
              </a:cxn>
              <a:cxn ang="0">
                <a:pos x="connsiteX2" y="connsiteY2"/>
              </a:cxn>
              <a:cxn ang="0">
                <a:pos x="connsiteX3" y="connsiteY3"/>
              </a:cxn>
            </a:cxnLst>
            <a:rect l="l" t="t" r="r" b="b"/>
            <a:pathLst>
              <a:path w="3292334" h="1899187">
                <a:moveTo>
                  <a:pt x="1899187" y="0"/>
                </a:moveTo>
                <a:lnTo>
                  <a:pt x="3292334" y="1308850"/>
                </a:lnTo>
                <a:lnTo>
                  <a:pt x="3292334" y="1899187"/>
                </a:lnTo>
                <a:lnTo>
                  <a:pt x="0" y="189918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6840F76E-AA75-4FB4-90B1-F1A3DDBDA190}"/>
              </a:ext>
            </a:extLst>
          </p:cNvPr>
          <p:cNvSpPr>
            <a:spLocks noGrp="1"/>
          </p:cNvSpPr>
          <p:nvPr>
            <p:ph type="title"/>
          </p:nvPr>
        </p:nvSpPr>
        <p:spPr/>
        <p:txBody>
          <a:bodyPr/>
          <a:lstStyle/>
          <a:p>
            <a:r>
              <a:rPr lang="en-IN">
                <a:solidFill>
                  <a:schemeClr val="bg1"/>
                </a:solidFill>
              </a:rPr>
              <a:t>Coming</a:t>
            </a:r>
          </a:p>
        </p:txBody>
      </p:sp>
      <p:sp>
        <p:nvSpPr>
          <p:cNvPr id="134" name="Rectangle 133">
            <a:extLst>
              <a:ext uri="{FF2B5EF4-FFF2-40B4-BE49-F238E27FC236}">
                <a16:creationId xmlns:a16="http://schemas.microsoft.com/office/drawing/2014/main" id="{8D03FE3E-8169-4413-8C90-14E22FEBA9E3}"/>
              </a:ext>
            </a:extLst>
          </p:cNvPr>
          <p:cNvSpPr/>
          <p:nvPr/>
        </p:nvSpPr>
        <p:spPr>
          <a:xfrm>
            <a:off x="5011193" y="527849"/>
            <a:ext cx="3463970" cy="62753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a:solidFill>
                  <a:srgbClr val="0B556A"/>
                </a:solidFill>
                <a:cs typeface="Segoe UI Semibold" panose="020B0702040204020203" pitchFamily="34" charset="0"/>
              </a:rPr>
              <a:t>Expand reach with support for new languages, channels, and</a:t>
            </a:r>
            <a:br>
              <a:rPr lang="en-US" sz="2000" kern="0">
                <a:solidFill>
                  <a:srgbClr val="0B556A"/>
                </a:solidFill>
                <a:cs typeface="Segoe UI Semibold" panose="020B0702040204020203" pitchFamily="34" charset="0"/>
              </a:rPr>
            </a:br>
            <a:r>
              <a:rPr lang="en-US" sz="2000" kern="0">
                <a:solidFill>
                  <a:srgbClr val="0B556A"/>
                </a:solidFill>
                <a:cs typeface="Segoe UI Semibold" panose="020B0702040204020203" pitchFamily="34" charset="0"/>
              </a:rPr>
              <a:t>telephony integration</a:t>
            </a:r>
          </a:p>
        </p:txBody>
      </p:sp>
      <p:sp>
        <p:nvSpPr>
          <p:cNvPr id="135" name="Rectangle 134">
            <a:extLst>
              <a:ext uri="{FF2B5EF4-FFF2-40B4-BE49-F238E27FC236}">
                <a16:creationId xmlns:a16="http://schemas.microsoft.com/office/drawing/2014/main" id="{AA4CFC17-F85B-4751-AC01-2A8793449074}"/>
              </a:ext>
            </a:extLst>
          </p:cNvPr>
          <p:cNvSpPr/>
          <p:nvPr/>
        </p:nvSpPr>
        <p:spPr>
          <a:xfrm>
            <a:off x="1200150" y="3366020"/>
            <a:ext cx="3835399" cy="91675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a:solidFill>
                  <a:srgbClr val="0B556A"/>
                </a:solidFill>
                <a:cs typeface="Segoe UI Semibold" panose="020B0702040204020203" pitchFamily="34" charset="0"/>
              </a:rPr>
              <a:t>Enable bots to have more powerful conversations: Using global variables, deeper CDS integration, rich responses</a:t>
            </a:r>
          </a:p>
        </p:txBody>
      </p:sp>
      <p:sp>
        <p:nvSpPr>
          <p:cNvPr id="136" name="Rectangle 135">
            <a:extLst>
              <a:ext uri="{FF2B5EF4-FFF2-40B4-BE49-F238E27FC236}">
                <a16:creationId xmlns:a16="http://schemas.microsoft.com/office/drawing/2014/main" id="{6AF5C251-4CEF-4540-B8EC-861A49F6862D}"/>
              </a:ext>
            </a:extLst>
          </p:cNvPr>
          <p:cNvSpPr/>
          <p:nvPr/>
        </p:nvSpPr>
        <p:spPr>
          <a:xfrm>
            <a:off x="7260344" y="2855871"/>
            <a:ext cx="4023605" cy="61281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a:solidFill>
                  <a:srgbClr val="0B556A"/>
                </a:solidFill>
                <a:cs typeface="Segoe UI Semibold" panose="020B0702040204020203" pitchFamily="34" charset="0"/>
              </a:rPr>
              <a:t>Meet large enterprise needs through better IT manageability: Staging, application lifecycle</a:t>
            </a:r>
          </a:p>
        </p:txBody>
      </p:sp>
      <p:sp>
        <p:nvSpPr>
          <p:cNvPr id="137" name="Rectangle 136">
            <a:extLst>
              <a:ext uri="{FF2B5EF4-FFF2-40B4-BE49-F238E27FC236}">
                <a16:creationId xmlns:a16="http://schemas.microsoft.com/office/drawing/2014/main" id="{537DD267-349A-4490-9A26-51C208D78624}"/>
              </a:ext>
            </a:extLst>
          </p:cNvPr>
          <p:cNvSpPr/>
          <p:nvPr/>
        </p:nvSpPr>
        <p:spPr>
          <a:xfrm>
            <a:off x="2711451" y="5490111"/>
            <a:ext cx="4610012" cy="91619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a:solidFill>
                  <a:srgbClr val="0B556A"/>
                </a:solidFill>
                <a:cs typeface="Segoe UI Semibold" panose="020B0702040204020203" pitchFamily="34" charset="0"/>
              </a:rPr>
              <a:t>Deeper Human + AI collaboration, continually suggesting new topics to automate as the bot gets used </a:t>
            </a:r>
          </a:p>
        </p:txBody>
      </p:sp>
      <p:grpSp>
        <p:nvGrpSpPr>
          <p:cNvPr id="7" name="Group 6">
            <a:extLst>
              <a:ext uri="{FF2B5EF4-FFF2-40B4-BE49-F238E27FC236}">
                <a16:creationId xmlns:a16="http://schemas.microsoft.com/office/drawing/2014/main" id="{D8350462-0EEC-48F5-ACB3-066B541027E1}"/>
              </a:ext>
            </a:extLst>
          </p:cNvPr>
          <p:cNvGrpSpPr/>
          <p:nvPr/>
        </p:nvGrpSpPr>
        <p:grpSpPr>
          <a:xfrm>
            <a:off x="3873280" y="1161286"/>
            <a:ext cx="1144024" cy="1144026"/>
            <a:chOff x="3351812" y="1408208"/>
            <a:chExt cx="1144024" cy="1144026"/>
          </a:xfrm>
        </p:grpSpPr>
        <p:sp>
          <p:nvSpPr>
            <p:cNvPr id="5" name="Rectangle 4">
              <a:extLst>
                <a:ext uri="{FF2B5EF4-FFF2-40B4-BE49-F238E27FC236}">
                  <a16:creationId xmlns:a16="http://schemas.microsoft.com/office/drawing/2014/main" id="{894381CB-3E40-4B8F-8AEF-183A5F08622C}"/>
                </a:ext>
              </a:extLst>
            </p:cNvPr>
            <p:cNvSpPr/>
            <p:nvPr/>
          </p:nvSpPr>
          <p:spPr bwMode="auto">
            <a:xfrm rot="2700000">
              <a:off x="3422017" y="1481782"/>
              <a:ext cx="1003616" cy="1003614"/>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8" name="Move_E7C2" title="Icon of four arrows pointing away from eachother">
              <a:extLst>
                <a:ext uri="{FF2B5EF4-FFF2-40B4-BE49-F238E27FC236}">
                  <a16:creationId xmlns:a16="http://schemas.microsoft.com/office/drawing/2014/main" id="{26E9BCDB-0199-4E48-AD0D-47C0A27DE5ED}"/>
                </a:ext>
              </a:extLst>
            </p:cNvPr>
            <p:cNvSpPr>
              <a:spLocks noChangeAspect="1" noEditPoints="1"/>
            </p:cNvSpPr>
            <p:nvPr/>
          </p:nvSpPr>
          <p:spPr bwMode="auto">
            <a:xfrm>
              <a:off x="3670937" y="1730639"/>
              <a:ext cx="505776" cy="50590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8" name="Rectangle 37">
              <a:extLst>
                <a:ext uri="{FF2B5EF4-FFF2-40B4-BE49-F238E27FC236}">
                  <a16:creationId xmlns:a16="http://schemas.microsoft.com/office/drawing/2014/main" id="{2A7397F1-E26C-4D0C-8D96-CF3684454D15}"/>
                </a:ext>
              </a:extLst>
            </p:cNvPr>
            <p:cNvSpPr/>
            <p:nvPr/>
          </p:nvSpPr>
          <p:spPr bwMode="auto">
            <a:xfrm rot="2700000">
              <a:off x="3351811" y="1408209"/>
              <a:ext cx="1144026" cy="1144024"/>
            </a:xfrm>
            <a:custGeom>
              <a:avLst/>
              <a:gdLst>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0 w 1144026"/>
                <a:gd name="connsiteY4" fmla="*/ 0 h 1144024"/>
                <a:gd name="connsiteX0" fmla="*/ 1144026 w 1235466"/>
                <a:gd name="connsiteY0" fmla="*/ 1144024 h 1235464"/>
                <a:gd name="connsiteX1" fmla="*/ 0 w 1235466"/>
                <a:gd name="connsiteY1" fmla="*/ 1144024 h 1235464"/>
                <a:gd name="connsiteX2" fmla="*/ 0 w 1235466"/>
                <a:gd name="connsiteY2" fmla="*/ 0 h 1235464"/>
                <a:gd name="connsiteX3" fmla="*/ 1144026 w 1235466"/>
                <a:gd name="connsiteY3" fmla="*/ 0 h 1235464"/>
                <a:gd name="connsiteX4" fmla="*/ 1235466 w 1235466"/>
                <a:gd name="connsiteY4" fmla="*/ 1235464 h 1235464"/>
                <a:gd name="connsiteX0" fmla="*/ 1144026 w 1144026"/>
                <a:gd name="connsiteY0" fmla="*/ 1144024 h 1144024"/>
                <a:gd name="connsiteX1" fmla="*/ 0 w 1144026"/>
                <a:gd name="connsiteY1" fmla="*/ 1144024 h 1144024"/>
                <a:gd name="connsiteX2" fmla="*/ 0 w 1144026"/>
                <a:gd name="connsiteY2" fmla="*/ 0 h 1144024"/>
                <a:gd name="connsiteX3" fmla="*/ 1144026 w 1144026"/>
                <a:gd name="connsiteY3" fmla="*/ 0 h 1144024"/>
                <a:gd name="connsiteX0" fmla="*/ 0 w 1144026"/>
                <a:gd name="connsiteY0" fmla="*/ 1144024 h 1144024"/>
                <a:gd name="connsiteX1" fmla="*/ 0 w 1144026"/>
                <a:gd name="connsiteY1" fmla="*/ 0 h 1144024"/>
                <a:gd name="connsiteX2" fmla="*/ 1144026 w 1144026"/>
                <a:gd name="connsiteY2" fmla="*/ 0 h 1144024"/>
              </a:gdLst>
              <a:ahLst/>
              <a:cxnLst>
                <a:cxn ang="0">
                  <a:pos x="connsiteX0" y="connsiteY0"/>
                </a:cxn>
                <a:cxn ang="0">
                  <a:pos x="connsiteX1" y="connsiteY1"/>
                </a:cxn>
                <a:cxn ang="0">
                  <a:pos x="connsiteX2" y="connsiteY2"/>
                </a:cxn>
              </a:cxnLst>
              <a:rect l="l" t="t" r="r" b="b"/>
              <a:pathLst>
                <a:path w="1144026" h="1144024">
                  <a:moveTo>
                    <a:pt x="0" y="1144024"/>
                  </a:moveTo>
                  <a:lnTo>
                    <a:pt x="0" y="0"/>
                  </a:lnTo>
                  <a:lnTo>
                    <a:pt x="1144026" y="0"/>
                  </a:lnTo>
                </a:path>
              </a:pathLst>
            </a:custGeom>
            <a:noFill/>
            <a:ln>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00799C26-7567-40BC-9B39-50B539255169}"/>
              </a:ext>
            </a:extLst>
          </p:cNvPr>
          <p:cNvGrpSpPr/>
          <p:nvPr/>
        </p:nvGrpSpPr>
        <p:grpSpPr>
          <a:xfrm>
            <a:off x="5006145" y="2301809"/>
            <a:ext cx="1144024" cy="1144026"/>
            <a:chOff x="4685629" y="2739989"/>
            <a:chExt cx="1144024" cy="1144026"/>
          </a:xfrm>
        </p:grpSpPr>
        <p:sp>
          <p:nvSpPr>
            <p:cNvPr id="58" name="Rectangle 57">
              <a:extLst>
                <a:ext uri="{FF2B5EF4-FFF2-40B4-BE49-F238E27FC236}">
                  <a16:creationId xmlns:a16="http://schemas.microsoft.com/office/drawing/2014/main" id="{2FBAB266-562A-40FF-98FD-CA0D35F65046}"/>
                </a:ext>
              </a:extLst>
            </p:cNvPr>
            <p:cNvSpPr/>
            <p:nvPr/>
          </p:nvSpPr>
          <p:spPr bwMode="auto">
            <a:xfrm rot="2700000">
              <a:off x="4755834" y="2813563"/>
              <a:ext cx="1003616" cy="1003614"/>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9" name="speech_5" title="Icon of two overlapping chat bubbles">
              <a:extLst>
                <a:ext uri="{FF2B5EF4-FFF2-40B4-BE49-F238E27FC236}">
                  <a16:creationId xmlns:a16="http://schemas.microsoft.com/office/drawing/2014/main" id="{5DA99A31-C6A3-4EED-883E-7D6A7691FB8F}"/>
                </a:ext>
              </a:extLst>
            </p:cNvPr>
            <p:cNvSpPr>
              <a:spLocks noChangeAspect="1" noEditPoints="1"/>
            </p:cNvSpPr>
            <p:nvPr/>
          </p:nvSpPr>
          <p:spPr bwMode="auto">
            <a:xfrm>
              <a:off x="5023748" y="3129888"/>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9" name="Rectangle 38">
              <a:extLst>
                <a:ext uri="{FF2B5EF4-FFF2-40B4-BE49-F238E27FC236}">
                  <a16:creationId xmlns:a16="http://schemas.microsoft.com/office/drawing/2014/main" id="{2A8E8F7C-CA07-4993-98C5-D3608B8B6A50}"/>
                </a:ext>
              </a:extLst>
            </p:cNvPr>
            <p:cNvSpPr/>
            <p:nvPr/>
          </p:nvSpPr>
          <p:spPr bwMode="auto">
            <a:xfrm rot="2700000">
              <a:off x="4685628" y="2739990"/>
              <a:ext cx="1144026" cy="1144024"/>
            </a:xfrm>
            <a:custGeom>
              <a:avLst/>
              <a:gdLst>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0 w 1144026"/>
                <a:gd name="connsiteY4" fmla="*/ 0 h 1144024"/>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91440 w 1144026"/>
                <a:gd name="connsiteY4" fmla="*/ 91440 h 1144024"/>
                <a:gd name="connsiteX0" fmla="*/ 1144026 w 1144026"/>
                <a:gd name="connsiteY0" fmla="*/ 0 h 1144024"/>
                <a:gd name="connsiteX1" fmla="*/ 1144026 w 1144026"/>
                <a:gd name="connsiteY1" fmla="*/ 1144024 h 1144024"/>
                <a:gd name="connsiteX2" fmla="*/ 0 w 1144026"/>
                <a:gd name="connsiteY2" fmla="*/ 1144024 h 1144024"/>
                <a:gd name="connsiteX3" fmla="*/ 91440 w 1144026"/>
                <a:gd name="connsiteY3" fmla="*/ 91440 h 1144024"/>
                <a:gd name="connsiteX0" fmla="*/ 1144026 w 1144026"/>
                <a:gd name="connsiteY0" fmla="*/ 0 h 1144024"/>
                <a:gd name="connsiteX1" fmla="*/ 1144026 w 1144026"/>
                <a:gd name="connsiteY1" fmla="*/ 1144024 h 1144024"/>
                <a:gd name="connsiteX2" fmla="*/ 0 w 1144026"/>
                <a:gd name="connsiteY2" fmla="*/ 1144024 h 1144024"/>
              </a:gdLst>
              <a:ahLst/>
              <a:cxnLst>
                <a:cxn ang="0">
                  <a:pos x="connsiteX0" y="connsiteY0"/>
                </a:cxn>
                <a:cxn ang="0">
                  <a:pos x="connsiteX1" y="connsiteY1"/>
                </a:cxn>
                <a:cxn ang="0">
                  <a:pos x="connsiteX2" y="connsiteY2"/>
                </a:cxn>
              </a:cxnLst>
              <a:rect l="l" t="t" r="r" b="b"/>
              <a:pathLst>
                <a:path w="1144026" h="1144024">
                  <a:moveTo>
                    <a:pt x="1144026" y="0"/>
                  </a:moveTo>
                  <a:lnTo>
                    <a:pt x="1144026" y="1144024"/>
                  </a:lnTo>
                  <a:lnTo>
                    <a:pt x="0" y="1144024"/>
                  </a:lnTo>
                </a:path>
              </a:pathLst>
            </a:custGeom>
            <a:noFill/>
            <a:ln>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E8546008-E58C-41A2-8D6B-C6EA52E34A15}"/>
              </a:ext>
            </a:extLst>
          </p:cNvPr>
          <p:cNvGrpSpPr/>
          <p:nvPr/>
        </p:nvGrpSpPr>
        <p:grpSpPr>
          <a:xfrm>
            <a:off x="6139010" y="3442332"/>
            <a:ext cx="1144024" cy="1144026"/>
            <a:chOff x="6019446" y="4071770"/>
            <a:chExt cx="1144024" cy="1144026"/>
          </a:xfrm>
        </p:grpSpPr>
        <p:sp>
          <p:nvSpPr>
            <p:cNvPr id="59" name="Rectangle 58">
              <a:extLst>
                <a:ext uri="{FF2B5EF4-FFF2-40B4-BE49-F238E27FC236}">
                  <a16:creationId xmlns:a16="http://schemas.microsoft.com/office/drawing/2014/main" id="{4AB54BF7-1BC8-4673-AF18-2144CE8CEB6A}"/>
                </a:ext>
              </a:extLst>
            </p:cNvPr>
            <p:cNvSpPr/>
            <p:nvPr/>
          </p:nvSpPr>
          <p:spPr bwMode="auto">
            <a:xfrm rot="2700000">
              <a:off x="6089651" y="4145344"/>
              <a:ext cx="1003616" cy="1003614"/>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0" name="building_5" title="Icon of tall buildings">
              <a:extLst>
                <a:ext uri="{FF2B5EF4-FFF2-40B4-BE49-F238E27FC236}">
                  <a16:creationId xmlns:a16="http://schemas.microsoft.com/office/drawing/2014/main" id="{84380197-6044-46E0-9315-C6D2591100FC}"/>
                </a:ext>
              </a:extLst>
            </p:cNvPr>
            <p:cNvSpPr>
              <a:spLocks noChangeAspect="1" noEditPoints="1"/>
            </p:cNvSpPr>
            <p:nvPr/>
          </p:nvSpPr>
          <p:spPr bwMode="auto">
            <a:xfrm>
              <a:off x="6358256" y="4393875"/>
              <a:ext cx="466406" cy="50655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Rectangle 39">
              <a:extLst>
                <a:ext uri="{FF2B5EF4-FFF2-40B4-BE49-F238E27FC236}">
                  <a16:creationId xmlns:a16="http://schemas.microsoft.com/office/drawing/2014/main" id="{5284B96D-C5F5-49D9-8441-C5BAE90567BE}"/>
                </a:ext>
              </a:extLst>
            </p:cNvPr>
            <p:cNvSpPr/>
            <p:nvPr/>
          </p:nvSpPr>
          <p:spPr bwMode="auto">
            <a:xfrm rot="2700000">
              <a:off x="6019445" y="4071771"/>
              <a:ext cx="1144026" cy="1144024"/>
            </a:xfrm>
            <a:custGeom>
              <a:avLst/>
              <a:gdLst>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0 w 1144026"/>
                <a:gd name="connsiteY4" fmla="*/ 0 h 1144024"/>
                <a:gd name="connsiteX0" fmla="*/ 1144026 w 1235466"/>
                <a:gd name="connsiteY0" fmla="*/ 1144024 h 1235464"/>
                <a:gd name="connsiteX1" fmla="*/ 0 w 1235466"/>
                <a:gd name="connsiteY1" fmla="*/ 1144024 h 1235464"/>
                <a:gd name="connsiteX2" fmla="*/ 0 w 1235466"/>
                <a:gd name="connsiteY2" fmla="*/ 0 h 1235464"/>
                <a:gd name="connsiteX3" fmla="*/ 1144026 w 1235466"/>
                <a:gd name="connsiteY3" fmla="*/ 0 h 1235464"/>
                <a:gd name="connsiteX4" fmla="*/ 1235466 w 1235466"/>
                <a:gd name="connsiteY4" fmla="*/ 1235464 h 1235464"/>
                <a:gd name="connsiteX0" fmla="*/ 1144026 w 1144026"/>
                <a:gd name="connsiteY0" fmla="*/ 1144024 h 1144024"/>
                <a:gd name="connsiteX1" fmla="*/ 0 w 1144026"/>
                <a:gd name="connsiteY1" fmla="*/ 1144024 h 1144024"/>
                <a:gd name="connsiteX2" fmla="*/ 0 w 1144026"/>
                <a:gd name="connsiteY2" fmla="*/ 0 h 1144024"/>
                <a:gd name="connsiteX3" fmla="*/ 1144026 w 1144026"/>
                <a:gd name="connsiteY3" fmla="*/ 0 h 1144024"/>
                <a:gd name="connsiteX0" fmla="*/ 0 w 1144026"/>
                <a:gd name="connsiteY0" fmla="*/ 1144024 h 1144024"/>
                <a:gd name="connsiteX1" fmla="*/ 0 w 1144026"/>
                <a:gd name="connsiteY1" fmla="*/ 0 h 1144024"/>
                <a:gd name="connsiteX2" fmla="*/ 1144026 w 1144026"/>
                <a:gd name="connsiteY2" fmla="*/ 0 h 1144024"/>
              </a:gdLst>
              <a:ahLst/>
              <a:cxnLst>
                <a:cxn ang="0">
                  <a:pos x="connsiteX0" y="connsiteY0"/>
                </a:cxn>
                <a:cxn ang="0">
                  <a:pos x="connsiteX1" y="connsiteY1"/>
                </a:cxn>
                <a:cxn ang="0">
                  <a:pos x="connsiteX2" y="connsiteY2"/>
                </a:cxn>
              </a:cxnLst>
              <a:rect l="l" t="t" r="r" b="b"/>
              <a:pathLst>
                <a:path w="1144026" h="1144024">
                  <a:moveTo>
                    <a:pt x="0" y="1144024"/>
                  </a:moveTo>
                  <a:lnTo>
                    <a:pt x="0" y="0"/>
                  </a:lnTo>
                  <a:lnTo>
                    <a:pt x="1144026" y="0"/>
                  </a:lnTo>
                </a:path>
              </a:pathLst>
            </a:custGeom>
            <a:noFill/>
            <a:ln>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99E4389B-D7DB-4764-B3ED-F8D1871B7B05}"/>
              </a:ext>
            </a:extLst>
          </p:cNvPr>
          <p:cNvGrpSpPr/>
          <p:nvPr/>
        </p:nvGrpSpPr>
        <p:grpSpPr>
          <a:xfrm>
            <a:off x="7271875" y="4582854"/>
            <a:ext cx="1144024" cy="1144026"/>
            <a:chOff x="7353263" y="5403550"/>
            <a:chExt cx="1144024" cy="1144026"/>
          </a:xfrm>
        </p:grpSpPr>
        <p:sp>
          <p:nvSpPr>
            <p:cNvPr id="60" name="Rectangle 59">
              <a:extLst>
                <a:ext uri="{FF2B5EF4-FFF2-40B4-BE49-F238E27FC236}">
                  <a16:creationId xmlns:a16="http://schemas.microsoft.com/office/drawing/2014/main" id="{F0900D14-BA82-4254-8EA6-633F9B52B51C}"/>
                </a:ext>
              </a:extLst>
            </p:cNvPr>
            <p:cNvSpPr/>
            <p:nvPr/>
          </p:nvSpPr>
          <p:spPr bwMode="auto">
            <a:xfrm rot="2700000">
              <a:off x="7423468" y="5477124"/>
              <a:ext cx="1003616" cy="1003614"/>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1" name="brain_3" title="Icon of a brain">
              <a:extLst>
                <a:ext uri="{FF2B5EF4-FFF2-40B4-BE49-F238E27FC236}">
                  <a16:creationId xmlns:a16="http://schemas.microsoft.com/office/drawing/2014/main" id="{FFE3866C-8FD7-4A19-B03C-196B57D7F597}"/>
                </a:ext>
              </a:extLst>
            </p:cNvPr>
            <p:cNvSpPr>
              <a:spLocks noChangeAspect="1" noEditPoints="1"/>
            </p:cNvSpPr>
            <p:nvPr/>
          </p:nvSpPr>
          <p:spPr bwMode="auto">
            <a:xfrm>
              <a:off x="7730488" y="5769482"/>
              <a:ext cx="389576" cy="41889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a:extLst>
                <a:ext uri="{FF2B5EF4-FFF2-40B4-BE49-F238E27FC236}">
                  <a16:creationId xmlns:a16="http://schemas.microsoft.com/office/drawing/2014/main" id="{C1A5B73A-916C-498B-9A97-440301FCD5FE}"/>
                </a:ext>
              </a:extLst>
            </p:cNvPr>
            <p:cNvSpPr/>
            <p:nvPr/>
          </p:nvSpPr>
          <p:spPr bwMode="auto">
            <a:xfrm rot="2700000">
              <a:off x="7353262" y="5403551"/>
              <a:ext cx="1144026" cy="1144024"/>
            </a:xfrm>
            <a:custGeom>
              <a:avLst/>
              <a:gdLst>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0 w 1144026"/>
                <a:gd name="connsiteY4" fmla="*/ 0 h 1144024"/>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4" fmla="*/ 91440 w 1144026"/>
                <a:gd name="connsiteY4" fmla="*/ 91440 h 1144024"/>
                <a:gd name="connsiteX0" fmla="*/ 0 w 1144026"/>
                <a:gd name="connsiteY0" fmla="*/ 0 h 1144024"/>
                <a:gd name="connsiteX1" fmla="*/ 1144026 w 1144026"/>
                <a:gd name="connsiteY1" fmla="*/ 0 h 1144024"/>
                <a:gd name="connsiteX2" fmla="*/ 1144026 w 1144026"/>
                <a:gd name="connsiteY2" fmla="*/ 1144024 h 1144024"/>
                <a:gd name="connsiteX3" fmla="*/ 0 w 1144026"/>
                <a:gd name="connsiteY3" fmla="*/ 1144024 h 1144024"/>
                <a:gd name="connsiteX0" fmla="*/ 1144026 w 1144026"/>
                <a:gd name="connsiteY0" fmla="*/ 0 h 1144024"/>
                <a:gd name="connsiteX1" fmla="*/ 1144026 w 1144026"/>
                <a:gd name="connsiteY1" fmla="*/ 1144024 h 1144024"/>
                <a:gd name="connsiteX2" fmla="*/ 0 w 1144026"/>
                <a:gd name="connsiteY2" fmla="*/ 1144024 h 1144024"/>
              </a:gdLst>
              <a:ahLst/>
              <a:cxnLst>
                <a:cxn ang="0">
                  <a:pos x="connsiteX0" y="connsiteY0"/>
                </a:cxn>
                <a:cxn ang="0">
                  <a:pos x="connsiteX1" y="connsiteY1"/>
                </a:cxn>
                <a:cxn ang="0">
                  <a:pos x="connsiteX2" y="connsiteY2"/>
                </a:cxn>
              </a:cxnLst>
              <a:rect l="l" t="t" r="r" b="b"/>
              <a:pathLst>
                <a:path w="1144026" h="1144024">
                  <a:moveTo>
                    <a:pt x="1144026" y="0"/>
                  </a:moveTo>
                  <a:lnTo>
                    <a:pt x="1144026" y="1144024"/>
                  </a:lnTo>
                  <a:lnTo>
                    <a:pt x="0" y="1144024"/>
                  </a:lnTo>
                </a:path>
              </a:pathLst>
            </a:custGeom>
            <a:noFill/>
            <a:ln>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9816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childTnLst>
                                </p:cTn>
                              </p:par>
                              <p:par>
                                <p:cTn id="8" presetID="42" presetClass="path" presetSubtype="0" decel="100000" fill="hold" grpId="1" nodeType="withEffect">
                                  <p:stCondLst>
                                    <p:cond delay="0"/>
                                  </p:stCondLst>
                                  <p:childTnLst>
                                    <p:animMotion origin="layout" path="M 3.75E-6 -3.7037E-6 L -0.03451 -0.00092 " pathEditMode="relative" rAng="0" ptsTypes="AA">
                                      <p:cBhvr>
                                        <p:cTn id="9" dur="700" spd="-100000" fill="hold"/>
                                        <p:tgtEl>
                                          <p:spTgt spid="134"/>
                                        </p:tgtEl>
                                        <p:attrNameLst>
                                          <p:attrName>ppt_x</p:attrName>
                                          <p:attrName>ppt_y</p:attrName>
                                        </p:attrNameLst>
                                      </p:cBhvr>
                                      <p:rCtr x="-1732" y="-46"/>
                                    </p:animMotion>
                                  </p:childTnLst>
                                </p:cTn>
                              </p:par>
                              <p:par>
                                <p:cTn id="10" presetID="10" presetClass="entr" presetSubtype="0" fill="hold" grpId="0" nodeType="withEffect">
                                  <p:stCondLst>
                                    <p:cond delay="250"/>
                                  </p:stCondLst>
                                  <p:childTnLst>
                                    <p:set>
                                      <p:cBhvr>
                                        <p:cTn id="11" dur="1" fill="hold">
                                          <p:stCondLst>
                                            <p:cond delay="0"/>
                                          </p:stCondLst>
                                        </p:cTn>
                                        <p:tgtEl>
                                          <p:spTgt spid="136"/>
                                        </p:tgtEl>
                                        <p:attrNameLst>
                                          <p:attrName>style.visibility</p:attrName>
                                        </p:attrNameLst>
                                      </p:cBhvr>
                                      <p:to>
                                        <p:strVal val="visible"/>
                                      </p:to>
                                    </p:set>
                                    <p:animEffect transition="in" filter="fade">
                                      <p:cBhvr>
                                        <p:cTn id="12" dur="500"/>
                                        <p:tgtEl>
                                          <p:spTgt spid="136"/>
                                        </p:tgtEl>
                                      </p:cBhvr>
                                    </p:animEffect>
                                  </p:childTnLst>
                                </p:cTn>
                              </p:par>
                              <p:par>
                                <p:cTn id="13" presetID="42" presetClass="path" presetSubtype="0" decel="100000" fill="hold" grpId="1" nodeType="withEffect">
                                  <p:stCondLst>
                                    <p:cond delay="0"/>
                                  </p:stCondLst>
                                  <p:childTnLst>
                                    <p:animMotion origin="layout" path="M 3.75E-6 -3.7037E-6 L -0.03451 -0.00092 " pathEditMode="relative" rAng="0" ptsTypes="AA">
                                      <p:cBhvr>
                                        <p:cTn id="14" dur="700" spd="-100000" fill="hold"/>
                                        <p:tgtEl>
                                          <p:spTgt spid="136"/>
                                        </p:tgtEl>
                                        <p:attrNameLst>
                                          <p:attrName>ppt_x</p:attrName>
                                          <p:attrName>ppt_y</p:attrName>
                                        </p:attrNameLst>
                                      </p:cBhvr>
                                      <p:rCtr x="-1732" y="-46"/>
                                    </p:animMotion>
                                  </p:childTnLst>
                                </p:cTn>
                              </p:par>
                              <p:par>
                                <p:cTn id="15" presetID="10" presetClass="entr" presetSubtype="0" fill="hold" grpId="0" nodeType="withEffect">
                                  <p:stCondLst>
                                    <p:cond delay="25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par>
                                <p:cTn id="18" presetID="42" presetClass="path" presetSubtype="0" decel="100000" fill="hold" grpId="1" nodeType="withEffect">
                                  <p:stCondLst>
                                    <p:cond delay="0"/>
                                  </p:stCondLst>
                                  <p:childTnLst>
                                    <p:animMotion origin="layout" path="M 1.66667E-6 3.7037E-7 L 0.04857 3.7037E-7 " pathEditMode="relative" rAng="0" ptsTypes="AA">
                                      <p:cBhvr>
                                        <p:cTn id="19" dur="700" spd="-100000" fill="hold"/>
                                        <p:tgtEl>
                                          <p:spTgt spid="137"/>
                                        </p:tgtEl>
                                        <p:attrNameLst>
                                          <p:attrName>ppt_x</p:attrName>
                                          <p:attrName>ppt_y</p:attrName>
                                        </p:attrNameLst>
                                      </p:cBhvr>
                                      <p:rCtr x="2422" y="0"/>
                                    </p:animMotion>
                                  </p:childTnLst>
                                </p:cTn>
                              </p:par>
                              <p:par>
                                <p:cTn id="20" presetID="10" presetClass="entr" presetSubtype="0" fill="hold" grpId="0" nodeType="withEffect">
                                  <p:stCondLst>
                                    <p:cond delay="250"/>
                                  </p:stCondLst>
                                  <p:childTnLst>
                                    <p:set>
                                      <p:cBhvr>
                                        <p:cTn id="21" dur="1" fill="hold">
                                          <p:stCondLst>
                                            <p:cond delay="0"/>
                                          </p:stCondLst>
                                        </p:cTn>
                                        <p:tgtEl>
                                          <p:spTgt spid="135"/>
                                        </p:tgtEl>
                                        <p:attrNameLst>
                                          <p:attrName>style.visibility</p:attrName>
                                        </p:attrNameLst>
                                      </p:cBhvr>
                                      <p:to>
                                        <p:strVal val="visible"/>
                                      </p:to>
                                    </p:set>
                                    <p:animEffect transition="in" filter="fade">
                                      <p:cBhvr>
                                        <p:cTn id="22" dur="500"/>
                                        <p:tgtEl>
                                          <p:spTgt spid="135"/>
                                        </p:tgtEl>
                                      </p:cBhvr>
                                    </p:animEffect>
                                  </p:childTnLst>
                                </p:cTn>
                              </p:par>
                              <p:par>
                                <p:cTn id="23" presetID="42" presetClass="path" presetSubtype="0" decel="100000" fill="hold" grpId="1" nodeType="withEffect">
                                  <p:stCondLst>
                                    <p:cond delay="0"/>
                                  </p:stCondLst>
                                  <p:childTnLst>
                                    <p:animMotion origin="layout" path="M 1.66667E-6 3.7037E-7 L 0.04857 3.7037E-7 " pathEditMode="relative" rAng="0" ptsTypes="AA">
                                      <p:cBhvr>
                                        <p:cTn id="24" dur="700" spd="-100000" fill="hold"/>
                                        <p:tgtEl>
                                          <p:spTgt spid="135"/>
                                        </p:tgtEl>
                                        <p:attrNameLst>
                                          <p:attrName>ppt_x</p:attrName>
                                          <p:attrName>ppt_y</p:attrName>
                                        </p:attrNameLst>
                                      </p:cBhvr>
                                      <p:rCtr x="2422" y="0"/>
                                    </p:animMotion>
                                  </p:childTnLst>
                                </p:cTn>
                              </p:par>
                              <p:par>
                                <p:cTn id="25" presetID="10" presetClass="entr" presetSubtype="0" fill="hold" nodeType="withEffect">
                                  <p:stCondLst>
                                    <p:cond delay="25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42" presetClass="path" presetSubtype="0" decel="100000" fill="hold" nodeType="withEffect">
                                  <p:stCondLst>
                                    <p:cond delay="0"/>
                                  </p:stCondLst>
                                  <p:childTnLst>
                                    <p:animMotion origin="layout" path="M 6.25E-7 -3.7037E-7 L 6.25E-7 -0.03403 " pathEditMode="relative" rAng="0" ptsTypes="AA">
                                      <p:cBhvr>
                                        <p:cTn id="29" dur="700" spd="-100000" fill="hold"/>
                                        <p:tgtEl>
                                          <p:spTgt spid="12"/>
                                        </p:tgtEl>
                                        <p:attrNameLst>
                                          <p:attrName>ppt_x</p:attrName>
                                          <p:attrName>ppt_y</p:attrName>
                                        </p:attrNameLst>
                                      </p:cBhvr>
                                      <p:rCtr x="0" y="-1713"/>
                                    </p:animMotion>
                                  </p:childTnLst>
                                </p:cTn>
                              </p:par>
                              <p:par>
                                <p:cTn id="30" presetID="10" presetClass="entr" presetSubtype="0" fill="hold" nodeType="withEffect">
                                  <p:stCondLst>
                                    <p:cond delay="25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nodeType="withEffect">
                                  <p:stCondLst>
                                    <p:cond delay="0"/>
                                  </p:stCondLst>
                                  <p:childTnLst>
                                    <p:animMotion origin="layout" path="M 6.25E-7 -3.7037E-7 L 6.25E-7 -0.03403 " pathEditMode="relative" rAng="0" ptsTypes="AA">
                                      <p:cBhvr>
                                        <p:cTn id="34" dur="700" spd="-100000" fill="hold"/>
                                        <p:tgtEl>
                                          <p:spTgt spid="8"/>
                                        </p:tgtEl>
                                        <p:attrNameLst>
                                          <p:attrName>ppt_x</p:attrName>
                                          <p:attrName>ppt_y</p:attrName>
                                        </p:attrNameLst>
                                      </p:cBhvr>
                                      <p:rCtr x="0" y="-1713"/>
                                    </p:animMotion>
                                  </p:childTnLst>
                                </p:cTn>
                              </p:par>
                              <p:par>
                                <p:cTn id="35" presetID="10" presetClass="entr" presetSubtype="0" fill="hold" nodeType="withEffect">
                                  <p:stCondLst>
                                    <p:cond delay="25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nodeType="withEffect">
                                  <p:stCondLst>
                                    <p:cond delay="0"/>
                                  </p:stCondLst>
                                  <p:childTnLst>
                                    <p:animMotion origin="layout" path="M -6.25E-7 4.81481E-6 L -6.25E-7 0.0449 " pathEditMode="relative" rAng="0" ptsTypes="AA">
                                      <p:cBhvr>
                                        <p:cTn id="39" dur="700" spd="-100000" fill="hold"/>
                                        <p:tgtEl>
                                          <p:spTgt spid="10"/>
                                        </p:tgtEl>
                                        <p:attrNameLst>
                                          <p:attrName>ppt_x</p:attrName>
                                          <p:attrName>ppt_y</p:attrName>
                                        </p:attrNameLst>
                                      </p:cBhvr>
                                      <p:rCtr x="0" y="2245"/>
                                    </p:animMotion>
                                  </p:childTnLst>
                                </p:cTn>
                              </p:par>
                              <p:par>
                                <p:cTn id="40" presetID="10" presetClass="entr" presetSubtype="0" fill="hold" nodeType="withEffect">
                                  <p:stCondLst>
                                    <p:cond delay="25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par>
                                <p:cTn id="43" presetID="42" presetClass="path" presetSubtype="0" decel="100000" fill="hold" nodeType="withEffect">
                                  <p:stCondLst>
                                    <p:cond delay="0"/>
                                  </p:stCondLst>
                                  <p:childTnLst>
                                    <p:animMotion origin="layout" path="M -3.33333E-6 2.22222E-6 L -3.33333E-6 0.04583 " pathEditMode="relative" rAng="0" ptsTypes="AA">
                                      <p:cBhvr>
                                        <p:cTn id="44" dur="700" spd="-100000" fill="hold"/>
                                        <p:tgtEl>
                                          <p:spTgt spid="7"/>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134" grpId="1"/>
      <p:bldP spid="135" grpId="0"/>
      <p:bldP spid="135" grpId="1"/>
      <p:bldP spid="136" grpId="0"/>
      <p:bldP spid="136" grpId="1"/>
      <p:bldP spid="137" grpId="0"/>
      <p:bldP spid="137" grpId="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55F1FC4-2256-49B9-A77D-6A5D6269C8E7}"/>
              </a:ext>
            </a:extLst>
          </p:cNvPr>
          <p:cNvSpPr>
            <a:spLocks noGrp="1"/>
          </p:cNvSpPr>
          <p:nvPr>
            <p:ph type="title"/>
          </p:nvPr>
        </p:nvSpPr>
        <p:spPr>
          <a:xfrm>
            <a:off x="455995" y="1001428"/>
            <a:ext cx="3354005" cy="1477328"/>
          </a:xfrm>
        </p:spPr>
        <p:txBody>
          <a:bodyPr/>
          <a:lstStyle/>
          <a:p>
            <a:r>
              <a:rPr lang="en-US">
                <a:solidFill>
                  <a:srgbClr val="0B556A"/>
                </a:solidFill>
              </a:rPr>
              <a:t>Learn more about </a:t>
            </a:r>
            <a:br>
              <a:rPr lang="en-US">
                <a:solidFill>
                  <a:srgbClr val="0B556A"/>
                </a:solidFill>
              </a:rPr>
            </a:br>
            <a:r>
              <a:rPr lang="en-US">
                <a:solidFill>
                  <a:srgbClr val="0B556A"/>
                </a:solidFill>
              </a:rPr>
              <a:t>Microsoft Power Virtual Agents </a:t>
            </a:r>
          </a:p>
        </p:txBody>
      </p:sp>
      <p:sp>
        <p:nvSpPr>
          <p:cNvPr id="61" name="Freeform: Shape 60">
            <a:extLst>
              <a:ext uri="{FF2B5EF4-FFF2-40B4-BE49-F238E27FC236}">
                <a16:creationId xmlns:a16="http://schemas.microsoft.com/office/drawing/2014/main" id="{D857AD9E-03F7-4F0B-8C7C-EC69445AA6A4}"/>
              </a:ext>
            </a:extLst>
          </p:cNvPr>
          <p:cNvSpPr/>
          <p:nvPr/>
        </p:nvSpPr>
        <p:spPr bwMode="auto">
          <a:xfrm>
            <a:off x="1596571" y="1"/>
            <a:ext cx="10595429" cy="6858001"/>
          </a:xfrm>
          <a:custGeom>
            <a:avLst/>
            <a:gdLst>
              <a:gd name="connsiteX0" fmla="*/ 6858001 w 10595429"/>
              <a:gd name="connsiteY0" fmla="*/ 0 h 6858001"/>
              <a:gd name="connsiteX1" fmla="*/ 10595429 w 10595429"/>
              <a:gd name="connsiteY1" fmla="*/ 0 h 6858001"/>
              <a:gd name="connsiteX2" fmla="*/ 10595429 w 10595429"/>
              <a:gd name="connsiteY2" fmla="*/ 6858001 h 6858001"/>
              <a:gd name="connsiteX3" fmla="*/ 0 w 10595429"/>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0595429" h="6858001">
                <a:moveTo>
                  <a:pt x="6858001" y="0"/>
                </a:moveTo>
                <a:lnTo>
                  <a:pt x="10595429" y="0"/>
                </a:lnTo>
                <a:lnTo>
                  <a:pt x="10595429" y="6858001"/>
                </a:lnTo>
                <a:lnTo>
                  <a:pt x="0" y="685800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Text Placeholder 26">
            <a:extLst>
              <a:ext uri="{FF2B5EF4-FFF2-40B4-BE49-F238E27FC236}">
                <a16:creationId xmlns:a16="http://schemas.microsoft.com/office/drawing/2014/main" id="{8F294D0E-3CE6-4D2F-96D8-F7AA19125416}"/>
              </a:ext>
            </a:extLst>
          </p:cNvPr>
          <p:cNvSpPr txBox="1">
            <a:spLocks/>
          </p:cNvSpPr>
          <p:nvPr/>
        </p:nvSpPr>
        <p:spPr>
          <a:xfrm>
            <a:off x="5080394" y="3633979"/>
            <a:ext cx="4433720" cy="60349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buSzTx/>
              <a:defRPr/>
            </a:pPr>
            <a:r>
              <a:rPr lang="en-US" sz="1961">
                <a:solidFill>
                  <a:schemeClr val="bg1"/>
                </a:solidFill>
                <a:latin typeface="Segoe UI"/>
              </a:rPr>
              <a:t>Technical details about the application are available in our </a:t>
            </a:r>
            <a:r>
              <a:rPr lang="en-US" sz="1961">
                <a:solidFill>
                  <a:schemeClr val="bg1"/>
                </a:solidFill>
                <a:latin typeface="Segoe UI"/>
                <a:cs typeface="Segoe UI Light" panose="020B0502040204020203" pitchFamily="34" charset="0"/>
                <a:hlinkClick r:id="rId3">
                  <a:extLst>
                    <a:ext uri="{A12FA001-AC4F-418D-AE19-62706E023703}">
                      <ahyp:hlinkClr xmlns:ahyp="http://schemas.microsoft.com/office/drawing/2018/hyperlinkcolor" val="tx"/>
                    </a:ext>
                  </a:extLst>
                </a:hlinkClick>
              </a:rPr>
              <a:t>help documentation</a:t>
            </a:r>
            <a:endParaRPr lang="en-US" sz="1961">
              <a:solidFill>
                <a:schemeClr val="bg1"/>
              </a:solidFill>
              <a:latin typeface="Segoe UI"/>
              <a:cs typeface="Segoe UI Light" panose="020B0502040204020203" pitchFamily="34" charset="0"/>
            </a:endParaRPr>
          </a:p>
        </p:txBody>
      </p:sp>
      <p:sp>
        <p:nvSpPr>
          <p:cNvPr id="70" name="Text Placeholder 26">
            <a:extLst>
              <a:ext uri="{FF2B5EF4-FFF2-40B4-BE49-F238E27FC236}">
                <a16:creationId xmlns:a16="http://schemas.microsoft.com/office/drawing/2014/main" id="{7D6ACBDA-C97E-492B-9913-F1470DDDCFC3}"/>
              </a:ext>
            </a:extLst>
          </p:cNvPr>
          <p:cNvSpPr txBox="1">
            <a:spLocks/>
          </p:cNvSpPr>
          <p:nvPr/>
        </p:nvSpPr>
        <p:spPr>
          <a:xfrm>
            <a:off x="3884781" y="4919555"/>
            <a:ext cx="3837768" cy="603453"/>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buSzTx/>
              <a:defRPr/>
            </a:pPr>
            <a:r>
              <a:rPr lang="en-US" sz="1961">
                <a:solidFill>
                  <a:schemeClr val="bg1"/>
                </a:solidFill>
                <a:latin typeface="Segoe UI"/>
                <a:cs typeface="Segoe UI"/>
              </a:rPr>
              <a:t>For questions please engage in our </a:t>
            </a:r>
            <a:r>
              <a:rPr lang="en-US" sz="1961">
                <a:solidFill>
                  <a:schemeClr val="bg1"/>
                </a:solidFill>
                <a:latin typeface="Segoe UI"/>
                <a:cs typeface="Segoe UI Light"/>
                <a:hlinkClick r:id="rId4">
                  <a:extLst>
                    <a:ext uri="{A12FA001-AC4F-418D-AE19-62706E023703}">
                      <ahyp:hlinkClr xmlns:ahyp="http://schemas.microsoft.com/office/drawing/2018/hyperlinkcolor" val="tx"/>
                    </a:ext>
                  </a:extLst>
                </a:hlinkClick>
              </a:rPr>
              <a:t>Community forum</a:t>
            </a:r>
            <a:endParaRPr lang="en-US" sz="1961">
              <a:solidFill>
                <a:schemeClr val="bg1"/>
              </a:solidFill>
              <a:latin typeface="Segoe UI"/>
              <a:cs typeface="Segoe UI Light"/>
              <a:hlinkClick r:id="rId5">
                <a:extLst>
                  <a:ext uri="{A12FA001-AC4F-418D-AE19-62706E023703}">
                    <ahyp:hlinkClr xmlns:ahyp="http://schemas.microsoft.com/office/drawing/2018/hyperlinkcolor" val="tx"/>
                  </a:ext>
                </a:extLst>
              </a:hlinkClick>
            </a:endParaRPr>
          </a:p>
        </p:txBody>
      </p:sp>
      <p:sp>
        <p:nvSpPr>
          <p:cNvPr id="56" name="Text Placeholder 26">
            <a:extLst>
              <a:ext uri="{FF2B5EF4-FFF2-40B4-BE49-F238E27FC236}">
                <a16:creationId xmlns:a16="http://schemas.microsoft.com/office/drawing/2014/main" id="{EB8F0BD2-0F67-409F-833D-0D242FD95D03}"/>
              </a:ext>
            </a:extLst>
          </p:cNvPr>
          <p:cNvSpPr txBox="1">
            <a:spLocks/>
          </p:cNvSpPr>
          <p:nvPr/>
        </p:nvSpPr>
        <p:spPr>
          <a:xfrm>
            <a:off x="6248794" y="2402079"/>
            <a:ext cx="4038206" cy="60349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016">
              <a:buSzTx/>
              <a:defRPr/>
            </a:pPr>
            <a:r>
              <a:rPr lang="en-US" sz="1961">
                <a:solidFill>
                  <a:schemeClr val="bg1"/>
                </a:solidFill>
              </a:rPr>
              <a:t>Visit </a:t>
            </a:r>
            <a:r>
              <a:rPr lang="en-US" sz="1961">
                <a:solidFill>
                  <a:schemeClr val="bg1"/>
                </a:solidFill>
                <a:hlinkClick r:id="rId6">
                  <a:extLst>
                    <a:ext uri="{A12FA001-AC4F-418D-AE19-62706E023703}">
                      <ahyp:hlinkClr xmlns:ahyp="http://schemas.microsoft.com/office/drawing/2018/hyperlinkcolor" val="tx"/>
                    </a:ext>
                  </a:extLst>
                </a:hlinkClick>
              </a:rPr>
              <a:t>Power Virtual Agents</a:t>
            </a:r>
            <a:r>
              <a:rPr lang="en-US" sz="1961">
                <a:solidFill>
                  <a:schemeClr val="bg1"/>
                </a:solidFill>
              </a:rPr>
              <a:t> to learn more and request a demo</a:t>
            </a:r>
          </a:p>
        </p:txBody>
      </p:sp>
      <p:grpSp>
        <p:nvGrpSpPr>
          <p:cNvPr id="9" name="Group 8">
            <a:extLst>
              <a:ext uri="{FF2B5EF4-FFF2-40B4-BE49-F238E27FC236}">
                <a16:creationId xmlns:a16="http://schemas.microsoft.com/office/drawing/2014/main" id="{718B37DA-17A9-4D33-A458-399328AA4B46}"/>
              </a:ext>
            </a:extLst>
          </p:cNvPr>
          <p:cNvGrpSpPr/>
          <p:nvPr/>
        </p:nvGrpSpPr>
        <p:grpSpPr>
          <a:xfrm>
            <a:off x="5246099" y="1752175"/>
            <a:ext cx="788249" cy="788250"/>
            <a:chOff x="5246099" y="1752175"/>
            <a:chExt cx="788249" cy="788250"/>
          </a:xfrm>
        </p:grpSpPr>
        <p:sp>
          <p:nvSpPr>
            <p:cNvPr id="55" name="Rectangle 54">
              <a:extLst>
                <a:ext uri="{FF2B5EF4-FFF2-40B4-BE49-F238E27FC236}">
                  <a16:creationId xmlns:a16="http://schemas.microsoft.com/office/drawing/2014/main" id="{53F81CBD-6657-476F-A1CE-A04912E10422}"/>
                </a:ext>
              </a:extLst>
            </p:cNvPr>
            <p:cNvSpPr/>
            <p:nvPr/>
          </p:nvSpPr>
          <p:spPr bwMode="auto">
            <a:xfrm rot="2700000">
              <a:off x="5246099" y="17521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5425995" y="1974848"/>
              <a:ext cx="428458" cy="34290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grpSp>
        <p:nvGrpSpPr>
          <p:cNvPr id="7" name="Group 6">
            <a:extLst>
              <a:ext uri="{FF2B5EF4-FFF2-40B4-BE49-F238E27FC236}">
                <a16:creationId xmlns:a16="http://schemas.microsoft.com/office/drawing/2014/main" id="{69598BED-DD1A-4F79-8CDE-3222576B2694}"/>
              </a:ext>
            </a:extLst>
          </p:cNvPr>
          <p:cNvGrpSpPr/>
          <p:nvPr/>
        </p:nvGrpSpPr>
        <p:grpSpPr>
          <a:xfrm>
            <a:off x="3939813" y="3043947"/>
            <a:ext cx="788249" cy="788250"/>
            <a:chOff x="4012385" y="2869775"/>
            <a:chExt cx="788249" cy="788250"/>
          </a:xfrm>
        </p:grpSpPr>
        <p:sp>
          <p:nvSpPr>
            <p:cNvPr id="54" name="Rectangle 53">
              <a:extLst>
                <a:ext uri="{FF2B5EF4-FFF2-40B4-BE49-F238E27FC236}">
                  <a16:creationId xmlns:a16="http://schemas.microsoft.com/office/drawing/2014/main" id="{FDFA5A4E-338A-4205-9368-90CAF6044B1F}"/>
                </a:ext>
              </a:extLst>
            </p:cNvPr>
            <p:cNvSpPr/>
            <p:nvPr/>
          </p:nvSpPr>
          <p:spPr bwMode="auto">
            <a:xfrm rot="2700000">
              <a:off x="4012385" y="28697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CRMArticles_EFF5" title="Icon of two documents stacked together with writing on them">
              <a:extLst>
                <a:ext uri="{FF2B5EF4-FFF2-40B4-BE49-F238E27FC236}">
                  <a16:creationId xmlns:a16="http://schemas.microsoft.com/office/drawing/2014/main" id="{94BF34E1-0081-4FF1-AD53-EFB029455090}"/>
                </a:ext>
              </a:extLst>
            </p:cNvPr>
            <p:cNvSpPr>
              <a:spLocks noChangeAspect="1" noEditPoints="1"/>
            </p:cNvSpPr>
            <p:nvPr/>
          </p:nvSpPr>
          <p:spPr bwMode="auto">
            <a:xfrm>
              <a:off x="4230869" y="3060699"/>
              <a:ext cx="352062" cy="40640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grpSp>
        <p:nvGrpSpPr>
          <p:cNvPr id="8" name="Group 7">
            <a:extLst>
              <a:ext uri="{FF2B5EF4-FFF2-40B4-BE49-F238E27FC236}">
                <a16:creationId xmlns:a16="http://schemas.microsoft.com/office/drawing/2014/main" id="{FAA679B6-28FC-4601-A3B6-1F0AD3D5337B}"/>
              </a:ext>
            </a:extLst>
          </p:cNvPr>
          <p:cNvGrpSpPr/>
          <p:nvPr/>
        </p:nvGrpSpPr>
        <p:grpSpPr>
          <a:xfrm>
            <a:off x="2633527" y="4335718"/>
            <a:ext cx="788249" cy="788250"/>
            <a:chOff x="2633527" y="4335718"/>
            <a:chExt cx="788249" cy="788250"/>
          </a:xfrm>
        </p:grpSpPr>
        <p:sp>
          <p:nvSpPr>
            <p:cNvPr id="53" name="Rectangle 52">
              <a:extLst>
                <a:ext uri="{FF2B5EF4-FFF2-40B4-BE49-F238E27FC236}">
                  <a16:creationId xmlns:a16="http://schemas.microsoft.com/office/drawing/2014/main" id="{DE9BEF81-10D2-4177-A85A-63262F7B98A4}"/>
                </a:ext>
              </a:extLst>
            </p:cNvPr>
            <p:cNvSpPr/>
            <p:nvPr/>
          </p:nvSpPr>
          <p:spPr bwMode="auto">
            <a:xfrm rot="2700000">
              <a:off x="2633527" y="4335718"/>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speech_5" title="Icon of two overlapping chat bubbles">
              <a:extLst>
                <a:ext uri="{FF2B5EF4-FFF2-40B4-BE49-F238E27FC236}">
                  <a16:creationId xmlns:a16="http://schemas.microsoft.com/office/drawing/2014/main" id="{3556E5A3-3426-4397-845F-1C331DF067B4}"/>
                </a:ext>
              </a:extLst>
            </p:cNvPr>
            <p:cNvSpPr>
              <a:spLocks noChangeAspect="1" noEditPoints="1"/>
            </p:cNvSpPr>
            <p:nvPr/>
          </p:nvSpPr>
          <p:spPr bwMode="auto">
            <a:xfrm>
              <a:off x="2793758" y="4546962"/>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sp>
        <p:nvSpPr>
          <p:cNvPr id="65" name="Freeform: Shape 64">
            <a:extLst>
              <a:ext uri="{FF2B5EF4-FFF2-40B4-BE49-F238E27FC236}">
                <a16:creationId xmlns:a16="http://schemas.microsoft.com/office/drawing/2014/main" id="{0163C779-E4B4-4065-A804-78BF8A538221}"/>
              </a:ext>
            </a:extLst>
          </p:cNvPr>
          <p:cNvSpPr/>
          <p:nvPr/>
        </p:nvSpPr>
        <p:spPr bwMode="auto">
          <a:xfrm flipH="1">
            <a:off x="9898742" y="4806021"/>
            <a:ext cx="2293257" cy="2051980"/>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681837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6">
                                            <p:txEl>
                                              <p:pRg st="0" end="0"/>
                                            </p:txEl>
                                          </p:spTgt>
                                        </p:tgtEl>
                                        <p:attrNameLst>
                                          <p:attrName>style.visibility</p:attrName>
                                        </p:attrNameLst>
                                      </p:cBhvr>
                                      <p:to>
                                        <p:strVal val="visible"/>
                                      </p:to>
                                    </p:set>
                                    <p:animEffect transition="in" filter="fade">
                                      <p:cBhvr>
                                        <p:cTn id="7" dur="500"/>
                                        <p:tgtEl>
                                          <p:spTgt spid="56">
                                            <p:txEl>
                                              <p:pRg st="0" end="0"/>
                                            </p:txEl>
                                          </p:spTgt>
                                        </p:tgtEl>
                                      </p:cBhvr>
                                    </p:animEffect>
                                  </p:childTnLst>
                                </p:cTn>
                              </p:par>
                              <p:par>
                                <p:cTn id="8" presetID="42" presetClass="path" presetSubtype="0" decel="100000" fill="hold" grpId="1" nodeType="withEffect">
                                  <p:stCondLst>
                                    <p:cond delay="0"/>
                                  </p:stCondLst>
                                  <p:childTnLst>
                                    <p:animMotion origin="layout" path="M 2.22045E-16 2.96296E-6 L 2.22045E-16 0.03541 " pathEditMode="relative" rAng="0" ptsTypes="AA">
                                      <p:cBhvr>
                                        <p:cTn id="9" dur="700" spd="-100000" fill="hold"/>
                                        <p:tgtEl>
                                          <p:spTgt spid="56">
                                            <p:txEl>
                                              <p:pRg st="0" end="0"/>
                                            </p:txEl>
                                          </p:spTgt>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68">
                                            <p:txEl>
                                              <p:pRg st="0" end="0"/>
                                            </p:txEl>
                                          </p:spTgt>
                                        </p:tgtEl>
                                        <p:attrNameLst>
                                          <p:attrName>style.visibility</p:attrName>
                                        </p:attrNameLst>
                                      </p:cBhvr>
                                      <p:to>
                                        <p:strVal val="visible"/>
                                      </p:to>
                                    </p:set>
                                    <p:animEffect transition="in" filter="fade">
                                      <p:cBhvr>
                                        <p:cTn id="12" dur="500"/>
                                        <p:tgtEl>
                                          <p:spTgt spid="68">
                                            <p:txEl>
                                              <p:pRg st="0" end="0"/>
                                            </p:txEl>
                                          </p:spTgt>
                                        </p:tgtEl>
                                      </p:cBhvr>
                                    </p:animEffect>
                                  </p:childTnLst>
                                </p:cTn>
                              </p:par>
                              <p:par>
                                <p:cTn id="13" presetID="42" presetClass="path" presetSubtype="0" decel="100000" fill="hold" grpId="1" nodeType="withEffect">
                                  <p:stCondLst>
                                    <p:cond delay="0"/>
                                  </p:stCondLst>
                                  <p:childTnLst>
                                    <p:animMotion origin="layout" path="M 2.5E-6 3.7037E-7 L 2.5E-6 0.03542 " pathEditMode="relative" rAng="0" ptsTypes="AA">
                                      <p:cBhvr>
                                        <p:cTn id="14" dur="700" spd="-100000" fill="hold"/>
                                        <p:tgtEl>
                                          <p:spTgt spid="68">
                                            <p:txEl>
                                              <p:pRg st="0" end="0"/>
                                            </p:txEl>
                                          </p:spTgt>
                                        </p:tgtEl>
                                        <p:attrNameLst>
                                          <p:attrName>ppt_x</p:attrName>
                                          <p:attrName>ppt_y</p:attrName>
                                        </p:attrNameLst>
                                      </p:cBhvr>
                                      <p:rCtr x="0" y="1759"/>
                                    </p:animMotion>
                                  </p:childTnLst>
                                </p:cTn>
                              </p:par>
                              <p:par>
                                <p:cTn id="15" presetID="10" presetClass="entr" presetSubtype="0" fill="hold" grpId="0" nodeType="withEffect">
                                  <p:stCondLst>
                                    <p:cond delay="250"/>
                                  </p:stCondLst>
                                  <p:childTnLst>
                                    <p:set>
                                      <p:cBhvr>
                                        <p:cTn id="16" dur="1" fill="hold">
                                          <p:stCondLst>
                                            <p:cond delay="0"/>
                                          </p:stCondLst>
                                        </p:cTn>
                                        <p:tgtEl>
                                          <p:spTgt spid="70">
                                            <p:txEl>
                                              <p:pRg st="0" end="0"/>
                                            </p:txEl>
                                          </p:spTgt>
                                        </p:tgtEl>
                                        <p:attrNameLst>
                                          <p:attrName>style.visibility</p:attrName>
                                        </p:attrNameLst>
                                      </p:cBhvr>
                                      <p:to>
                                        <p:strVal val="visible"/>
                                      </p:to>
                                    </p:set>
                                    <p:animEffect transition="in" filter="fade">
                                      <p:cBhvr>
                                        <p:cTn id="17" dur="500"/>
                                        <p:tgtEl>
                                          <p:spTgt spid="70">
                                            <p:txEl>
                                              <p:pRg st="0" end="0"/>
                                            </p:txEl>
                                          </p:spTgt>
                                        </p:tgtEl>
                                      </p:cBhvr>
                                    </p:animEffect>
                                  </p:childTnLst>
                                </p:cTn>
                              </p:par>
                              <p:par>
                                <p:cTn id="18" presetID="42" presetClass="path" presetSubtype="0" decel="100000" fill="hold" grpId="1" nodeType="withEffect">
                                  <p:stCondLst>
                                    <p:cond delay="0"/>
                                  </p:stCondLst>
                                  <p:childTnLst>
                                    <p:animMotion origin="layout" path="M 1.875E-6 3.7037E-7 L 1.875E-6 0.03542 " pathEditMode="relative" rAng="0" ptsTypes="AA">
                                      <p:cBhvr>
                                        <p:cTn id="19" dur="700" spd="-100000" fill="hold"/>
                                        <p:tgtEl>
                                          <p:spTgt spid="70">
                                            <p:txEl>
                                              <p:pRg st="0" end="0"/>
                                            </p:txEl>
                                          </p:spTgt>
                                        </p:tgtEl>
                                        <p:attrNameLst>
                                          <p:attrName>ppt_x</p:attrName>
                                          <p:attrName>ppt_y</p:attrName>
                                        </p:attrNameLst>
                                      </p:cBhvr>
                                      <p:rCtr x="0" y="1759"/>
                                    </p:animMotion>
                                  </p:childTnLst>
                                </p:cTn>
                              </p:par>
                              <p:par>
                                <p:cTn id="20" presetID="10" presetClass="entr" presetSubtype="0" fill="hold" nodeType="withEffect">
                                  <p:stCondLst>
                                    <p:cond delay="25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nodeType="withEffect">
                                  <p:stCondLst>
                                    <p:cond delay="0"/>
                                  </p:stCondLst>
                                  <p:childTnLst>
                                    <p:animMotion origin="layout" path="M 2.70833E-6 -3.33333E-6 L 0.03138 0.00209 " pathEditMode="relative" rAng="0" ptsTypes="AA">
                                      <p:cBhvr>
                                        <p:cTn id="24" dur="700" spd="-100000" fill="hold"/>
                                        <p:tgtEl>
                                          <p:spTgt spid="8"/>
                                        </p:tgtEl>
                                        <p:attrNameLst>
                                          <p:attrName>ppt_x</p:attrName>
                                          <p:attrName>ppt_y</p:attrName>
                                        </p:attrNameLst>
                                      </p:cBhvr>
                                      <p:rCtr x="1563" y="93"/>
                                    </p:animMotion>
                                  </p:childTnLst>
                                </p:cTn>
                              </p:par>
                              <p:par>
                                <p:cTn id="25" presetID="10" presetClass="entr" presetSubtype="0" fill="hold" nodeType="withEffect">
                                  <p:stCondLst>
                                    <p:cond delay="25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nodeType="withEffect">
                                  <p:stCondLst>
                                    <p:cond delay="0"/>
                                  </p:stCondLst>
                                  <p:childTnLst>
                                    <p:animMotion origin="layout" path="M 1.25E-6 2.59259E-6 L 0.02773 0.00185 " pathEditMode="relative" rAng="0" ptsTypes="AA">
                                      <p:cBhvr>
                                        <p:cTn id="29" dur="700" spd="-100000" fill="hold"/>
                                        <p:tgtEl>
                                          <p:spTgt spid="7"/>
                                        </p:tgtEl>
                                        <p:attrNameLst>
                                          <p:attrName>ppt_x</p:attrName>
                                          <p:attrName>ppt_y</p:attrName>
                                        </p:attrNameLst>
                                      </p:cBhvr>
                                      <p:rCtr x="1380" y="93"/>
                                    </p:animMotion>
                                  </p:childTnLst>
                                </p:cTn>
                              </p:par>
                              <p:par>
                                <p:cTn id="30" presetID="10" presetClass="entr" presetSubtype="0" fill="hold" nodeType="withEffect">
                                  <p:stCondLst>
                                    <p:cond delay="2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nodeType="withEffect">
                                  <p:stCondLst>
                                    <p:cond delay="0"/>
                                  </p:stCondLst>
                                  <p:childTnLst>
                                    <p:animMotion origin="layout" path="M -2.08333E-7 -2.96296E-6 L 0.028 0.00093 " pathEditMode="relative" rAng="0" ptsTypes="AA">
                                      <p:cBhvr>
                                        <p:cTn id="34" dur="700" spd="-100000" fill="hold"/>
                                        <p:tgtEl>
                                          <p:spTgt spid="9"/>
                                        </p:tgtEl>
                                        <p:attrNameLst>
                                          <p:attrName>ppt_x</p:attrName>
                                          <p:attrName>ppt_y</p:attrName>
                                        </p:attrNameLst>
                                      </p:cBhvr>
                                      <p:rCtr x="1393"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P spid="68" grpId="1" build="p"/>
      <p:bldP spid="70" grpId="0" build="p"/>
      <p:bldP spid="70" grpId="1" build="p"/>
      <p:bldP spid="56" grpId="0" build="p"/>
      <p:bldP spid="56" grpI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a:xfrm>
            <a:off x="455993" y="941692"/>
            <a:ext cx="11014517" cy="5030845"/>
          </a:xfrm>
        </p:spPr>
        <p:txBody>
          <a:bodyPr/>
          <a:lstStyle/>
          <a:p>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r>
              <a:rPr lang="en-US" altLang="zh-CN" sz="2800" dirty="0"/>
              <a:t>Lab 01: Prerequisites – Create environment and import solution package</a:t>
            </a:r>
            <a:br>
              <a:rPr lang="en-US" sz="3200" dirty="0"/>
            </a:br>
            <a:br>
              <a:rPr lang="en-US" dirty="0"/>
            </a:br>
            <a:br>
              <a:rPr lang="en-US" sz="2800" dirty="0"/>
            </a:br>
            <a:br>
              <a:rPr lang="en-US" sz="2800" dirty="0">
                <a:solidFill>
                  <a:schemeClr val="tx1"/>
                </a:solidFill>
              </a:rPr>
            </a:br>
            <a:endParaRPr lang="en-US" sz="2800" dirty="0">
              <a:solidFill>
                <a:schemeClr val="tx1"/>
              </a:solidFill>
            </a:endParaRPr>
          </a:p>
        </p:txBody>
      </p:sp>
    </p:spTree>
    <p:extLst>
      <p:ext uri="{BB962C8B-B14F-4D97-AF65-F5344CB8AC3E}">
        <p14:creationId xmlns:p14="http://schemas.microsoft.com/office/powerpoint/2010/main" val="299171412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BDDE9-1837-49C4-BAE7-50D9E63EF13B}"/>
              </a:ext>
            </a:extLst>
          </p:cNvPr>
          <p:cNvSpPr>
            <a:spLocks noGrp="1"/>
          </p:cNvSpPr>
          <p:nvPr>
            <p:ph type="title"/>
          </p:nvPr>
        </p:nvSpPr>
        <p:spPr/>
        <p:txBody>
          <a:bodyPr/>
          <a:lstStyle/>
          <a:p>
            <a:r>
              <a:rPr lang="en-US"/>
              <a:t>Lab Survey</a:t>
            </a:r>
          </a:p>
        </p:txBody>
      </p:sp>
      <p:sp>
        <p:nvSpPr>
          <p:cNvPr id="3" name="Rectangle 2">
            <a:extLst>
              <a:ext uri="{FF2B5EF4-FFF2-40B4-BE49-F238E27FC236}">
                <a16:creationId xmlns:a16="http://schemas.microsoft.com/office/drawing/2014/main" id="{B0C3D7AD-1EED-421F-BA55-C46F589B69BD}"/>
              </a:ext>
            </a:extLst>
          </p:cNvPr>
          <p:cNvSpPr/>
          <p:nvPr/>
        </p:nvSpPr>
        <p:spPr>
          <a:xfrm>
            <a:off x="455995" y="1627570"/>
            <a:ext cx="9319601" cy="1757532"/>
          </a:xfrm>
          <a:prstGeom prst="rect">
            <a:avLst/>
          </a:prstGeom>
        </p:spPr>
        <p:txBody>
          <a:bodyPr wrap="square">
            <a:spAutoFit/>
          </a:bodyPr>
          <a:lstStyle/>
          <a:p>
            <a:pPr>
              <a:lnSpc>
                <a:spcPct val="107000"/>
              </a:lnSpc>
              <a:spcAft>
                <a:spcPts val="800"/>
              </a:spcAft>
            </a:pPr>
            <a:r>
              <a:rPr lang="en-US" sz="1800">
                <a:latin typeface="Segoe UI" panose="020B0502040204020203" pitchFamily="34" charset="0"/>
                <a:ea typeface="SimSun" panose="02010600030101010101" pitchFamily="2" charset="-122"/>
                <a:cs typeface="Times New Roman" panose="02020603050405020304" pitchFamily="18" charset="0"/>
              </a:rPr>
              <a:t>We would appreciate your feedback on Power Virtual Agents and on this hands-on-lab, such as the quality of documentation and the usefulness of the learning experience. </a:t>
            </a:r>
          </a:p>
          <a:p>
            <a:pPr>
              <a:lnSpc>
                <a:spcPct val="107000"/>
              </a:lnSpc>
              <a:spcAft>
                <a:spcPts val="800"/>
              </a:spcAft>
            </a:pPr>
            <a:r>
              <a:rPr lang="en-US" sz="1800">
                <a:latin typeface="Segoe UI" panose="020B0502040204020203" pitchFamily="34" charset="0"/>
                <a:ea typeface="SimSun" panose="02010600030101010101" pitchFamily="2" charset="-122"/>
                <a:cs typeface="Times New Roman" panose="02020603050405020304" pitchFamily="18" charset="0"/>
              </a:rPr>
              <a:t>Please use the survey at </a:t>
            </a:r>
            <a:r>
              <a:rPr lang="en-US" sz="1800" b="1" u="sng">
                <a:solidFill>
                  <a:srgbClr val="0078D7"/>
                </a:solidFill>
                <a:latin typeface="Segoe UI" panose="020B0502040204020203" pitchFamily="34" charset="0"/>
                <a:ea typeface="SimSun" panose="02010600030101010101" pitchFamily="2" charset="-122"/>
                <a:cs typeface="Times New Roman" panose="02020603050405020304" pitchFamily="18" charset="0"/>
                <a:hlinkClick r:id="rId2"/>
              </a:rPr>
              <a:t>https://aka.ms/PVAiaDSurvey</a:t>
            </a:r>
            <a:r>
              <a:rPr lang="en-US" sz="1800" b="1" u="sng">
                <a:solidFill>
                  <a:srgbClr val="0078D7"/>
                </a:solidFill>
                <a:latin typeface="Segoe UI" panose="020B0502040204020203" pitchFamily="34" charset="0"/>
                <a:ea typeface="SimSun" panose="02010600030101010101" pitchFamily="2" charset="-122"/>
                <a:cs typeface="Times New Roman" panose="02020603050405020304" pitchFamily="18" charset="0"/>
              </a:rPr>
              <a:t> </a:t>
            </a:r>
            <a:r>
              <a:rPr lang="en-US" sz="1800">
                <a:latin typeface="Segoe UI" panose="020B0502040204020203" pitchFamily="34" charset="0"/>
                <a:ea typeface="SimSun" panose="02010600030101010101" pitchFamily="2" charset="-122"/>
                <a:cs typeface="Times New Roman" panose="02020603050405020304" pitchFamily="18" charset="0"/>
              </a:rPr>
              <a:t>to share your feedback. </a:t>
            </a:r>
          </a:p>
          <a:p>
            <a:pPr>
              <a:lnSpc>
                <a:spcPct val="107000"/>
              </a:lnSpc>
              <a:spcAft>
                <a:spcPts val="800"/>
              </a:spcAft>
            </a:pPr>
            <a:r>
              <a:rPr lang="en-US" sz="1800">
                <a:latin typeface="Segoe UI" panose="020B0502040204020203" pitchFamily="34" charset="0"/>
                <a:ea typeface="SimSun" panose="02010600030101010101" pitchFamily="2" charset="-122"/>
                <a:cs typeface="Times New Roman" panose="02020603050405020304" pitchFamily="18" charset="0"/>
              </a:rPr>
              <a:t>You may provide feedback for each module as you complete it or at the end once you’ve completed all the modules. Thank you!</a:t>
            </a:r>
            <a:endParaRPr lang="en-US" sz="1800">
              <a:effectLst/>
              <a:latin typeface="Segoe UI" panose="020B0502040204020203"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587347766"/>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B8AF9-0541-4710-809C-FD72202655B5}"/>
              </a:ext>
            </a:extLst>
          </p:cNvPr>
          <p:cNvSpPr>
            <a:spLocks noGrp="1"/>
          </p:cNvSpPr>
          <p:nvPr>
            <p:ph type="title"/>
          </p:nvPr>
        </p:nvSpPr>
        <p:spPr>
          <a:xfrm>
            <a:off x="455995" y="879508"/>
            <a:ext cx="11306469" cy="492443"/>
          </a:xfrm>
        </p:spPr>
        <p:txBody>
          <a:bodyPr/>
          <a:lstStyle/>
          <a:p>
            <a:r>
              <a:rPr lang="en-US" sz="3200" b="1" dirty="0">
                <a:effectLst/>
                <a:latin typeface="+mn-lt"/>
                <a:ea typeface="DengXian" panose="02010600030101010101" pitchFamily="2" charset="-122"/>
              </a:rPr>
              <a:t>DISCLAIMER</a:t>
            </a:r>
            <a:endParaRPr lang="en-US" dirty="0">
              <a:latin typeface="+mn-lt"/>
            </a:endParaRPr>
          </a:p>
        </p:txBody>
      </p:sp>
      <p:sp>
        <p:nvSpPr>
          <p:cNvPr id="4" name="TextBox 3">
            <a:extLst>
              <a:ext uri="{FF2B5EF4-FFF2-40B4-BE49-F238E27FC236}">
                <a16:creationId xmlns:a16="http://schemas.microsoft.com/office/drawing/2014/main" id="{6B48E4C1-21A8-4642-BEFC-C9B6243D99FB}"/>
              </a:ext>
            </a:extLst>
          </p:cNvPr>
          <p:cNvSpPr txBox="1"/>
          <p:nvPr/>
        </p:nvSpPr>
        <p:spPr>
          <a:xfrm>
            <a:off x="455995" y="1560069"/>
            <a:ext cx="10454640" cy="4308872"/>
          </a:xfrm>
          <a:prstGeom prst="rect">
            <a:avLst/>
          </a:prstGeom>
          <a:noFill/>
        </p:spPr>
        <p:txBody>
          <a:bodyPr wrap="square">
            <a:spAutoFit/>
          </a:bodyPr>
          <a:lstStyle/>
          <a:p>
            <a:pPr marL="457200" marR="0">
              <a:spcBef>
                <a:spcPts val="0"/>
              </a:spcBef>
              <a:spcAft>
                <a:spcPts val="0"/>
              </a:spcAft>
            </a:pPr>
            <a:endParaRPr lang="en-US" sz="1800" dirty="0">
              <a:effectLst/>
              <a:latin typeface="Calibri" panose="020F0502020204030204" pitchFamily="34" charset="0"/>
              <a:ea typeface="DengXian" panose="02010600030101010101" pitchFamily="2" charset="-122"/>
            </a:endParaRPr>
          </a:p>
          <a:p>
            <a:pPr marL="457200" marR="0">
              <a:spcBef>
                <a:spcPts val="0"/>
              </a:spcBef>
              <a:spcAft>
                <a:spcPts val="0"/>
              </a:spcAft>
            </a:pPr>
            <a:r>
              <a:rPr lang="en-US" sz="1600" dirty="0">
                <a:effectLst/>
                <a:ea typeface="DengXian" panose="02010600030101010101" pitchFamily="2" charset="-122"/>
              </a:rPr>
              <a:t>MICROSOFT POWER VIRTUAL AGENTS (1) IS NOT INTENDED OR MADE AVAILABLE AS A MEDICAL DEVICE FOR THE DIAGNOSIS OF DISEASE OR OTHER CONDITIONS, OR IN THE CURE, MITIGATION, TREATMENT OR PREVENTION OF DISEASE, OR OTHERWISE TO BE USED AS A COMPONENT OF ANY CLINICAL OFFERING OR PRODUCT, AND NO LICENSE OR RIGHT IS GRANTED TO USE MICROSOFT POWER VIRTUAL AGENTS FOR SUCH PURPOSES, (2) IS NOT DESIGNED OR INTENDED TO BE A SUBSTITUTE FOR PROFESSIONAL MEDICAL ADVICE, DIAGNOSIS, TREATMENT, OR JUDGMENT AND SHOULD NOT BE USED AS A SUBSTITUTE FOR, OR TO REPLACE, PROFESSIONAL MEDICAL ADVICE, DIAGNOSIS, TREATMENT, OR JUDGMENT, AND (3) SHOULD NOT BE USED FOR EMERGENCIES AND DOES NOT SUPPORT EMERGENCY CALLS.  ANY CHATBOT YOU CREATE USING MICROSOFT POWER VIRTUAL AGENTS IS YOUR OWN PRODUCT OR SERVICE, SEPARATE AND APART FROM MICROSOFT POWER VIRTUAL AGENTS.  YOU ARE SOLELY RESPONSIBLE FOR THE DESIGN, DEVELOPMENT, AND IMPLEMENTATION OF YOUR CHATBOT (INCLUDING INCORPORATION OF IT INTO ANY PRODUCT OR SERVICE INTENDED FOR MEDICAL OR CLINICAL USE) AND FOR EXPLICITLY PROVIDING END USERS WITH APPROPRIATE WARNINGS AND DISCLAIMERS PERTAINING TO USE OF YOUR CHATBOT.  YOU ARE SOLELY RESPONSIBLE FOR ANY PERSONAL INJURY OR DEATH THAT MAY OCCUR AS A RESULT OF YOUR CHATBOT OR YOUR USE OF MICROSOFT POWER VIRTUAL AGENTS IN CONNECTION WITH YOUR CHATBOT, INCLUDING (WITHOUT LIMITATION) ANY SUCH INJURIES TO END USERS.</a:t>
            </a:r>
          </a:p>
        </p:txBody>
      </p:sp>
    </p:spTree>
    <p:extLst>
      <p:ext uri="{BB962C8B-B14F-4D97-AF65-F5344CB8AC3E}">
        <p14:creationId xmlns:p14="http://schemas.microsoft.com/office/powerpoint/2010/main" val="3359234525"/>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00A9BE7-AF0D-447B-9501-767DCA0C2A77}"/>
              </a:ext>
            </a:extLst>
          </p:cNvPr>
          <p:cNvSpPr>
            <a:spLocks noGrp="1"/>
          </p:cNvSpPr>
          <p:nvPr>
            <p:ph type="title"/>
          </p:nvPr>
        </p:nvSpPr>
        <p:spPr/>
        <p:txBody>
          <a:bodyPr/>
          <a:lstStyle/>
          <a:p>
            <a:r>
              <a:rPr lang="en-US"/>
              <a:t>THANK YOU</a:t>
            </a:r>
            <a:endParaRPr lang="en-IN"/>
          </a:p>
        </p:txBody>
      </p:sp>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B88363-BF62-42ED-B916-98BF6E049A4A}"/>
              </a:ext>
            </a:extLst>
          </p:cNvPr>
          <p:cNvSpPr>
            <a:spLocks noGrp="1"/>
          </p:cNvSpPr>
          <p:nvPr>
            <p:ph type="title"/>
          </p:nvPr>
        </p:nvSpPr>
        <p:spPr/>
        <p:txBody>
          <a:bodyPr/>
          <a:lstStyle/>
          <a:p>
            <a:r>
              <a:rPr lang="en-US" sz="4400">
                <a:cs typeface="Segoe UI"/>
              </a:rPr>
              <a:t>Build your first virtual agent</a:t>
            </a:r>
          </a:p>
        </p:txBody>
      </p:sp>
      <p:grpSp>
        <p:nvGrpSpPr>
          <p:cNvPr id="3" name="Group 2">
            <a:extLst>
              <a:ext uri="{FF2B5EF4-FFF2-40B4-BE49-F238E27FC236}">
                <a16:creationId xmlns:a16="http://schemas.microsoft.com/office/drawing/2014/main" id="{1FAA9E41-0BDA-4618-BB0C-CF13399C6587}"/>
              </a:ext>
            </a:extLst>
          </p:cNvPr>
          <p:cNvGrpSpPr/>
          <p:nvPr/>
        </p:nvGrpSpPr>
        <p:grpSpPr>
          <a:xfrm>
            <a:off x="9224441" y="4884661"/>
            <a:ext cx="2967561" cy="1976519"/>
            <a:chOff x="9224440" y="4884660"/>
            <a:chExt cx="2967561" cy="1976519"/>
          </a:xfrm>
        </p:grpSpPr>
        <p:sp>
          <p:nvSpPr>
            <p:cNvPr id="5" name="Freeform: Shape 4">
              <a:extLst>
                <a:ext uri="{FF2B5EF4-FFF2-40B4-BE49-F238E27FC236}">
                  <a16:creationId xmlns:a16="http://schemas.microsoft.com/office/drawing/2014/main" id="{4A9B6483-C21C-43EF-8D93-B248A09DBA7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5D932E6D-A5E1-4F87-9938-C5EB0C291FC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485DD1DC-853C-4344-AB53-BDAF6C15E36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ACE98DDF-2B28-4287-8040-78B293C6B49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521F0385-5DB9-4A1D-A4BA-6AEBFDB5A9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10ACF4AC-0FDD-4028-BB82-EDC27E3707C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31D7570-3B5E-4B0D-A221-1B43D9ECA4B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5BB0EC4-6418-4D6E-95DE-A41016EBFA7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FA509CF9-DE9D-450E-A4BB-911176C043D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772C373-A3A8-4D85-AA52-581B2214609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6EAAF087-98E6-46FD-A45D-83FB85573F5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BD625D0-1C38-4701-BB51-F9A565F9639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E9F277F1-1A7B-407D-9C41-962C54842CB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DF63E1A6-DE1B-405A-9E5E-5218C376809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7CF61BE-82FA-488B-9085-1FF53182937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682E9422-6492-4065-B3C5-B5180EAB2B8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DD7E7B64-0558-4812-84A8-B959635D32D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9C9B73E2-5B52-4B7E-B967-4393EFE5992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5C62FCAE-B19C-4803-A30B-264AE5E459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0031F0D4-36BB-442C-96E2-8E1772C5EC59}"/>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643B111-3D3F-4F02-B4AA-69BBB377810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84DBC6F-7858-40EB-A0DF-AA1FCBF11F5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CFD28C8-AB91-4A31-B4C0-327E7E7913E5}"/>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2830DA3-6EBE-40EC-B406-21F8094CDA9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F448230-F55F-4FB4-BBB1-EC03683F589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1DBDFA6-2549-44D8-B20F-1CDD33DDEF44}"/>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EE361E18-E00E-4056-8C86-9A8805BFCD65}"/>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E4A186-D34D-42D1-BFD2-2E80FECADED1}"/>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AB5930-52C9-4AD6-84C6-81A85D1675F0}"/>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60C04D18-05B5-40EE-A0D1-6403AF97CA1F}"/>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5FD5319-70DA-457E-A574-0C595E26AD1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9909D07-6C51-468A-ABD9-4F07EA0E0E5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4DA63815-2306-4C71-98B8-FD400AD5C9E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1A8728D3-0EBF-480C-A942-20A2FB522A3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15CD41FB-184A-47B7-A249-3C2730016D51}"/>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0E4E2508-289B-4793-9C7D-0955CC0EE7F9}"/>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FB18EEC3-579F-462F-B225-DF583418D1EA}"/>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FD90F80-A870-4B0D-AA56-9461EE0030D9}"/>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F3703BA-F130-4306-8727-C044465BDC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526A9A9D-FBC5-4795-8950-A8A773A7830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D96A6739-F0E9-4390-9F66-5739249E0D8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FDDC572-9B31-431E-98EE-2A3B26AB020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9C38E7EC-8DA3-47AC-984C-34116CCD0DF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AF1344C-A960-431B-9549-99944EDB522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B0DFE0FE-92AC-4F19-923D-FD51260C7F1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2DED1E7B-08E0-4BD1-8C5F-A0198EA37E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CD8A785-C2AB-4ED9-8433-111093F85AA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095AD8B-BBBA-4DD7-B3E9-6146EB9A349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815E18D4-4C84-438A-8DD4-6F8A53BE154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60464858-AA24-462B-BC0B-EC10B5F8CD8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BC267D-8899-49D3-9A92-70B82417304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713EEE0-642A-43C9-9E7C-5C2E9DCA407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3513CC38-5664-423F-9461-08DFEEFC0CC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881A3A8-6ABB-44AA-A792-80AC3DB1842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D03389D6-CB96-4761-8AF2-C23AF64222D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7DDBEE56-6EF2-4F90-BF27-FED964C4CA2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4B6C2052-15F3-4A97-A183-4E58803C0D7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BD38023-9F74-44EA-8C98-D0DE1E0F65B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E018C980-FA22-4721-B2C8-C566444D23A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686FADB-80B1-4723-ACDC-88262649EC4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D830E961-A56E-4494-8BB7-97B33DA8716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84D32BED-CA4C-432D-8D88-6E641AF0E5E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7C1260B6-D664-45D4-BDB2-015EE3CF7CC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B23FE8A6-59E8-418F-B112-D96AE99D0CC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B24168-478E-45CF-A0C9-F85BAC6ABAEF}"/>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AA5FE88-2883-4248-9AD3-57132BDEF00B}"/>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94A2BBE-DB9A-4BCD-BCA0-ED3151979280}"/>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66710D7-473B-463C-8FB1-DCA1ED0F6583}"/>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374FD1C6-EA8E-423B-89C7-A101B197522C}"/>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98C92CBD-AE89-40EF-AA59-6606AAD33AF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8803A04-2BC2-41F9-A3E8-EE0A118EED1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13658FA-D275-40E2-9E0C-047D03FF8A01}"/>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B4E7F21-1F2C-4013-AA8A-3B3961F75975}"/>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3D34D3D-C6E7-4442-BDFD-FFF0B6060E11}"/>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5DBAAD2-1396-4D0D-98B6-E390034A78BA}"/>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682DE4F-2242-4D40-A716-6CDD76A92E96}"/>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B0BF638-B77E-48E6-8EC7-C0322F5B39F6}"/>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466804B-D4CC-44BA-9BFB-99F14535CF8E}"/>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0EDA51DD-B19B-4915-A67B-015F30C740A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8413A349-55CD-498B-AC4B-ACB0F53DA3B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7A00130-E0E0-479E-8F22-6F96A2F0E8E9}"/>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1D82287C-D4C8-4C8C-BD21-47380AADCB66}"/>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53D7898-46B0-44AE-B486-CC45F0A61864}"/>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C5F5AD84-8B19-46CF-AF90-8AF44C36B37E}"/>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FF4002FD-613D-4149-9F92-D4BCA04F2A73}"/>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7839771-DA02-413F-BE3E-6D8A5A6848BC}"/>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2F463D5C-07DD-4DC1-9BC2-F1366F6FB0DD}"/>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EFBF7463-4F99-4809-A07B-4221D8000D6E}"/>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F0C6445C-AF5D-4D1D-804B-353AA48B842E}"/>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31317F30-62B1-4765-9154-D43778EFD1D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3B77C6E-DE38-47A5-96AD-62F0AD5B011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564E9DA7-98C6-4F1E-BDBB-E9C7D29ACE04}"/>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4D3070EC-F058-4D98-A917-7C2B76B307DA}"/>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81F308D-F439-48AD-B56C-126455C101CB}"/>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CBDDDD03-D31A-408A-994E-A312496770F3}"/>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9847D31-3A54-4ADF-94F2-A49571682712}"/>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A2B1F11A-4728-4F68-AEC0-2C4FF059B3A6}"/>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951339B-EF00-4E4C-A114-0EC0925C04AB}"/>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6D737671-1740-4EC3-B361-17FE015FA59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FD244395-C58E-40F1-B8C9-07C25688158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48CA7B7E-946A-4EA9-86CB-48F81A3E866B}"/>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059CE63D-29DD-4C7F-8F6F-756ACF91A111}"/>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3B3E42D5-D22E-4AD3-99EB-F7F9B7A14AEA}"/>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E8425C67-D32C-4203-8138-6247FCA92B88}"/>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3F1DC786-21C1-46A5-AE6B-2B392BFDDB09}"/>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BA5DA39-37C3-48B4-844F-A71E4FF02F71}"/>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880E8770-8855-4E0E-8EAB-B806D599FC5D}"/>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47B30AAC-176C-43AB-B144-682950D88628}"/>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E8E695F-71B2-422C-BD63-CFB0C6524F3F}"/>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ED92EF77-1502-438F-B17A-71CD5FDF32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0BF37E65-BB08-4526-A7A5-7B8E853ECC0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F6842224-327E-45E8-ACEF-EDCEF941BEBE}"/>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4B8F53E7-D871-461E-A27B-00E5E6601364}"/>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D5852596-B97A-4C29-A3DF-8708BBF8A985}"/>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F98CD0F9-AC26-4CBA-BDC1-99BBC853E14D}"/>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2D1D9998-13C7-49DE-926E-73CD8A8D7CE2}"/>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126C3073-28B6-4294-BDEA-B57B58D99E1D}"/>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E4A04EAC-4487-49DE-BDF8-26CB2EEF669D}"/>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EB6718A0-AC03-4DA4-BC93-BFB266250733}"/>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2F1DAA01-DB93-4522-A407-8DE3B271D64D}"/>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C839F802-9CD3-41CE-A663-73686F3700E0}"/>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55C1CC96-AA18-4D56-A013-2603EBC2970A}"/>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8B82E47C-B5CC-4FA0-8EF5-9C3AE571C2CC}"/>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D12CE766-D79D-42D3-A239-47B38037762D}"/>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02B93D6A-0751-4C8C-A373-E4B7B9823013}"/>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62CC868-FFB8-4EBB-9202-B616B3D79647}"/>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959C7D5-3B5E-4D75-8570-CF546CD58722}"/>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A43A778B-2133-4138-A6BA-FA8E36BA500C}"/>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B490DEB4-B37A-4E74-8D58-C14DBD7E2D69}"/>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31825EAF-9A92-47A6-A481-C07F022C2EA8}"/>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0D65655D-75DB-4AC5-BC7E-018496CB4123}"/>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EA83A070-2902-471F-95CA-7E88DAA87CC4}"/>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898C383-BD5F-4DCC-B57E-4BB05EA2D395}"/>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099E940-EBB6-4833-9DE8-7624520FDD31}"/>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032017FE-EE38-4C09-BA3D-88CCB0D5E9A2}"/>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CDCCBB72-59CC-4219-910D-EBDF5C053AE8}"/>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8315196F-6479-481C-811F-5C006871F342}"/>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E4897633-A654-4223-A2E9-43FDF8317EB3}"/>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8F9A890B-2D9B-4860-A5E1-3C9DA462E4EB}"/>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D6933B7B-0815-47F4-AE5E-ABF458CA80D6}"/>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39DFB6ED-52CF-443D-A1B6-197C77FED354}"/>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13AE74BC-FF2A-4CE8-8603-36520245C5DC}"/>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D0077AC2-8D71-4CCA-9A3B-7FE60212C39F}"/>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2149837A-040D-446C-A01A-E3913D54DE1C}"/>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122167D3-0AD8-4D96-B967-263BEBD905CA}"/>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3CE9C51C-B8D5-4ACD-9DA5-1CC55A3036A6}"/>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F977290D-BDE5-47A3-873D-4BBDD9353C5C}"/>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4296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703306954"/>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b="1">
                          <a:solidFill>
                            <a:schemeClr val="bg1"/>
                          </a:solidFill>
                        </a:rPr>
                        <a:t>2</a:t>
                      </a:r>
                    </a:p>
                  </a:txBody>
                  <a:tcPr marL="18180" marR="10908" marT="10908" marB="10908" anchor="ctr">
                    <a:solidFill>
                      <a:srgbClr val="0B556A"/>
                    </a:solidFill>
                  </a:tcPr>
                </a:tc>
                <a:tc>
                  <a:txBody>
                    <a:bodyPr/>
                    <a:lstStyle/>
                    <a:p>
                      <a:r>
                        <a:rPr lang="en-US" sz="1100" b="1">
                          <a:solidFill>
                            <a:schemeClr val="bg1"/>
                          </a:solidFill>
                        </a:rPr>
                        <a:t>Build your first virtual agent </a:t>
                      </a:r>
                    </a:p>
                  </a:txBody>
                  <a:tcPr marL="18180" marR="10908" marT="10908" marB="10908" anchor="ctr">
                    <a:solidFill>
                      <a:srgbClr val="0B556A"/>
                    </a:solidFill>
                  </a:tcPr>
                </a:tc>
                <a:tc>
                  <a:txBody>
                    <a:bodyPr/>
                    <a:lstStyle/>
                    <a:p>
                      <a:r>
                        <a:rPr lang="en-US" sz="1100" b="1">
                          <a:solidFill>
                            <a:schemeClr val="bg1"/>
                          </a:solidFill>
                        </a:rPr>
                        <a:t>45 minutes</a:t>
                      </a:r>
                    </a:p>
                  </a:txBody>
                  <a:tcPr marL="18180" marR="10908" marT="10908" marB="10908" anchor="ctr">
                    <a:solidFill>
                      <a:srgbClr val="0B556A"/>
                    </a:solidFill>
                  </a:tcP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4</a:t>
                      </a:r>
                      <a:endParaRPr lang="en-US" sz="1100">
                        <a:solidFill>
                          <a:schemeClr val="tx1">
                            <a:lumMod val="85000"/>
                            <a:lumOff val="15000"/>
                          </a:schemeClr>
                        </a:solidFill>
                      </a:endParaRPr>
                    </a:p>
                  </a:txBody>
                  <a:tcPr marL="18180" marR="10908" marT="10908" marB="10908" anchor="ctr"/>
                </a:tc>
                <a:tc>
                  <a:txBody>
                    <a:bodyPr/>
                    <a:lstStyle/>
                    <a:p>
                      <a:r>
                        <a:rPr lang="en-US" sz="1100"/>
                        <a:t>Improve your virtual agent using entities, variables and topic redirect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a:t>5</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Integrate with prebuilt Power Automate flows</a:t>
                      </a:r>
                      <a:endParaRPr lang="en-US" sz="1100" dirty="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35655211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2048A57-BB4B-4767-AEA9-E39971AE17B6}"/>
              </a:ext>
            </a:extLst>
          </p:cNvPr>
          <p:cNvGrpSpPr/>
          <p:nvPr/>
        </p:nvGrpSpPr>
        <p:grpSpPr>
          <a:xfrm>
            <a:off x="0" y="5658770"/>
            <a:ext cx="1276470" cy="1199230"/>
            <a:chOff x="0" y="5658770"/>
            <a:chExt cx="1276470" cy="1199230"/>
          </a:xfrm>
        </p:grpSpPr>
        <p:sp>
          <p:nvSpPr>
            <p:cNvPr id="93" name="Freeform: Shape 92">
              <a:extLst>
                <a:ext uri="{FF2B5EF4-FFF2-40B4-BE49-F238E27FC236}">
                  <a16:creationId xmlns:a16="http://schemas.microsoft.com/office/drawing/2014/main" id="{E921873B-3C97-4A7B-AC0C-DF767D85B33C}"/>
                </a:ext>
              </a:extLst>
            </p:cNvPr>
            <p:cNvSpPr/>
            <p:nvPr/>
          </p:nvSpPr>
          <p:spPr bwMode="auto">
            <a:xfrm>
              <a:off x="0" y="5658770"/>
              <a:ext cx="1276470" cy="1199230"/>
            </a:xfrm>
            <a:custGeom>
              <a:avLst/>
              <a:gdLst>
                <a:gd name="connsiteX0" fmla="*/ 0 w 1276470"/>
                <a:gd name="connsiteY0" fmla="*/ 0 h 1199230"/>
                <a:gd name="connsiteX1" fmla="*/ 1276470 w 1276470"/>
                <a:gd name="connsiteY1" fmla="*/ 1199230 h 1199230"/>
                <a:gd name="connsiteX2" fmla="*/ 0 w 1276470"/>
                <a:gd name="connsiteY2" fmla="*/ 1199230 h 1199230"/>
              </a:gdLst>
              <a:ahLst/>
              <a:cxnLst>
                <a:cxn ang="0">
                  <a:pos x="connsiteX0" y="connsiteY0"/>
                </a:cxn>
                <a:cxn ang="0">
                  <a:pos x="connsiteX1" y="connsiteY1"/>
                </a:cxn>
                <a:cxn ang="0">
                  <a:pos x="connsiteX2" y="connsiteY2"/>
                </a:cxn>
              </a:cxnLst>
              <a:rect l="l" t="t" r="r" b="b"/>
              <a:pathLst>
                <a:path w="1276470" h="1199230">
                  <a:moveTo>
                    <a:pt x="0" y="0"/>
                  </a:moveTo>
                  <a:lnTo>
                    <a:pt x="1276470" y="1199230"/>
                  </a:lnTo>
                  <a:lnTo>
                    <a:pt x="0" y="119923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Shape 90">
              <a:extLst>
                <a:ext uri="{FF2B5EF4-FFF2-40B4-BE49-F238E27FC236}">
                  <a16:creationId xmlns:a16="http://schemas.microsoft.com/office/drawing/2014/main" id="{622195C3-B128-4EDE-8B51-0414CF94A396}"/>
                </a:ext>
              </a:extLst>
            </p:cNvPr>
            <p:cNvSpPr/>
            <p:nvPr/>
          </p:nvSpPr>
          <p:spPr bwMode="auto">
            <a:xfrm>
              <a:off x="0" y="6126689"/>
              <a:ext cx="1058200" cy="731311"/>
            </a:xfrm>
            <a:custGeom>
              <a:avLst/>
              <a:gdLst>
                <a:gd name="connsiteX0" fmla="*/ 279784 w 1058200"/>
                <a:gd name="connsiteY0" fmla="*/ 0 h 731311"/>
                <a:gd name="connsiteX1" fmla="*/ 1058200 w 1058200"/>
                <a:gd name="connsiteY1" fmla="*/ 731311 h 731311"/>
                <a:gd name="connsiteX2" fmla="*/ 0 w 1058200"/>
                <a:gd name="connsiteY2" fmla="*/ 731311 h 731311"/>
                <a:gd name="connsiteX3" fmla="*/ 0 w 1058200"/>
                <a:gd name="connsiteY3" fmla="*/ 279783 h 731311"/>
              </a:gdLst>
              <a:ahLst/>
              <a:cxnLst>
                <a:cxn ang="0">
                  <a:pos x="connsiteX0" y="connsiteY0"/>
                </a:cxn>
                <a:cxn ang="0">
                  <a:pos x="connsiteX1" y="connsiteY1"/>
                </a:cxn>
                <a:cxn ang="0">
                  <a:pos x="connsiteX2" y="connsiteY2"/>
                </a:cxn>
                <a:cxn ang="0">
                  <a:pos x="connsiteX3" y="connsiteY3"/>
                </a:cxn>
              </a:cxnLst>
              <a:rect l="l" t="t" r="r" b="b"/>
              <a:pathLst>
                <a:path w="1058200" h="731311">
                  <a:moveTo>
                    <a:pt x="279784" y="0"/>
                  </a:moveTo>
                  <a:lnTo>
                    <a:pt x="1058200" y="731311"/>
                  </a:lnTo>
                  <a:lnTo>
                    <a:pt x="0" y="731311"/>
                  </a:lnTo>
                  <a:lnTo>
                    <a:pt x="0" y="279783"/>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A1D3B00-E4CC-48D8-B374-97409A390157}"/>
              </a:ext>
            </a:extLst>
          </p:cNvPr>
          <p:cNvSpPr>
            <a:spLocks noGrp="1"/>
          </p:cNvSpPr>
          <p:nvPr>
            <p:ph type="title"/>
          </p:nvPr>
        </p:nvSpPr>
        <p:spPr/>
        <p:txBody>
          <a:bodyPr/>
          <a:lstStyle/>
          <a:p>
            <a:r>
              <a:rPr lang="en-US"/>
              <a:t>PVA Information Architecture</a:t>
            </a:r>
          </a:p>
        </p:txBody>
      </p:sp>
      <p:sp>
        <p:nvSpPr>
          <p:cNvPr id="27" name="Rectangle: Rounded Corners 26">
            <a:extLst>
              <a:ext uri="{FF2B5EF4-FFF2-40B4-BE49-F238E27FC236}">
                <a16:creationId xmlns:a16="http://schemas.microsoft.com/office/drawing/2014/main" id="{5B68B680-2FFB-4655-988E-21EC96B5761B}"/>
              </a:ext>
            </a:extLst>
          </p:cNvPr>
          <p:cNvSpPr/>
          <p:nvPr/>
        </p:nvSpPr>
        <p:spPr>
          <a:xfrm>
            <a:off x="457200" y="1154660"/>
            <a:ext cx="11277600" cy="4912312"/>
          </a:xfrm>
          <a:prstGeom prst="roundRect">
            <a:avLst>
              <a:gd name="adj" fmla="val 49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101DD45C-7046-4471-B98F-F8876F95B7CA}"/>
              </a:ext>
            </a:extLst>
          </p:cNvPr>
          <p:cNvSpPr txBox="1"/>
          <p:nvPr/>
        </p:nvSpPr>
        <p:spPr>
          <a:xfrm>
            <a:off x="4932687" y="1211810"/>
            <a:ext cx="2316358"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Semibold"/>
                <a:ea typeface="+mn-ea"/>
                <a:cs typeface="+mn-cs"/>
              </a:rPr>
              <a:t>CDS Environment</a:t>
            </a:r>
          </a:p>
        </p:txBody>
      </p:sp>
      <p:sp>
        <p:nvSpPr>
          <p:cNvPr id="36" name="Rectangle: Rounded Corners 35">
            <a:extLst>
              <a:ext uri="{FF2B5EF4-FFF2-40B4-BE49-F238E27FC236}">
                <a16:creationId xmlns:a16="http://schemas.microsoft.com/office/drawing/2014/main" id="{87544F3B-7214-4BDE-AEDD-367C4BD4520D}"/>
              </a:ext>
            </a:extLst>
          </p:cNvPr>
          <p:cNvSpPr/>
          <p:nvPr/>
        </p:nvSpPr>
        <p:spPr>
          <a:xfrm>
            <a:off x="580757" y="1625601"/>
            <a:ext cx="11020219" cy="4267200"/>
          </a:xfrm>
          <a:prstGeom prst="roundRect">
            <a:avLst>
              <a:gd name="adj" fmla="val 5526"/>
            </a:avLst>
          </a:prstGeom>
          <a:solidFill>
            <a:srgbClr val="0B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945FA146-40AD-4079-BDFA-B3C69DCDAF25}"/>
              </a:ext>
            </a:extLst>
          </p:cNvPr>
          <p:cNvSpPr txBox="1"/>
          <p:nvPr/>
        </p:nvSpPr>
        <p:spPr>
          <a:xfrm>
            <a:off x="915990" y="1687104"/>
            <a:ext cx="5198218" cy="46166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PVA BOT </a:t>
            </a:r>
            <a:r>
              <a:rPr kumimoji="0" lang="en-US" sz="1200" b="0" i="0" u="none" strike="noStrike" kern="1200" cap="none" spc="0" normalizeH="0" baseline="0" noProof="0">
                <a:ln>
                  <a:noFill/>
                </a:ln>
                <a:solidFill>
                  <a:srgbClr val="FFFFFF"/>
                </a:solidFill>
                <a:effectLst/>
                <a:uLnTx/>
                <a:uFillTx/>
                <a:latin typeface="Segoe UI"/>
                <a:ea typeface="+mn-ea"/>
                <a:cs typeface="+mn-cs"/>
              </a:rPr>
              <a:t>(0, 1 or more bots in a CDS environment)</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688AE799-FEB5-4D2F-A691-82284B73E7F9}"/>
              </a:ext>
            </a:extLst>
          </p:cNvPr>
          <p:cNvSpPr/>
          <p:nvPr/>
        </p:nvSpPr>
        <p:spPr>
          <a:xfrm>
            <a:off x="714273" y="2210272"/>
            <a:ext cx="5632608" cy="3572991"/>
          </a:xfrm>
          <a:prstGeom prst="roundRect">
            <a:avLst>
              <a:gd name="adj" fmla="val 3871"/>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AC0F6E4A-074E-4545-AEC9-76EEC7855A31}"/>
              </a:ext>
            </a:extLst>
          </p:cNvPr>
          <p:cNvSpPr txBox="1"/>
          <p:nvPr/>
        </p:nvSpPr>
        <p:spPr>
          <a:xfrm>
            <a:off x="869567" y="2206571"/>
            <a:ext cx="5305978" cy="861774"/>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User Topics </a:t>
            </a:r>
            <a:r>
              <a:rPr kumimoji="0" lang="en-US" sz="1200" b="0" i="0" u="none" strike="noStrike" kern="1200" cap="none" spc="0" normalizeH="0" baseline="0" noProof="0">
                <a:ln>
                  <a:noFill/>
                </a:ln>
                <a:solidFill>
                  <a:srgbClr val="3C3C41"/>
                </a:solidFill>
                <a:effectLst/>
                <a:uLnTx/>
                <a:uFillTx/>
                <a:latin typeface="Segoe UI"/>
                <a:ea typeface="+mn-ea"/>
                <a:cs typeface="+mn-cs"/>
              </a:rPr>
              <a:t>(1 or M in a bo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It’s common to have 25+ user topics within a bot. To help you get started the bot comes with 4 pre-defined user topics that you can use or delete. Within each topic you construct a conversation tree.</a:t>
            </a:r>
          </a:p>
        </p:txBody>
      </p:sp>
      <p:sp>
        <p:nvSpPr>
          <p:cNvPr id="43" name="Rectangle: Rounded Corners 42">
            <a:extLst>
              <a:ext uri="{FF2B5EF4-FFF2-40B4-BE49-F238E27FC236}">
                <a16:creationId xmlns:a16="http://schemas.microsoft.com/office/drawing/2014/main" id="{0C0D2BB0-2C2E-4134-B9FB-AEA1470838D6}"/>
              </a:ext>
            </a:extLst>
          </p:cNvPr>
          <p:cNvSpPr/>
          <p:nvPr/>
        </p:nvSpPr>
        <p:spPr>
          <a:xfrm>
            <a:off x="839681" y="3068344"/>
            <a:ext cx="5404247" cy="2619223"/>
          </a:xfrm>
          <a:prstGeom prst="roundRect">
            <a:avLst>
              <a:gd name="adj" fmla="val 4936"/>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84DD2D3-D7BE-4A4C-8ECA-DCB17120F63E}"/>
              </a:ext>
            </a:extLst>
          </p:cNvPr>
          <p:cNvSpPr txBox="1"/>
          <p:nvPr/>
        </p:nvSpPr>
        <p:spPr>
          <a:xfrm>
            <a:off x="869951" y="3068344"/>
            <a:ext cx="5373978" cy="861774"/>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Conversation Tree </a:t>
            </a:r>
            <a:r>
              <a:rPr kumimoji="0" lang="en-US" sz="1200" b="0" i="0" u="none" strike="noStrike" kern="1200" cap="none" spc="0" normalizeH="0" baseline="0" noProof="0">
                <a:ln>
                  <a:noFill/>
                </a:ln>
                <a:solidFill>
                  <a:srgbClr val="FFFFFF"/>
                </a:solidFill>
                <a:effectLst/>
                <a:uLnTx/>
                <a:uFillTx/>
                <a:latin typeface="Segoe UI"/>
                <a:ea typeface="+mn-ea"/>
                <a:cs typeface="+mn-cs"/>
              </a:rPr>
              <a:t>(1 per user topic)</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onsists of trigger phrases, multiple nodes (message, question, etc.), conditions, the ability to use entities and call actions (flows or skills). You can redirect/call another user topic or system topic from within a conversation tree.</a:t>
            </a:r>
            <a:endParaRPr kumimoji="0" lang="en-US" sz="1000" b="0" i="0" u="none" strike="noStrike" kern="1200" cap="none" spc="0" normalizeH="0" baseline="0" noProof="0">
              <a:ln>
                <a:noFill/>
              </a:ln>
              <a:solidFill>
                <a:srgbClr val="FFFFFF"/>
              </a:solidFill>
              <a:effectLst/>
              <a:uLnTx/>
              <a:uFillTx/>
              <a:latin typeface="Segoe UI"/>
              <a:ea typeface="+mn-ea"/>
              <a:cs typeface="Calibri"/>
            </a:endParaRPr>
          </a:p>
        </p:txBody>
      </p:sp>
      <p:grpSp>
        <p:nvGrpSpPr>
          <p:cNvPr id="8" name="Group 7">
            <a:extLst>
              <a:ext uri="{FF2B5EF4-FFF2-40B4-BE49-F238E27FC236}">
                <a16:creationId xmlns:a16="http://schemas.microsoft.com/office/drawing/2014/main" id="{848F11CA-341F-4326-B0E2-CE588A14E817}"/>
              </a:ext>
            </a:extLst>
          </p:cNvPr>
          <p:cNvGrpSpPr/>
          <p:nvPr/>
        </p:nvGrpSpPr>
        <p:grpSpPr>
          <a:xfrm>
            <a:off x="948136" y="3940289"/>
            <a:ext cx="5166072" cy="1648332"/>
            <a:chOff x="917867" y="3940289"/>
            <a:chExt cx="5196341" cy="1648332"/>
          </a:xfrm>
        </p:grpSpPr>
        <p:sp>
          <p:nvSpPr>
            <p:cNvPr id="57" name="Rectangle: Rounded Corners 56">
              <a:extLst>
                <a:ext uri="{FF2B5EF4-FFF2-40B4-BE49-F238E27FC236}">
                  <a16:creationId xmlns:a16="http://schemas.microsoft.com/office/drawing/2014/main" id="{593332EE-D331-49D9-9039-21E6EA5E6861}"/>
                </a:ext>
              </a:extLst>
            </p:cNvPr>
            <p:cNvSpPr/>
            <p:nvPr/>
          </p:nvSpPr>
          <p:spPr>
            <a:xfrm>
              <a:off x="917867" y="3940289"/>
              <a:ext cx="5196341" cy="535024"/>
            </a:xfrm>
            <a:prstGeom prst="roundRect">
              <a:avLst>
                <a:gd name="adj" fmla="val 10733"/>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Trigger Phras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0,1 or more in a user topic) </a:t>
              </a:r>
            </a:p>
          </p:txBody>
        </p:sp>
        <p:sp>
          <p:nvSpPr>
            <p:cNvPr id="58" name="Rectangle: Rounded Corners 57">
              <a:extLst>
                <a:ext uri="{FF2B5EF4-FFF2-40B4-BE49-F238E27FC236}">
                  <a16:creationId xmlns:a16="http://schemas.microsoft.com/office/drawing/2014/main" id="{A8631DFC-46DA-4088-8F78-E086F4B76644}"/>
                </a:ext>
              </a:extLst>
            </p:cNvPr>
            <p:cNvSpPr/>
            <p:nvPr/>
          </p:nvSpPr>
          <p:spPr>
            <a:xfrm>
              <a:off x="917867"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Prebuilt Entities </a:t>
              </a:r>
              <a:endParaRPr kumimoji="0" lang="en-US" sz="1100" b="1"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0,1 or more)</a:t>
              </a:r>
            </a:p>
          </p:txBody>
        </p:sp>
        <p:sp>
          <p:nvSpPr>
            <p:cNvPr id="60" name="Rectangle: Rounded Corners 59">
              <a:extLst>
                <a:ext uri="{FF2B5EF4-FFF2-40B4-BE49-F238E27FC236}">
                  <a16:creationId xmlns:a16="http://schemas.microsoft.com/office/drawing/2014/main" id="{12E31CE9-CC42-4A73-B568-4ED060B9D889}"/>
                </a:ext>
              </a:extLst>
            </p:cNvPr>
            <p:cNvSpPr/>
            <p:nvPr/>
          </p:nvSpPr>
          <p:spPr>
            <a:xfrm>
              <a:off x="917867"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Power Automate </a:t>
              </a:r>
              <a:r>
                <a:rPr kumimoji="0" lang="en-US" sz="1100" b="0" i="0" u="none" strike="noStrike" kern="1200" cap="none" spc="0" normalizeH="0" baseline="0" noProof="0">
                  <a:ln>
                    <a:noFill/>
                  </a:ln>
                  <a:solidFill>
                    <a:srgbClr val="FFFFFF"/>
                  </a:solidFill>
                  <a:effectLst/>
                  <a:uLnTx/>
                  <a:uFillTx/>
                  <a:latin typeface="Segoe UI Semibold"/>
                  <a:ea typeface="+mn-ea"/>
                  <a:cs typeface="+mn-cs"/>
                </a:rPr>
                <a:t>Flow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0,1 or more)</a:t>
              </a:r>
            </a:p>
          </p:txBody>
        </p:sp>
        <p:sp>
          <p:nvSpPr>
            <p:cNvPr id="71" name="Rectangle: Rounded Corners 70">
              <a:extLst>
                <a:ext uri="{FF2B5EF4-FFF2-40B4-BE49-F238E27FC236}">
                  <a16:creationId xmlns:a16="http://schemas.microsoft.com/office/drawing/2014/main" id="{8EA5C161-620A-4128-BE0A-3DE14B10550C}"/>
                </a:ext>
              </a:extLst>
            </p:cNvPr>
            <p:cNvSpPr/>
            <p:nvPr/>
          </p:nvSpPr>
          <p:spPr>
            <a:xfrm>
              <a:off x="3553468"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ustom Entiti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0,1 or more)</a:t>
              </a:r>
            </a:p>
          </p:txBody>
        </p:sp>
        <p:sp>
          <p:nvSpPr>
            <p:cNvPr id="72" name="Rectangle: Rounded Corners 71">
              <a:extLst>
                <a:ext uri="{FF2B5EF4-FFF2-40B4-BE49-F238E27FC236}">
                  <a16:creationId xmlns:a16="http://schemas.microsoft.com/office/drawing/2014/main" id="{082B846E-B679-4ED4-9C84-99758FF512F3}"/>
                </a:ext>
              </a:extLst>
            </p:cNvPr>
            <p:cNvSpPr/>
            <p:nvPr/>
          </p:nvSpPr>
          <p:spPr>
            <a:xfrm>
              <a:off x="3553468"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ot Framework </a:t>
              </a:r>
              <a:r>
                <a:rPr kumimoji="0" lang="en-US" sz="1100" b="0" i="0" u="none" strike="noStrike" kern="1200" cap="none" spc="0" normalizeH="0" baseline="0" noProof="0">
                  <a:ln>
                    <a:noFill/>
                  </a:ln>
                  <a:solidFill>
                    <a:srgbClr val="FFFFFF"/>
                  </a:solidFill>
                  <a:effectLst/>
                  <a:uLnTx/>
                  <a:uFillTx/>
                  <a:latin typeface="Segoe UI Semibold"/>
                  <a:ea typeface="+mn-ea"/>
                  <a:cs typeface="+mn-cs"/>
                </a:rPr>
                <a:t>Skill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0,1, or more)</a:t>
              </a:r>
            </a:p>
          </p:txBody>
        </p:sp>
      </p:grpSp>
      <p:sp>
        <p:nvSpPr>
          <p:cNvPr id="73" name="Rectangle: Rounded Corners 72">
            <a:extLst>
              <a:ext uri="{FF2B5EF4-FFF2-40B4-BE49-F238E27FC236}">
                <a16:creationId xmlns:a16="http://schemas.microsoft.com/office/drawing/2014/main" id="{A5F3F966-2C0A-4975-9C03-39D9B5638709}"/>
              </a:ext>
            </a:extLst>
          </p:cNvPr>
          <p:cNvSpPr/>
          <p:nvPr/>
        </p:nvSpPr>
        <p:spPr>
          <a:xfrm>
            <a:off x="6470439" y="2619374"/>
            <a:ext cx="5002529" cy="3163889"/>
          </a:xfrm>
          <a:prstGeom prst="roundRect">
            <a:avLst>
              <a:gd name="adj" fmla="val 4324"/>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376B6FCC-A01A-4FD9-8EF9-9FDAB9C20E32}"/>
              </a:ext>
            </a:extLst>
          </p:cNvPr>
          <p:cNvSpPr txBox="1"/>
          <p:nvPr/>
        </p:nvSpPr>
        <p:spPr>
          <a:xfrm>
            <a:off x="6710018" y="2619374"/>
            <a:ext cx="4757439" cy="861774"/>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System Topics </a:t>
            </a:r>
            <a:r>
              <a:rPr kumimoji="0" lang="en-US" sz="1200" b="0" i="0" u="none" strike="noStrike" kern="1200" cap="none" spc="0" normalizeH="0" baseline="0" noProof="0">
                <a:ln>
                  <a:noFill/>
                </a:ln>
                <a:solidFill>
                  <a:srgbClr val="3C3C41"/>
                </a:solidFill>
                <a:effectLst/>
                <a:uLnTx/>
                <a:uFillTx/>
                <a:latin typeface="Segoe UI"/>
                <a:ea typeface="+mn-ea"/>
                <a:cs typeface="+mn-cs"/>
              </a:rPr>
              <a:t>(8 pre-defined in a bo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Includes: Greeting, Goodbye, End of conversation survey etc. Recommend minimal editing e.g., greeting message only. Think of these as building blocks for</a:t>
            </a:r>
            <a:br>
              <a:rPr kumimoji="0" lang="en-US" sz="1000" b="0" i="0" u="none" strike="noStrike" kern="1200" cap="none" spc="0" normalizeH="0" baseline="0" noProof="0">
                <a:ln>
                  <a:noFill/>
                </a:ln>
                <a:solidFill>
                  <a:srgbClr val="3C3C41"/>
                </a:solidFill>
                <a:effectLst/>
                <a:uLnTx/>
                <a:uFillTx/>
                <a:latin typeface="Segoe UI"/>
                <a:ea typeface="+mn-ea"/>
                <a:cs typeface="+mn-cs"/>
              </a:rPr>
            </a:br>
            <a:r>
              <a:rPr kumimoji="0" lang="en-US" sz="1000" b="0" i="0" u="none" strike="noStrike" kern="1200" cap="none" spc="0" normalizeH="0" baseline="0" noProof="0">
                <a:ln>
                  <a:noFill/>
                </a:ln>
                <a:solidFill>
                  <a:srgbClr val="3C3C41"/>
                </a:solidFill>
                <a:effectLst/>
                <a:uLnTx/>
                <a:uFillTx/>
                <a:latin typeface="Segoe UI"/>
                <a:ea typeface="+mn-ea"/>
                <a:cs typeface="+mn-cs"/>
              </a:rPr>
              <a:t>your conversation.</a:t>
            </a:r>
          </a:p>
        </p:txBody>
      </p:sp>
      <p:sp>
        <p:nvSpPr>
          <p:cNvPr id="75" name="Rectangle: Rounded Corners 74">
            <a:extLst>
              <a:ext uri="{FF2B5EF4-FFF2-40B4-BE49-F238E27FC236}">
                <a16:creationId xmlns:a16="http://schemas.microsoft.com/office/drawing/2014/main" id="{592E7F60-7A35-4D01-A0F9-DFBCDBC54D36}"/>
              </a:ext>
            </a:extLst>
          </p:cNvPr>
          <p:cNvSpPr/>
          <p:nvPr/>
        </p:nvSpPr>
        <p:spPr>
          <a:xfrm>
            <a:off x="6609075" y="3497818"/>
            <a:ext cx="4732977" cy="2189750"/>
          </a:xfrm>
          <a:prstGeom prst="roundRect">
            <a:avLst>
              <a:gd name="adj" fmla="val 7532"/>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29767885-6A1D-491E-9EA8-393FBFDD7B1A}"/>
              </a:ext>
            </a:extLst>
          </p:cNvPr>
          <p:cNvSpPr txBox="1"/>
          <p:nvPr/>
        </p:nvSpPr>
        <p:spPr>
          <a:xfrm>
            <a:off x="6707260" y="3497818"/>
            <a:ext cx="4631519" cy="892552"/>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Conversation tre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onsists of trigger phrases, multiple nodes (message, question, etc.), conditions, the ability to use entities and call actions (flows or skills).</a:t>
            </a:r>
            <a:endParaRPr kumimoji="0" lang="en-US" sz="1000" b="0" i="0" u="none" strike="noStrike" kern="1200" cap="none" spc="0" normalizeH="0" baseline="0" noProof="0">
              <a:ln>
                <a:noFill/>
              </a:ln>
              <a:solidFill>
                <a:srgbClr val="FFFFFF"/>
              </a:solidFill>
              <a:effectLst/>
              <a:uLnTx/>
              <a:uFillTx/>
              <a:latin typeface="Segoe UI"/>
              <a:ea typeface="+mn-ea"/>
              <a:cs typeface="Calibr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Rounded Corners 76">
            <a:extLst>
              <a:ext uri="{FF2B5EF4-FFF2-40B4-BE49-F238E27FC236}">
                <a16:creationId xmlns:a16="http://schemas.microsoft.com/office/drawing/2014/main" id="{E57C4053-1179-478E-B785-7535AAF8116C}"/>
              </a:ext>
            </a:extLst>
          </p:cNvPr>
          <p:cNvSpPr/>
          <p:nvPr/>
        </p:nvSpPr>
        <p:spPr>
          <a:xfrm>
            <a:off x="6710018" y="4222131"/>
            <a:ext cx="4536603" cy="565536"/>
          </a:xfrm>
          <a:prstGeom prst="roundRect">
            <a:avLst>
              <a:gd name="adj" fmla="val 9797"/>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Trigger Phras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read only in system Topic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0, 1 or more) </a:t>
            </a:r>
          </a:p>
        </p:txBody>
      </p:sp>
      <p:grpSp>
        <p:nvGrpSpPr>
          <p:cNvPr id="78" name="Group 77">
            <a:extLst>
              <a:ext uri="{FF2B5EF4-FFF2-40B4-BE49-F238E27FC236}">
                <a16:creationId xmlns:a16="http://schemas.microsoft.com/office/drawing/2014/main" id="{90FD2EE3-B09E-46B3-A424-97537E8184E0}"/>
              </a:ext>
            </a:extLst>
          </p:cNvPr>
          <p:cNvGrpSpPr/>
          <p:nvPr/>
        </p:nvGrpSpPr>
        <p:grpSpPr>
          <a:xfrm rot="10800000">
            <a:off x="10147489" y="0"/>
            <a:ext cx="1614975" cy="604899"/>
            <a:chOff x="10314145" y="6155531"/>
            <a:chExt cx="1875474" cy="702470"/>
          </a:xfrm>
        </p:grpSpPr>
        <p:sp>
          <p:nvSpPr>
            <p:cNvPr id="79" name="Freeform: Shape 78">
              <a:extLst>
                <a:ext uri="{FF2B5EF4-FFF2-40B4-BE49-F238E27FC236}">
                  <a16:creationId xmlns:a16="http://schemas.microsoft.com/office/drawing/2014/main" id="{CDE32A5A-A373-4BD2-93DE-54E51B9F10EB}"/>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79">
              <a:extLst>
                <a:ext uri="{FF2B5EF4-FFF2-40B4-BE49-F238E27FC236}">
                  <a16:creationId xmlns:a16="http://schemas.microsoft.com/office/drawing/2014/main" id="{6C430EE2-C3DB-456B-AE88-573BF44911A8}"/>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4" name="TextBox 83">
            <a:extLst>
              <a:ext uri="{FF2B5EF4-FFF2-40B4-BE49-F238E27FC236}">
                <a16:creationId xmlns:a16="http://schemas.microsoft.com/office/drawing/2014/main" id="{4F3E2450-698D-4E0F-A208-A71041202F7B}"/>
              </a:ext>
            </a:extLst>
          </p:cNvPr>
          <p:cNvSpPr txBox="1"/>
          <p:nvPr/>
        </p:nvSpPr>
        <p:spPr>
          <a:xfrm>
            <a:off x="948136" y="6319536"/>
            <a:ext cx="6551722" cy="21983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to use Power Automate flows in a PVA bot they must be in a solution, within the same CDS environment as the bot</a:t>
            </a:r>
          </a:p>
        </p:txBody>
      </p:sp>
      <p:sp>
        <p:nvSpPr>
          <p:cNvPr id="33" name="Rectangle: Rounded Corners 32">
            <a:extLst>
              <a:ext uri="{FF2B5EF4-FFF2-40B4-BE49-F238E27FC236}">
                <a16:creationId xmlns:a16="http://schemas.microsoft.com/office/drawing/2014/main" id="{E8BFEA0D-F04A-48F6-B826-59BB3A7AFD1A}"/>
              </a:ext>
            </a:extLst>
          </p:cNvPr>
          <p:cNvSpPr/>
          <p:nvPr/>
        </p:nvSpPr>
        <p:spPr>
          <a:xfrm>
            <a:off x="6710018" y="4870384"/>
            <a:ext cx="2481074" cy="238024"/>
          </a:xfrm>
          <a:prstGeom prst="roundRect">
            <a:avLst>
              <a:gd name="adj" fmla="val 50000"/>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Prebuilt Entities </a:t>
            </a:r>
            <a:endParaRPr kumimoji="0" lang="en-US" sz="800" b="1" i="0" u="none" strike="noStrike" kern="1200" cap="none" spc="0" normalizeH="0" baseline="0" noProof="0">
              <a:ln>
                <a:noFill/>
              </a:ln>
              <a:solidFill>
                <a:srgbClr val="FFFFFF"/>
              </a:solidFill>
              <a:effectLst/>
              <a:uLnTx/>
              <a:uFillTx/>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0,1 or more)</a:t>
            </a:r>
          </a:p>
        </p:txBody>
      </p:sp>
      <p:sp>
        <p:nvSpPr>
          <p:cNvPr id="34" name="Rectangle: Rounded Corners 33">
            <a:extLst>
              <a:ext uri="{FF2B5EF4-FFF2-40B4-BE49-F238E27FC236}">
                <a16:creationId xmlns:a16="http://schemas.microsoft.com/office/drawing/2014/main" id="{583D5283-D6E4-43F5-A65F-967742773E27}"/>
              </a:ext>
            </a:extLst>
          </p:cNvPr>
          <p:cNvSpPr/>
          <p:nvPr/>
        </p:nvSpPr>
        <p:spPr>
          <a:xfrm>
            <a:off x="6710018" y="5168239"/>
            <a:ext cx="2500190" cy="420184"/>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Power Automate Flow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0,1 or more)</a:t>
            </a:r>
          </a:p>
        </p:txBody>
      </p:sp>
      <p:sp>
        <p:nvSpPr>
          <p:cNvPr id="35" name="Rectangle: Rounded Corners 34">
            <a:extLst>
              <a:ext uri="{FF2B5EF4-FFF2-40B4-BE49-F238E27FC236}">
                <a16:creationId xmlns:a16="http://schemas.microsoft.com/office/drawing/2014/main" id="{0FE75640-F4B2-483E-BCCD-D2F95916F990}"/>
              </a:ext>
            </a:extLst>
          </p:cNvPr>
          <p:cNvSpPr/>
          <p:nvPr/>
        </p:nvSpPr>
        <p:spPr>
          <a:xfrm>
            <a:off x="9267632" y="4874700"/>
            <a:ext cx="1976232" cy="233707"/>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Custom Entiti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0,1 or more)</a:t>
            </a:r>
          </a:p>
        </p:txBody>
      </p:sp>
      <p:sp>
        <p:nvSpPr>
          <p:cNvPr id="39" name="Rectangle: Rounded Corners 38">
            <a:extLst>
              <a:ext uri="{FF2B5EF4-FFF2-40B4-BE49-F238E27FC236}">
                <a16:creationId xmlns:a16="http://schemas.microsoft.com/office/drawing/2014/main" id="{1E5E6A56-6FA9-4FB4-AF0D-1867F3842ED5}"/>
              </a:ext>
            </a:extLst>
          </p:cNvPr>
          <p:cNvSpPr/>
          <p:nvPr/>
        </p:nvSpPr>
        <p:spPr>
          <a:xfrm>
            <a:off x="9267632" y="5170760"/>
            <a:ext cx="1976232" cy="417663"/>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Bot Framework Skill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0,1, or more)</a:t>
            </a:r>
          </a:p>
        </p:txBody>
      </p:sp>
    </p:spTree>
    <p:extLst>
      <p:ext uri="{BB962C8B-B14F-4D97-AF65-F5344CB8AC3E}">
        <p14:creationId xmlns:p14="http://schemas.microsoft.com/office/powerpoint/2010/main" val="18324628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568A2337-B69B-4416-AC53-01AE252C99A4}"/>
              </a:ext>
            </a:extLst>
          </p:cNvPr>
          <p:cNvSpPr/>
          <p:nvPr/>
        </p:nvSpPr>
        <p:spPr bwMode="auto">
          <a:xfrm>
            <a:off x="11276469" y="4256358"/>
            <a:ext cx="915531" cy="1002320"/>
          </a:xfrm>
          <a:prstGeom prst="rect">
            <a:avLst/>
          </a:prstGeom>
          <a:solidFill>
            <a:srgbClr val="BEECF8"/>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12">
            <a:extLst>
              <a:ext uri="{FF2B5EF4-FFF2-40B4-BE49-F238E27FC236}">
                <a16:creationId xmlns:a16="http://schemas.microsoft.com/office/drawing/2014/main" id="{D4570172-E6D7-430A-96F3-3EE0E0C1C723}"/>
              </a:ext>
            </a:extLst>
          </p:cNvPr>
          <p:cNvSpPr>
            <a:spLocks/>
          </p:cNvSpPr>
          <p:nvPr/>
        </p:nvSpPr>
        <p:spPr bwMode="auto">
          <a:xfrm>
            <a:off x="9156540" y="1599323"/>
            <a:ext cx="1313945" cy="1168668"/>
          </a:xfrm>
          <a:custGeom>
            <a:avLst/>
            <a:gdLst>
              <a:gd name="T0" fmla="*/ 149 w 601"/>
              <a:gd name="T1" fmla="*/ 457 h 532"/>
              <a:gd name="T2" fmla="*/ 168 w 601"/>
              <a:gd name="T3" fmla="*/ 456 h 532"/>
              <a:gd name="T4" fmla="*/ 395 w 601"/>
              <a:gd name="T5" fmla="*/ 532 h 532"/>
              <a:gd name="T6" fmla="*/ 412 w 601"/>
              <a:gd name="T7" fmla="*/ 280 h 532"/>
              <a:gd name="T8" fmla="*/ 601 w 601"/>
              <a:gd name="T9" fmla="*/ 121 h 532"/>
              <a:gd name="T10" fmla="*/ 168 w 601"/>
              <a:gd name="T11" fmla="*/ 0 h 532"/>
              <a:gd name="T12" fmla="*/ 43 w 601"/>
              <a:gd name="T13" fmla="*/ 9 h 532"/>
              <a:gd name="T14" fmla="*/ 0 w 601"/>
              <a:gd name="T15" fmla="*/ 252 h 532"/>
              <a:gd name="T16" fmla="*/ 149 w 601"/>
              <a:gd name="T17" fmla="*/ 457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1" h="532">
                <a:moveTo>
                  <a:pt x="149" y="457"/>
                </a:moveTo>
                <a:cubicBezTo>
                  <a:pt x="155" y="456"/>
                  <a:pt x="161" y="456"/>
                  <a:pt x="168" y="456"/>
                </a:cubicBezTo>
                <a:cubicBezTo>
                  <a:pt x="253" y="456"/>
                  <a:pt x="332" y="484"/>
                  <a:pt x="395" y="532"/>
                </a:cubicBezTo>
                <a:cubicBezTo>
                  <a:pt x="412" y="280"/>
                  <a:pt x="412" y="280"/>
                  <a:pt x="412" y="280"/>
                </a:cubicBezTo>
                <a:cubicBezTo>
                  <a:pt x="601" y="121"/>
                  <a:pt x="601" y="121"/>
                  <a:pt x="601" y="121"/>
                </a:cubicBezTo>
                <a:cubicBezTo>
                  <a:pt x="475" y="44"/>
                  <a:pt x="327" y="0"/>
                  <a:pt x="168" y="0"/>
                </a:cubicBezTo>
                <a:cubicBezTo>
                  <a:pt x="125" y="0"/>
                  <a:pt x="83" y="3"/>
                  <a:pt x="43" y="9"/>
                </a:cubicBezTo>
                <a:cubicBezTo>
                  <a:pt x="0" y="252"/>
                  <a:pt x="0" y="252"/>
                  <a:pt x="0" y="252"/>
                </a:cubicBezTo>
                <a:lnTo>
                  <a:pt x="149" y="457"/>
                </a:lnTo>
                <a:close/>
              </a:path>
            </a:pathLst>
          </a:custGeom>
          <a:solidFill>
            <a:srgbClr val="16ABD4"/>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13">
            <a:extLst>
              <a:ext uri="{FF2B5EF4-FFF2-40B4-BE49-F238E27FC236}">
                <a16:creationId xmlns:a16="http://schemas.microsoft.com/office/drawing/2014/main" id="{29AF1D9F-0522-45C3-ACF0-7083131DD748}"/>
              </a:ext>
            </a:extLst>
          </p:cNvPr>
          <p:cNvSpPr>
            <a:spLocks/>
          </p:cNvSpPr>
          <p:nvPr/>
        </p:nvSpPr>
        <p:spPr bwMode="auto">
          <a:xfrm>
            <a:off x="8155746" y="1618693"/>
            <a:ext cx="1326859" cy="1200953"/>
          </a:xfrm>
          <a:custGeom>
            <a:avLst/>
            <a:gdLst>
              <a:gd name="T0" fmla="*/ 369 w 606"/>
              <a:gd name="T1" fmla="*/ 547 h 547"/>
              <a:gd name="T2" fmla="*/ 606 w 606"/>
              <a:gd name="T3" fmla="*/ 448 h 547"/>
              <a:gd name="T4" fmla="*/ 457 w 606"/>
              <a:gd name="T5" fmla="*/ 243 h 547"/>
              <a:gd name="T6" fmla="*/ 500 w 606"/>
              <a:gd name="T7" fmla="*/ 0 h 547"/>
              <a:gd name="T8" fmla="*/ 0 w 606"/>
              <a:gd name="T9" fmla="*/ 273 h 547"/>
              <a:gd name="T10" fmla="*/ 123 w 606"/>
              <a:gd name="T11" fmla="*/ 486 h 547"/>
              <a:gd name="T12" fmla="*/ 369 w 606"/>
              <a:gd name="T13" fmla="*/ 547 h 547"/>
            </a:gdLst>
            <a:ahLst/>
            <a:cxnLst>
              <a:cxn ang="0">
                <a:pos x="T0" y="T1"/>
              </a:cxn>
              <a:cxn ang="0">
                <a:pos x="T2" y="T3"/>
              </a:cxn>
              <a:cxn ang="0">
                <a:pos x="T4" y="T5"/>
              </a:cxn>
              <a:cxn ang="0">
                <a:pos x="T6" y="T7"/>
              </a:cxn>
              <a:cxn ang="0">
                <a:pos x="T8" y="T9"/>
              </a:cxn>
              <a:cxn ang="0">
                <a:pos x="T10" y="T11"/>
              </a:cxn>
              <a:cxn ang="0">
                <a:pos x="T12" y="T13"/>
              </a:cxn>
            </a:cxnLst>
            <a:rect l="0" t="0" r="r" b="b"/>
            <a:pathLst>
              <a:path w="606" h="547">
                <a:moveTo>
                  <a:pt x="369" y="547"/>
                </a:moveTo>
                <a:cubicBezTo>
                  <a:pt x="432" y="489"/>
                  <a:pt x="515" y="452"/>
                  <a:pt x="606" y="448"/>
                </a:cubicBezTo>
                <a:cubicBezTo>
                  <a:pt x="457" y="243"/>
                  <a:pt x="457" y="243"/>
                  <a:pt x="457" y="243"/>
                </a:cubicBezTo>
                <a:cubicBezTo>
                  <a:pt x="500" y="0"/>
                  <a:pt x="500" y="0"/>
                  <a:pt x="500" y="0"/>
                </a:cubicBezTo>
                <a:cubicBezTo>
                  <a:pt x="301" y="30"/>
                  <a:pt x="126" y="129"/>
                  <a:pt x="0" y="273"/>
                </a:cubicBezTo>
                <a:cubicBezTo>
                  <a:pt x="123" y="486"/>
                  <a:pt x="123" y="486"/>
                  <a:pt x="123" y="486"/>
                </a:cubicBezTo>
                <a:lnTo>
                  <a:pt x="369" y="547"/>
                </a:lnTo>
                <a:close/>
              </a:path>
            </a:pathLst>
          </a:custGeom>
          <a:solidFill>
            <a:srgbClr val="14A0C6"/>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14">
            <a:extLst>
              <a:ext uri="{FF2B5EF4-FFF2-40B4-BE49-F238E27FC236}">
                <a16:creationId xmlns:a16="http://schemas.microsoft.com/office/drawing/2014/main" id="{848C96EE-DE7E-43EE-B466-5AA4541CEF11}"/>
              </a:ext>
            </a:extLst>
          </p:cNvPr>
          <p:cNvSpPr>
            <a:spLocks/>
          </p:cNvSpPr>
          <p:nvPr/>
        </p:nvSpPr>
        <p:spPr bwMode="auto">
          <a:xfrm>
            <a:off x="10020128" y="1864049"/>
            <a:ext cx="1231622" cy="1378513"/>
          </a:xfrm>
          <a:custGeom>
            <a:avLst/>
            <a:gdLst>
              <a:gd name="T0" fmla="*/ 0 w 563"/>
              <a:gd name="T1" fmla="*/ 411 h 627"/>
              <a:gd name="T2" fmla="*/ 140 w 563"/>
              <a:gd name="T3" fmla="*/ 627 h 627"/>
              <a:gd name="T4" fmla="*/ 314 w 563"/>
              <a:gd name="T5" fmla="*/ 446 h 627"/>
              <a:gd name="T6" fmla="*/ 563 w 563"/>
              <a:gd name="T7" fmla="*/ 446 h 627"/>
              <a:gd name="T8" fmla="*/ 206 w 563"/>
              <a:gd name="T9" fmla="*/ 0 h 627"/>
              <a:gd name="T10" fmla="*/ 17 w 563"/>
              <a:gd name="T11" fmla="*/ 159 h 627"/>
              <a:gd name="T12" fmla="*/ 0 w 563"/>
              <a:gd name="T13" fmla="*/ 411 h 627"/>
            </a:gdLst>
            <a:ahLst/>
            <a:cxnLst>
              <a:cxn ang="0">
                <a:pos x="T0" y="T1"/>
              </a:cxn>
              <a:cxn ang="0">
                <a:pos x="T2" y="T3"/>
              </a:cxn>
              <a:cxn ang="0">
                <a:pos x="T4" y="T5"/>
              </a:cxn>
              <a:cxn ang="0">
                <a:pos x="T6" y="T7"/>
              </a:cxn>
              <a:cxn ang="0">
                <a:pos x="T8" y="T9"/>
              </a:cxn>
              <a:cxn ang="0">
                <a:pos x="T10" y="T11"/>
              </a:cxn>
              <a:cxn ang="0">
                <a:pos x="T12" y="T13"/>
              </a:cxn>
            </a:cxnLst>
            <a:rect l="0" t="0" r="r" b="b"/>
            <a:pathLst>
              <a:path w="563" h="627">
                <a:moveTo>
                  <a:pt x="0" y="411"/>
                </a:moveTo>
                <a:cubicBezTo>
                  <a:pt x="69" y="464"/>
                  <a:pt x="120" y="540"/>
                  <a:pt x="140" y="627"/>
                </a:cubicBezTo>
                <a:cubicBezTo>
                  <a:pt x="314" y="446"/>
                  <a:pt x="314" y="446"/>
                  <a:pt x="314" y="446"/>
                </a:cubicBezTo>
                <a:cubicBezTo>
                  <a:pt x="563" y="446"/>
                  <a:pt x="563" y="446"/>
                  <a:pt x="563" y="446"/>
                </a:cubicBezTo>
                <a:cubicBezTo>
                  <a:pt x="500" y="259"/>
                  <a:pt x="372" y="101"/>
                  <a:pt x="206" y="0"/>
                </a:cubicBezTo>
                <a:cubicBezTo>
                  <a:pt x="17" y="159"/>
                  <a:pt x="17" y="159"/>
                  <a:pt x="17" y="159"/>
                </a:cubicBezTo>
                <a:lnTo>
                  <a:pt x="0" y="411"/>
                </a:lnTo>
                <a:close/>
              </a:path>
            </a:pathLst>
          </a:custGeom>
          <a:solidFill>
            <a:srgbClr val="6CD4F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15">
            <a:extLst>
              <a:ext uri="{FF2B5EF4-FFF2-40B4-BE49-F238E27FC236}">
                <a16:creationId xmlns:a16="http://schemas.microsoft.com/office/drawing/2014/main" id="{ADEA73E6-C790-4B10-BF2A-227573EDCCEE}"/>
              </a:ext>
            </a:extLst>
          </p:cNvPr>
          <p:cNvSpPr>
            <a:spLocks/>
          </p:cNvSpPr>
          <p:nvPr/>
        </p:nvSpPr>
        <p:spPr bwMode="auto">
          <a:xfrm>
            <a:off x="10255799" y="2843858"/>
            <a:ext cx="1089574" cy="1254220"/>
          </a:xfrm>
          <a:custGeom>
            <a:avLst/>
            <a:gdLst>
              <a:gd name="T0" fmla="*/ 455 w 498"/>
              <a:gd name="T1" fmla="*/ 0 h 571"/>
              <a:gd name="T2" fmla="*/ 206 w 498"/>
              <a:gd name="T3" fmla="*/ 0 h 571"/>
              <a:gd name="T4" fmla="*/ 32 w 498"/>
              <a:gd name="T5" fmla="*/ 181 h 571"/>
              <a:gd name="T6" fmla="*/ 42 w 498"/>
              <a:gd name="T7" fmla="*/ 266 h 571"/>
              <a:gd name="T8" fmla="*/ 0 w 498"/>
              <a:gd name="T9" fmla="*/ 438 h 571"/>
              <a:gd name="T10" fmla="*/ 250 w 498"/>
              <a:gd name="T11" fmla="*/ 411 h 571"/>
              <a:gd name="T12" fmla="*/ 441 w 498"/>
              <a:gd name="T13" fmla="*/ 571 h 571"/>
              <a:gd name="T14" fmla="*/ 498 w 498"/>
              <a:gd name="T15" fmla="*/ 266 h 571"/>
              <a:gd name="T16" fmla="*/ 455 w 498"/>
              <a:gd name="T17"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571">
                <a:moveTo>
                  <a:pt x="455" y="0"/>
                </a:moveTo>
                <a:cubicBezTo>
                  <a:pt x="206" y="0"/>
                  <a:pt x="206" y="0"/>
                  <a:pt x="206" y="0"/>
                </a:cubicBezTo>
                <a:cubicBezTo>
                  <a:pt x="32" y="181"/>
                  <a:pt x="32" y="181"/>
                  <a:pt x="32" y="181"/>
                </a:cubicBezTo>
                <a:cubicBezTo>
                  <a:pt x="38" y="209"/>
                  <a:pt x="42" y="237"/>
                  <a:pt x="42" y="266"/>
                </a:cubicBezTo>
                <a:cubicBezTo>
                  <a:pt x="42" y="328"/>
                  <a:pt x="27" y="386"/>
                  <a:pt x="0" y="438"/>
                </a:cubicBezTo>
                <a:cubicBezTo>
                  <a:pt x="250" y="411"/>
                  <a:pt x="250" y="411"/>
                  <a:pt x="250" y="411"/>
                </a:cubicBezTo>
                <a:cubicBezTo>
                  <a:pt x="441" y="571"/>
                  <a:pt x="441" y="571"/>
                  <a:pt x="441" y="571"/>
                </a:cubicBezTo>
                <a:cubicBezTo>
                  <a:pt x="478" y="476"/>
                  <a:pt x="498" y="374"/>
                  <a:pt x="498" y="266"/>
                </a:cubicBezTo>
                <a:cubicBezTo>
                  <a:pt x="498" y="173"/>
                  <a:pt x="483" y="84"/>
                  <a:pt x="455" y="0"/>
                </a:cubicBezTo>
                <a:close/>
              </a:path>
            </a:pathLst>
          </a:custGeom>
          <a:solidFill>
            <a:srgbClr val="99E1F5"/>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16">
            <a:extLst>
              <a:ext uri="{FF2B5EF4-FFF2-40B4-BE49-F238E27FC236}">
                <a16:creationId xmlns:a16="http://schemas.microsoft.com/office/drawing/2014/main" id="{051D38F6-E2CA-4A85-9D75-00FB5070D3FF}"/>
              </a:ext>
            </a:extLst>
          </p:cNvPr>
          <p:cNvSpPr>
            <a:spLocks/>
          </p:cNvSpPr>
          <p:nvPr/>
        </p:nvSpPr>
        <p:spPr bwMode="auto">
          <a:xfrm>
            <a:off x="7700546" y="2217556"/>
            <a:ext cx="1262292" cy="1349458"/>
          </a:xfrm>
          <a:custGeom>
            <a:avLst/>
            <a:gdLst>
              <a:gd name="T0" fmla="*/ 459 w 577"/>
              <a:gd name="T1" fmla="*/ 502 h 614"/>
              <a:gd name="T2" fmla="*/ 577 w 577"/>
              <a:gd name="T3" fmla="*/ 274 h 614"/>
              <a:gd name="T4" fmla="*/ 331 w 577"/>
              <a:gd name="T5" fmla="*/ 213 h 614"/>
              <a:gd name="T6" fmla="*/ 208 w 577"/>
              <a:gd name="T7" fmla="*/ 0 h 614"/>
              <a:gd name="T8" fmla="*/ 0 w 577"/>
              <a:gd name="T9" fmla="*/ 530 h 614"/>
              <a:gd name="T10" fmla="*/ 231 w 577"/>
              <a:gd name="T11" fmla="*/ 614 h 614"/>
              <a:gd name="T12" fmla="*/ 459 w 577"/>
              <a:gd name="T13" fmla="*/ 502 h 614"/>
            </a:gdLst>
            <a:ahLst/>
            <a:cxnLst>
              <a:cxn ang="0">
                <a:pos x="T0" y="T1"/>
              </a:cxn>
              <a:cxn ang="0">
                <a:pos x="T2" y="T3"/>
              </a:cxn>
              <a:cxn ang="0">
                <a:pos x="T4" y="T5"/>
              </a:cxn>
              <a:cxn ang="0">
                <a:pos x="T6" y="T7"/>
              </a:cxn>
              <a:cxn ang="0">
                <a:pos x="T8" y="T9"/>
              </a:cxn>
              <a:cxn ang="0">
                <a:pos x="T10" y="T11"/>
              </a:cxn>
              <a:cxn ang="0">
                <a:pos x="T12" y="T13"/>
              </a:cxn>
            </a:cxnLst>
            <a:rect l="0" t="0" r="r" b="b"/>
            <a:pathLst>
              <a:path w="577" h="614">
                <a:moveTo>
                  <a:pt x="459" y="502"/>
                </a:moveTo>
                <a:cubicBezTo>
                  <a:pt x="471" y="412"/>
                  <a:pt x="514" y="332"/>
                  <a:pt x="577" y="274"/>
                </a:cubicBezTo>
                <a:cubicBezTo>
                  <a:pt x="331" y="213"/>
                  <a:pt x="331" y="213"/>
                  <a:pt x="331" y="213"/>
                </a:cubicBezTo>
                <a:cubicBezTo>
                  <a:pt x="208" y="0"/>
                  <a:pt x="208" y="0"/>
                  <a:pt x="208" y="0"/>
                </a:cubicBezTo>
                <a:cubicBezTo>
                  <a:pt x="82" y="142"/>
                  <a:pt x="5" y="327"/>
                  <a:pt x="0" y="530"/>
                </a:cubicBezTo>
                <a:cubicBezTo>
                  <a:pt x="231" y="614"/>
                  <a:pt x="231" y="614"/>
                  <a:pt x="231" y="614"/>
                </a:cubicBezTo>
                <a:lnTo>
                  <a:pt x="459" y="502"/>
                </a:lnTo>
                <a:close/>
              </a:path>
            </a:pathLst>
          </a:custGeom>
          <a:solidFill>
            <a:srgbClr val="0E718C"/>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17">
            <a:extLst>
              <a:ext uri="{FF2B5EF4-FFF2-40B4-BE49-F238E27FC236}">
                <a16:creationId xmlns:a16="http://schemas.microsoft.com/office/drawing/2014/main" id="{A69CC67E-1D7B-4AC2-B48A-5658AF41E090}"/>
              </a:ext>
            </a:extLst>
          </p:cNvPr>
          <p:cNvSpPr>
            <a:spLocks/>
          </p:cNvSpPr>
          <p:nvPr/>
        </p:nvSpPr>
        <p:spPr bwMode="auto">
          <a:xfrm>
            <a:off x="7698931" y="3321656"/>
            <a:ext cx="4037074" cy="1937021"/>
          </a:xfrm>
          <a:custGeom>
            <a:avLst/>
            <a:gdLst>
              <a:gd name="T0" fmla="*/ 834 w 1845"/>
              <a:gd name="T1" fmla="*/ 426 h 882"/>
              <a:gd name="T2" fmla="*/ 457 w 1845"/>
              <a:gd name="T3" fmla="*/ 49 h 882"/>
              <a:gd name="T4" fmla="*/ 460 w 1845"/>
              <a:gd name="T5" fmla="*/ 0 h 882"/>
              <a:gd name="T6" fmla="*/ 232 w 1845"/>
              <a:gd name="T7" fmla="*/ 112 h 882"/>
              <a:gd name="T8" fmla="*/ 1 w 1845"/>
              <a:gd name="T9" fmla="*/ 28 h 882"/>
              <a:gd name="T10" fmla="*/ 0 w 1845"/>
              <a:gd name="T11" fmla="*/ 49 h 882"/>
              <a:gd name="T12" fmla="*/ 834 w 1845"/>
              <a:gd name="T13" fmla="*/ 882 h 882"/>
              <a:gd name="T14" fmla="*/ 1710 w 1845"/>
              <a:gd name="T15" fmla="*/ 882 h 882"/>
              <a:gd name="T16" fmla="*/ 1845 w 1845"/>
              <a:gd name="T17" fmla="*/ 653 h 882"/>
              <a:gd name="T18" fmla="*/ 1710 w 1845"/>
              <a:gd name="T19" fmla="*/ 426 h 882"/>
              <a:gd name="T20" fmla="*/ 834 w 1845"/>
              <a:gd name="T21" fmla="*/ 426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5" h="882">
                <a:moveTo>
                  <a:pt x="834" y="426"/>
                </a:moveTo>
                <a:cubicBezTo>
                  <a:pt x="626" y="426"/>
                  <a:pt x="457" y="257"/>
                  <a:pt x="457" y="49"/>
                </a:cubicBezTo>
                <a:cubicBezTo>
                  <a:pt x="457" y="32"/>
                  <a:pt x="458" y="16"/>
                  <a:pt x="460" y="0"/>
                </a:cubicBezTo>
                <a:cubicBezTo>
                  <a:pt x="232" y="112"/>
                  <a:pt x="232" y="112"/>
                  <a:pt x="232" y="112"/>
                </a:cubicBezTo>
                <a:cubicBezTo>
                  <a:pt x="1" y="28"/>
                  <a:pt x="1" y="28"/>
                  <a:pt x="1" y="28"/>
                </a:cubicBezTo>
                <a:cubicBezTo>
                  <a:pt x="0" y="35"/>
                  <a:pt x="0" y="42"/>
                  <a:pt x="0" y="49"/>
                </a:cubicBezTo>
                <a:cubicBezTo>
                  <a:pt x="0" y="509"/>
                  <a:pt x="373" y="882"/>
                  <a:pt x="834" y="882"/>
                </a:cubicBezTo>
                <a:cubicBezTo>
                  <a:pt x="1710" y="882"/>
                  <a:pt x="1710" y="882"/>
                  <a:pt x="1710" y="882"/>
                </a:cubicBezTo>
                <a:cubicBezTo>
                  <a:pt x="1845" y="653"/>
                  <a:pt x="1845" y="653"/>
                  <a:pt x="1845" y="653"/>
                </a:cubicBezTo>
                <a:cubicBezTo>
                  <a:pt x="1710" y="426"/>
                  <a:pt x="1710" y="426"/>
                  <a:pt x="1710" y="426"/>
                </a:cubicBezTo>
                <a:lnTo>
                  <a:pt x="834" y="426"/>
                </a:lnTo>
                <a:close/>
              </a:path>
            </a:pathLst>
          </a:custGeom>
          <a:solidFill>
            <a:srgbClr val="0B556A"/>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18">
            <a:extLst>
              <a:ext uri="{FF2B5EF4-FFF2-40B4-BE49-F238E27FC236}">
                <a16:creationId xmlns:a16="http://schemas.microsoft.com/office/drawing/2014/main" id="{C169A856-1C90-45B5-B6AF-F90B1CF77671}"/>
              </a:ext>
            </a:extLst>
          </p:cNvPr>
          <p:cNvSpPr>
            <a:spLocks/>
          </p:cNvSpPr>
          <p:nvPr/>
        </p:nvSpPr>
        <p:spPr bwMode="auto">
          <a:xfrm>
            <a:off x="7143653" y="3747802"/>
            <a:ext cx="4077428" cy="1510875"/>
          </a:xfrm>
          <a:custGeom>
            <a:avLst/>
            <a:gdLst>
              <a:gd name="T0" fmla="*/ 1673 w 1864"/>
              <a:gd name="T1" fmla="*/ 0 h 688"/>
              <a:gd name="T2" fmla="*/ 1423 w 1864"/>
              <a:gd name="T3" fmla="*/ 27 h 688"/>
              <a:gd name="T4" fmla="*/ 1088 w 1864"/>
              <a:gd name="T5" fmla="*/ 232 h 688"/>
              <a:gd name="T6" fmla="*/ 0 w 1864"/>
              <a:gd name="T7" fmla="*/ 232 h 688"/>
              <a:gd name="T8" fmla="*/ 134 w 1864"/>
              <a:gd name="T9" fmla="*/ 458 h 688"/>
              <a:gd name="T10" fmla="*/ 0 w 1864"/>
              <a:gd name="T11" fmla="*/ 688 h 688"/>
              <a:gd name="T12" fmla="*/ 1088 w 1864"/>
              <a:gd name="T13" fmla="*/ 688 h 688"/>
              <a:gd name="T14" fmla="*/ 1864 w 1864"/>
              <a:gd name="T15" fmla="*/ 160 h 688"/>
              <a:gd name="T16" fmla="*/ 1673 w 1864"/>
              <a:gd name="T17"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4" h="688">
                <a:moveTo>
                  <a:pt x="1673" y="0"/>
                </a:moveTo>
                <a:cubicBezTo>
                  <a:pt x="1423" y="27"/>
                  <a:pt x="1423" y="27"/>
                  <a:pt x="1423" y="27"/>
                </a:cubicBezTo>
                <a:cubicBezTo>
                  <a:pt x="1361" y="148"/>
                  <a:pt x="1234" y="232"/>
                  <a:pt x="1088" y="232"/>
                </a:cubicBezTo>
                <a:cubicBezTo>
                  <a:pt x="0" y="232"/>
                  <a:pt x="0" y="232"/>
                  <a:pt x="0" y="232"/>
                </a:cubicBezTo>
                <a:cubicBezTo>
                  <a:pt x="134" y="458"/>
                  <a:pt x="134" y="458"/>
                  <a:pt x="134" y="458"/>
                </a:cubicBezTo>
                <a:cubicBezTo>
                  <a:pt x="0" y="688"/>
                  <a:pt x="0" y="688"/>
                  <a:pt x="0" y="688"/>
                </a:cubicBezTo>
                <a:cubicBezTo>
                  <a:pt x="1088" y="688"/>
                  <a:pt x="1088" y="688"/>
                  <a:pt x="1088" y="688"/>
                </a:cubicBezTo>
                <a:cubicBezTo>
                  <a:pt x="1440" y="688"/>
                  <a:pt x="1742" y="469"/>
                  <a:pt x="1864" y="160"/>
                </a:cubicBezTo>
                <a:lnTo>
                  <a:pt x="1673" y="0"/>
                </a:lnTo>
                <a:close/>
              </a:path>
            </a:pathLst>
          </a:custGeom>
          <a:solidFill>
            <a:srgbClr val="BEECF8"/>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5">
            <a:extLst>
              <a:ext uri="{FF2B5EF4-FFF2-40B4-BE49-F238E27FC236}">
                <a16:creationId xmlns:a16="http://schemas.microsoft.com/office/drawing/2014/main" id="{D9A4753B-468F-4C98-8243-D52EF116207B}"/>
              </a:ext>
            </a:extLst>
          </p:cNvPr>
          <p:cNvSpPr>
            <a:spLocks/>
          </p:cNvSpPr>
          <p:nvPr/>
        </p:nvSpPr>
        <p:spPr bwMode="auto">
          <a:xfrm>
            <a:off x="4867655" y="1599323"/>
            <a:ext cx="1317174" cy="1168668"/>
          </a:xfrm>
          <a:custGeom>
            <a:avLst/>
            <a:gdLst>
              <a:gd name="T0" fmla="*/ 149 w 602"/>
              <a:gd name="T1" fmla="*/ 457 h 532"/>
              <a:gd name="T2" fmla="*/ 168 w 602"/>
              <a:gd name="T3" fmla="*/ 456 h 532"/>
              <a:gd name="T4" fmla="*/ 395 w 602"/>
              <a:gd name="T5" fmla="*/ 532 h 532"/>
              <a:gd name="T6" fmla="*/ 412 w 602"/>
              <a:gd name="T7" fmla="*/ 280 h 532"/>
              <a:gd name="T8" fmla="*/ 602 w 602"/>
              <a:gd name="T9" fmla="*/ 121 h 532"/>
              <a:gd name="T10" fmla="*/ 168 w 602"/>
              <a:gd name="T11" fmla="*/ 0 h 532"/>
              <a:gd name="T12" fmla="*/ 43 w 602"/>
              <a:gd name="T13" fmla="*/ 9 h 532"/>
              <a:gd name="T14" fmla="*/ 0 w 602"/>
              <a:gd name="T15" fmla="*/ 252 h 532"/>
              <a:gd name="T16" fmla="*/ 149 w 602"/>
              <a:gd name="T17" fmla="*/ 457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532">
                <a:moveTo>
                  <a:pt x="149" y="457"/>
                </a:moveTo>
                <a:cubicBezTo>
                  <a:pt x="155" y="456"/>
                  <a:pt x="162" y="456"/>
                  <a:pt x="168" y="456"/>
                </a:cubicBezTo>
                <a:cubicBezTo>
                  <a:pt x="253" y="456"/>
                  <a:pt x="332" y="484"/>
                  <a:pt x="395" y="532"/>
                </a:cubicBezTo>
                <a:cubicBezTo>
                  <a:pt x="412" y="280"/>
                  <a:pt x="412" y="280"/>
                  <a:pt x="412" y="280"/>
                </a:cubicBezTo>
                <a:cubicBezTo>
                  <a:pt x="602" y="121"/>
                  <a:pt x="602" y="121"/>
                  <a:pt x="602" y="121"/>
                </a:cubicBezTo>
                <a:cubicBezTo>
                  <a:pt x="475" y="44"/>
                  <a:pt x="327" y="0"/>
                  <a:pt x="168" y="0"/>
                </a:cubicBezTo>
                <a:cubicBezTo>
                  <a:pt x="125" y="0"/>
                  <a:pt x="84" y="3"/>
                  <a:pt x="43" y="9"/>
                </a:cubicBezTo>
                <a:cubicBezTo>
                  <a:pt x="0" y="252"/>
                  <a:pt x="0" y="252"/>
                  <a:pt x="0" y="252"/>
                </a:cubicBezTo>
                <a:lnTo>
                  <a:pt x="149" y="457"/>
                </a:lnTo>
                <a:close/>
              </a:path>
            </a:pathLst>
          </a:custGeom>
          <a:solidFill>
            <a:srgbClr val="16ABD4"/>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6">
            <a:extLst>
              <a:ext uri="{FF2B5EF4-FFF2-40B4-BE49-F238E27FC236}">
                <a16:creationId xmlns:a16="http://schemas.microsoft.com/office/drawing/2014/main" id="{742EC984-B8BA-4B39-B797-CD0F37668487}"/>
              </a:ext>
            </a:extLst>
          </p:cNvPr>
          <p:cNvSpPr>
            <a:spLocks/>
          </p:cNvSpPr>
          <p:nvPr/>
        </p:nvSpPr>
        <p:spPr bwMode="auto">
          <a:xfrm>
            <a:off x="3866860" y="1618693"/>
            <a:ext cx="1326859" cy="1200953"/>
          </a:xfrm>
          <a:custGeom>
            <a:avLst/>
            <a:gdLst>
              <a:gd name="T0" fmla="*/ 369 w 606"/>
              <a:gd name="T1" fmla="*/ 547 h 547"/>
              <a:gd name="T2" fmla="*/ 606 w 606"/>
              <a:gd name="T3" fmla="*/ 448 h 547"/>
              <a:gd name="T4" fmla="*/ 457 w 606"/>
              <a:gd name="T5" fmla="*/ 243 h 547"/>
              <a:gd name="T6" fmla="*/ 500 w 606"/>
              <a:gd name="T7" fmla="*/ 0 h 547"/>
              <a:gd name="T8" fmla="*/ 0 w 606"/>
              <a:gd name="T9" fmla="*/ 273 h 547"/>
              <a:gd name="T10" fmla="*/ 123 w 606"/>
              <a:gd name="T11" fmla="*/ 486 h 547"/>
              <a:gd name="T12" fmla="*/ 369 w 606"/>
              <a:gd name="T13" fmla="*/ 547 h 547"/>
            </a:gdLst>
            <a:ahLst/>
            <a:cxnLst>
              <a:cxn ang="0">
                <a:pos x="T0" y="T1"/>
              </a:cxn>
              <a:cxn ang="0">
                <a:pos x="T2" y="T3"/>
              </a:cxn>
              <a:cxn ang="0">
                <a:pos x="T4" y="T5"/>
              </a:cxn>
              <a:cxn ang="0">
                <a:pos x="T6" y="T7"/>
              </a:cxn>
              <a:cxn ang="0">
                <a:pos x="T8" y="T9"/>
              </a:cxn>
              <a:cxn ang="0">
                <a:pos x="T10" y="T11"/>
              </a:cxn>
              <a:cxn ang="0">
                <a:pos x="T12" y="T13"/>
              </a:cxn>
            </a:cxnLst>
            <a:rect l="0" t="0" r="r" b="b"/>
            <a:pathLst>
              <a:path w="606" h="547">
                <a:moveTo>
                  <a:pt x="369" y="547"/>
                </a:moveTo>
                <a:cubicBezTo>
                  <a:pt x="432" y="489"/>
                  <a:pt x="515" y="452"/>
                  <a:pt x="606" y="448"/>
                </a:cubicBezTo>
                <a:cubicBezTo>
                  <a:pt x="457" y="243"/>
                  <a:pt x="457" y="243"/>
                  <a:pt x="457" y="243"/>
                </a:cubicBezTo>
                <a:cubicBezTo>
                  <a:pt x="500" y="0"/>
                  <a:pt x="500" y="0"/>
                  <a:pt x="500" y="0"/>
                </a:cubicBezTo>
                <a:cubicBezTo>
                  <a:pt x="302" y="30"/>
                  <a:pt x="126" y="129"/>
                  <a:pt x="0" y="273"/>
                </a:cubicBezTo>
                <a:cubicBezTo>
                  <a:pt x="123" y="486"/>
                  <a:pt x="123" y="486"/>
                  <a:pt x="123" y="486"/>
                </a:cubicBezTo>
                <a:lnTo>
                  <a:pt x="369" y="547"/>
                </a:lnTo>
                <a:close/>
              </a:path>
            </a:pathLst>
          </a:custGeom>
          <a:solidFill>
            <a:srgbClr val="14A0C6"/>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7">
            <a:extLst>
              <a:ext uri="{FF2B5EF4-FFF2-40B4-BE49-F238E27FC236}">
                <a16:creationId xmlns:a16="http://schemas.microsoft.com/office/drawing/2014/main" id="{019F51BB-2D70-49E1-B676-6CB5E17D05C9}"/>
              </a:ext>
            </a:extLst>
          </p:cNvPr>
          <p:cNvSpPr>
            <a:spLocks/>
          </p:cNvSpPr>
          <p:nvPr/>
        </p:nvSpPr>
        <p:spPr bwMode="auto">
          <a:xfrm>
            <a:off x="5731242" y="1864049"/>
            <a:ext cx="1231622" cy="1378513"/>
          </a:xfrm>
          <a:custGeom>
            <a:avLst/>
            <a:gdLst>
              <a:gd name="T0" fmla="*/ 0 w 563"/>
              <a:gd name="T1" fmla="*/ 411 h 627"/>
              <a:gd name="T2" fmla="*/ 140 w 563"/>
              <a:gd name="T3" fmla="*/ 627 h 627"/>
              <a:gd name="T4" fmla="*/ 314 w 563"/>
              <a:gd name="T5" fmla="*/ 446 h 627"/>
              <a:gd name="T6" fmla="*/ 563 w 563"/>
              <a:gd name="T7" fmla="*/ 446 h 627"/>
              <a:gd name="T8" fmla="*/ 207 w 563"/>
              <a:gd name="T9" fmla="*/ 0 h 627"/>
              <a:gd name="T10" fmla="*/ 17 w 563"/>
              <a:gd name="T11" fmla="*/ 159 h 627"/>
              <a:gd name="T12" fmla="*/ 0 w 563"/>
              <a:gd name="T13" fmla="*/ 411 h 627"/>
            </a:gdLst>
            <a:ahLst/>
            <a:cxnLst>
              <a:cxn ang="0">
                <a:pos x="T0" y="T1"/>
              </a:cxn>
              <a:cxn ang="0">
                <a:pos x="T2" y="T3"/>
              </a:cxn>
              <a:cxn ang="0">
                <a:pos x="T4" y="T5"/>
              </a:cxn>
              <a:cxn ang="0">
                <a:pos x="T6" y="T7"/>
              </a:cxn>
              <a:cxn ang="0">
                <a:pos x="T8" y="T9"/>
              </a:cxn>
              <a:cxn ang="0">
                <a:pos x="T10" y="T11"/>
              </a:cxn>
              <a:cxn ang="0">
                <a:pos x="T12" y="T13"/>
              </a:cxn>
            </a:cxnLst>
            <a:rect l="0" t="0" r="r" b="b"/>
            <a:pathLst>
              <a:path w="563" h="627">
                <a:moveTo>
                  <a:pt x="0" y="411"/>
                </a:moveTo>
                <a:cubicBezTo>
                  <a:pt x="69" y="464"/>
                  <a:pt x="120" y="540"/>
                  <a:pt x="140" y="627"/>
                </a:cubicBezTo>
                <a:cubicBezTo>
                  <a:pt x="314" y="446"/>
                  <a:pt x="314" y="446"/>
                  <a:pt x="314" y="446"/>
                </a:cubicBezTo>
                <a:cubicBezTo>
                  <a:pt x="563" y="446"/>
                  <a:pt x="563" y="446"/>
                  <a:pt x="563" y="446"/>
                </a:cubicBezTo>
                <a:cubicBezTo>
                  <a:pt x="500" y="259"/>
                  <a:pt x="372" y="101"/>
                  <a:pt x="207" y="0"/>
                </a:cubicBezTo>
                <a:cubicBezTo>
                  <a:pt x="17" y="159"/>
                  <a:pt x="17" y="159"/>
                  <a:pt x="17" y="159"/>
                </a:cubicBezTo>
                <a:lnTo>
                  <a:pt x="0" y="411"/>
                </a:lnTo>
                <a:close/>
              </a:path>
            </a:pathLst>
          </a:custGeom>
          <a:solidFill>
            <a:srgbClr val="6CD4F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8">
            <a:extLst>
              <a:ext uri="{FF2B5EF4-FFF2-40B4-BE49-F238E27FC236}">
                <a16:creationId xmlns:a16="http://schemas.microsoft.com/office/drawing/2014/main" id="{93F2DE0E-D622-4BEA-BEE0-108A938DF479}"/>
              </a:ext>
            </a:extLst>
          </p:cNvPr>
          <p:cNvSpPr>
            <a:spLocks/>
          </p:cNvSpPr>
          <p:nvPr/>
        </p:nvSpPr>
        <p:spPr bwMode="auto">
          <a:xfrm>
            <a:off x="5968527" y="2843858"/>
            <a:ext cx="1089574" cy="1254220"/>
          </a:xfrm>
          <a:custGeom>
            <a:avLst/>
            <a:gdLst>
              <a:gd name="T0" fmla="*/ 455 w 498"/>
              <a:gd name="T1" fmla="*/ 0 h 571"/>
              <a:gd name="T2" fmla="*/ 206 w 498"/>
              <a:gd name="T3" fmla="*/ 0 h 571"/>
              <a:gd name="T4" fmla="*/ 32 w 498"/>
              <a:gd name="T5" fmla="*/ 181 h 571"/>
              <a:gd name="T6" fmla="*/ 42 w 498"/>
              <a:gd name="T7" fmla="*/ 266 h 571"/>
              <a:gd name="T8" fmla="*/ 0 w 498"/>
              <a:gd name="T9" fmla="*/ 438 h 571"/>
              <a:gd name="T10" fmla="*/ 250 w 498"/>
              <a:gd name="T11" fmla="*/ 411 h 571"/>
              <a:gd name="T12" fmla="*/ 441 w 498"/>
              <a:gd name="T13" fmla="*/ 571 h 571"/>
              <a:gd name="T14" fmla="*/ 498 w 498"/>
              <a:gd name="T15" fmla="*/ 266 h 571"/>
              <a:gd name="T16" fmla="*/ 455 w 498"/>
              <a:gd name="T17"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571">
                <a:moveTo>
                  <a:pt x="455" y="0"/>
                </a:moveTo>
                <a:cubicBezTo>
                  <a:pt x="206" y="0"/>
                  <a:pt x="206" y="0"/>
                  <a:pt x="206" y="0"/>
                </a:cubicBezTo>
                <a:cubicBezTo>
                  <a:pt x="32" y="181"/>
                  <a:pt x="32" y="181"/>
                  <a:pt x="32" y="181"/>
                </a:cubicBezTo>
                <a:cubicBezTo>
                  <a:pt x="38" y="209"/>
                  <a:pt x="42" y="237"/>
                  <a:pt x="42" y="266"/>
                </a:cubicBezTo>
                <a:cubicBezTo>
                  <a:pt x="42" y="328"/>
                  <a:pt x="27" y="386"/>
                  <a:pt x="0" y="438"/>
                </a:cubicBezTo>
                <a:cubicBezTo>
                  <a:pt x="250" y="411"/>
                  <a:pt x="250" y="411"/>
                  <a:pt x="250" y="411"/>
                </a:cubicBezTo>
                <a:cubicBezTo>
                  <a:pt x="441" y="571"/>
                  <a:pt x="441" y="571"/>
                  <a:pt x="441" y="571"/>
                </a:cubicBezTo>
                <a:cubicBezTo>
                  <a:pt x="478" y="476"/>
                  <a:pt x="498" y="374"/>
                  <a:pt x="498" y="266"/>
                </a:cubicBezTo>
                <a:cubicBezTo>
                  <a:pt x="498" y="173"/>
                  <a:pt x="483" y="84"/>
                  <a:pt x="455" y="0"/>
                </a:cubicBezTo>
                <a:close/>
              </a:path>
            </a:pathLst>
          </a:custGeom>
          <a:solidFill>
            <a:srgbClr val="99E1F5"/>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9">
            <a:extLst>
              <a:ext uri="{FF2B5EF4-FFF2-40B4-BE49-F238E27FC236}">
                <a16:creationId xmlns:a16="http://schemas.microsoft.com/office/drawing/2014/main" id="{9897F3DE-8DB4-4A06-958B-1210426B97C1}"/>
              </a:ext>
            </a:extLst>
          </p:cNvPr>
          <p:cNvSpPr>
            <a:spLocks/>
          </p:cNvSpPr>
          <p:nvPr/>
        </p:nvSpPr>
        <p:spPr bwMode="auto">
          <a:xfrm>
            <a:off x="3411661" y="2217556"/>
            <a:ext cx="1263905" cy="1349458"/>
          </a:xfrm>
          <a:custGeom>
            <a:avLst/>
            <a:gdLst>
              <a:gd name="T0" fmla="*/ 459 w 577"/>
              <a:gd name="T1" fmla="*/ 502 h 614"/>
              <a:gd name="T2" fmla="*/ 577 w 577"/>
              <a:gd name="T3" fmla="*/ 274 h 614"/>
              <a:gd name="T4" fmla="*/ 331 w 577"/>
              <a:gd name="T5" fmla="*/ 213 h 614"/>
              <a:gd name="T6" fmla="*/ 208 w 577"/>
              <a:gd name="T7" fmla="*/ 0 h 614"/>
              <a:gd name="T8" fmla="*/ 0 w 577"/>
              <a:gd name="T9" fmla="*/ 530 h 614"/>
              <a:gd name="T10" fmla="*/ 231 w 577"/>
              <a:gd name="T11" fmla="*/ 614 h 614"/>
              <a:gd name="T12" fmla="*/ 459 w 577"/>
              <a:gd name="T13" fmla="*/ 502 h 614"/>
            </a:gdLst>
            <a:ahLst/>
            <a:cxnLst>
              <a:cxn ang="0">
                <a:pos x="T0" y="T1"/>
              </a:cxn>
              <a:cxn ang="0">
                <a:pos x="T2" y="T3"/>
              </a:cxn>
              <a:cxn ang="0">
                <a:pos x="T4" y="T5"/>
              </a:cxn>
              <a:cxn ang="0">
                <a:pos x="T6" y="T7"/>
              </a:cxn>
              <a:cxn ang="0">
                <a:pos x="T8" y="T9"/>
              </a:cxn>
              <a:cxn ang="0">
                <a:pos x="T10" y="T11"/>
              </a:cxn>
              <a:cxn ang="0">
                <a:pos x="T12" y="T13"/>
              </a:cxn>
            </a:cxnLst>
            <a:rect l="0" t="0" r="r" b="b"/>
            <a:pathLst>
              <a:path w="577" h="614">
                <a:moveTo>
                  <a:pt x="459" y="502"/>
                </a:moveTo>
                <a:cubicBezTo>
                  <a:pt x="471" y="412"/>
                  <a:pt x="514" y="332"/>
                  <a:pt x="577" y="274"/>
                </a:cubicBezTo>
                <a:cubicBezTo>
                  <a:pt x="331" y="213"/>
                  <a:pt x="331" y="213"/>
                  <a:pt x="331" y="213"/>
                </a:cubicBezTo>
                <a:cubicBezTo>
                  <a:pt x="208" y="0"/>
                  <a:pt x="208" y="0"/>
                  <a:pt x="208" y="0"/>
                </a:cubicBezTo>
                <a:cubicBezTo>
                  <a:pt x="83" y="142"/>
                  <a:pt x="5" y="327"/>
                  <a:pt x="0" y="530"/>
                </a:cubicBezTo>
                <a:cubicBezTo>
                  <a:pt x="231" y="614"/>
                  <a:pt x="231" y="614"/>
                  <a:pt x="231" y="614"/>
                </a:cubicBezTo>
                <a:lnTo>
                  <a:pt x="459" y="502"/>
                </a:lnTo>
                <a:close/>
              </a:path>
            </a:pathLst>
          </a:custGeom>
          <a:solidFill>
            <a:srgbClr val="0E718C"/>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10">
            <a:extLst>
              <a:ext uri="{FF2B5EF4-FFF2-40B4-BE49-F238E27FC236}">
                <a16:creationId xmlns:a16="http://schemas.microsoft.com/office/drawing/2014/main" id="{32C8A6F0-4BD5-48BB-BFC6-3399D8253320}"/>
              </a:ext>
            </a:extLst>
          </p:cNvPr>
          <p:cNvSpPr>
            <a:spLocks/>
          </p:cNvSpPr>
          <p:nvPr/>
        </p:nvSpPr>
        <p:spPr bwMode="auto">
          <a:xfrm>
            <a:off x="3411661" y="3321656"/>
            <a:ext cx="4024160" cy="1937021"/>
          </a:xfrm>
          <a:custGeom>
            <a:avLst/>
            <a:gdLst>
              <a:gd name="T0" fmla="*/ 833 w 1839"/>
              <a:gd name="T1" fmla="*/ 426 h 882"/>
              <a:gd name="T2" fmla="*/ 456 w 1839"/>
              <a:gd name="T3" fmla="*/ 49 h 882"/>
              <a:gd name="T4" fmla="*/ 459 w 1839"/>
              <a:gd name="T5" fmla="*/ 0 h 882"/>
              <a:gd name="T6" fmla="*/ 231 w 1839"/>
              <a:gd name="T7" fmla="*/ 112 h 882"/>
              <a:gd name="T8" fmla="*/ 0 w 1839"/>
              <a:gd name="T9" fmla="*/ 28 h 882"/>
              <a:gd name="T10" fmla="*/ 0 w 1839"/>
              <a:gd name="T11" fmla="*/ 49 h 882"/>
              <a:gd name="T12" fmla="*/ 833 w 1839"/>
              <a:gd name="T13" fmla="*/ 882 h 882"/>
              <a:gd name="T14" fmla="*/ 1705 w 1839"/>
              <a:gd name="T15" fmla="*/ 882 h 882"/>
              <a:gd name="T16" fmla="*/ 1839 w 1839"/>
              <a:gd name="T17" fmla="*/ 653 h 882"/>
              <a:gd name="T18" fmla="*/ 1705 w 1839"/>
              <a:gd name="T19" fmla="*/ 426 h 882"/>
              <a:gd name="T20" fmla="*/ 833 w 1839"/>
              <a:gd name="T21" fmla="*/ 426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9" h="882">
                <a:moveTo>
                  <a:pt x="833" y="426"/>
                </a:moveTo>
                <a:cubicBezTo>
                  <a:pt x="625" y="426"/>
                  <a:pt x="456" y="257"/>
                  <a:pt x="456" y="49"/>
                </a:cubicBezTo>
                <a:cubicBezTo>
                  <a:pt x="456" y="32"/>
                  <a:pt x="457" y="16"/>
                  <a:pt x="459" y="0"/>
                </a:cubicBezTo>
                <a:cubicBezTo>
                  <a:pt x="231" y="112"/>
                  <a:pt x="231" y="112"/>
                  <a:pt x="231" y="112"/>
                </a:cubicBezTo>
                <a:cubicBezTo>
                  <a:pt x="0" y="28"/>
                  <a:pt x="0" y="28"/>
                  <a:pt x="0" y="28"/>
                </a:cubicBezTo>
                <a:cubicBezTo>
                  <a:pt x="0" y="35"/>
                  <a:pt x="0" y="42"/>
                  <a:pt x="0" y="49"/>
                </a:cubicBezTo>
                <a:cubicBezTo>
                  <a:pt x="0" y="509"/>
                  <a:pt x="373" y="882"/>
                  <a:pt x="833" y="882"/>
                </a:cubicBezTo>
                <a:cubicBezTo>
                  <a:pt x="1705" y="882"/>
                  <a:pt x="1705" y="882"/>
                  <a:pt x="1705" y="882"/>
                </a:cubicBezTo>
                <a:cubicBezTo>
                  <a:pt x="1839" y="653"/>
                  <a:pt x="1839" y="653"/>
                  <a:pt x="1839" y="653"/>
                </a:cubicBezTo>
                <a:cubicBezTo>
                  <a:pt x="1705" y="426"/>
                  <a:pt x="1705" y="426"/>
                  <a:pt x="1705" y="426"/>
                </a:cubicBezTo>
                <a:lnTo>
                  <a:pt x="833" y="426"/>
                </a:lnTo>
                <a:close/>
              </a:path>
            </a:pathLst>
          </a:custGeom>
          <a:solidFill>
            <a:srgbClr val="0B556A"/>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11">
            <a:extLst>
              <a:ext uri="{FF2B5EF4-FFF2-40B4-BE49-F238E27FC236}">
                <a16:creationId xmlns:a16="http://schemas.microsoft.com/office/drawing/2014/main" id="{FF423CEF-DB8A-4242-9241-F2231464F69B}"/>
              </a:ext>
            </a:extLst>
          </p:cNvPr>
          <p:cNvSpPr>
            <a:spLocks/>
          </p:cNvSpPr>
          <p:nvPr/>
        </p:nvSpPr>
        <p:spPr bwMode="auto">
          <a:xfrm>
            <a:off x="2854767" y="3747802"/>
            <a:ext cx="4077428" cy="1510875"/>
          </a:xfrm>
          <a:custGeom>
            <a:avLst/>
            <a:gdLst>
              <a:gd name="T0" fmla="*/ 1673 w 1864"/>
              <a:gd name="T1" fmla="*/ 0 h 688"/>
              <a:gd name="T2" fmla="*/ 1423 w 1864"/>
              <a:gd name="T3" fmla="*/ 27 h 688"/>
              <a:gd name="T4" fmla="*/ 1088 w 1864"/>
              <a:gd name="T5" fmla="*/ 232 h 688"/>
              <a:gd name="T6" fmla="*/ 0 w 1864"/>
              <a:gd name="T7" fmla="*/ 232 h 688"/>
              <a:gd name="T8" fmla="*/ 0 w 1864"/>
              <a:gd name="T9" fmla="*/ 688 h 688"/>
              <a:gd name="T10" fmla="*/ 1088 w 1864"/>
              <a:gd name="T11" fmla="*/ 688 h 688"/>
              <a:gd name="T12" fmla="*/ 1864 w 1864"/>
              <a:gd name="T13" fmla="*/ 160 h 688"/>
              <a:gd name="T14" fmla="*/ 1673 w 1864"/>
              <a:gd name="T15" fmla="*/ 0 h 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4" h="688">
                <a:moveTo>
                  <a:pt x="1673" y="0"/>
                </a:moveTo>
                <a:cubicBezTo>
                  <a:pt x="1423" y="27"/>
                  <a:pt x="1423" y="27"/>
                  <a:pt x="1423" y="27"/>
                </a:cubicBezTo>
                <a:cubicBezTo>
                  <a:pt x="1361" y="148"/>
                  <a:pt x="1234" y="232"/>
                  <a:pt x="1088" y="232"/>
                </a:cubicBezTo>
                <a:cubicBezTo>
                  <a:pt x="0" y="232"/>
                  <a:pt x="0" y="232"/>
                  <a:pt x="0" y="232"/>
                </a:cubicBezTo>
                <a:cubicBezTo>
                  <a:pt x="0" y="688"/>
                  <a:pt x="0" y="688"/>
                  <a:pt x="0" y="688"/>
                </a:cubicBezTo>
                <a:cubicBezTo>
                  <a:pt x="1088" y="688"/>
                  <a:pt x="1088" y="688"/>
                  <a:pt x="1088" y="688"/>
                </a:cubicBezTo>
                <a:cubicBezTo>
                  <a:pt x="1441" y="688"/>
                  <a:pt x="1742" y="469"/>
                  <a:pt x="1864" y="160"/>
                </a:cubicBezTo>
                <a:lnTo>
                  <a:pt x="1673" y="0"/>
                </a:lnTo>
                <a:close/>
              </a:path>
            </a:pathLst>
          </a:custGeom>
          <a:solidFill>
            <a:srgbClr val="BEECF8"/>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B6C6A3B3-9BBF-4ABC-856E-E4D5A0C39DD0}"/>
              </a:ext>
            </a:extLst>
          </p:cNvPr>
          <p:cNvSpPr/>
          <p:nvPr/>
        </p:nvSpPr>
        <p:spPr>
          <a:xfrm>
            <a:off x="5374775" y="4197261"/>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bot</a:t>
            </a:r>
          </a:p>
        </p:txBody>
      </p:sp>
      <p:sp>
        <p:nvSpPr>
          <p:cNvPr id="41" name="Rectangle 40">
            <a:extLst>
              <a:ext uri="{FF2B5EF4-FFF2-40B4-BE49-F238E27FC236}">
                <a16:creationId xmlns:a16="http://schemas.microsoft.com/office/drawing/2014/main" id="{07164EB5-5EA0-4D2F-81BB-A536D26D90B3}"/>
              </a:ext>
            </a:extLst>
          </p:cNvPr>
          <p:cNvSpPr/>
          <p:nvPr/>
        </p:nvSpPr>
        <p:spPr>
          <a:xfrm>
            <a:off x="6169554" y="3013070"/>
            <a:ext cx="738659"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topics</a:t>
            </a:r>
          </a:p>
        </p:txBody>
      </p:sp>
      <p:sp>
        <p:nvSpPr>
          <p:cNvPr id="42" name="Rectangle 41">
            <a:extLst>
              <a:ext uri="{FF2B5EF4-FFF2-40B4-BE49-F238E27FC236}">
                <a16:creationId xmlns:a16="http://schemas.microsoft.com/office/drawing/2014/main" id="{6BC5DB1F-F382-4FE9-A15D-DF7671BDFD25}"/>
              </a:ext>
            </a:extLst>
          </p:cNvPr>
          <p:cNvSpPr/>
          <p:nvPr/>
        </p:nvSpPr>
        <p:spPr>
          <a:xfrm>
            <a:off x="5734857" y="2137912"/>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conversation</a:t>
            </a:r>
          </a:p>
        </p:txBody>
      </p:sp>
      <p:sp>
        <p:nvSpPr>
          <p:cNvPr id="44" name="Rectangle 43">
            <a:extLst>
              <a:ext uri="{FF2B5EF4-FFF2-40B4-BE49-F238E27FC236}">
                <a16:creationId xmlns:a16="http://schemas.microsoft.com/office/drawing/2014/main" id="{13BE2F05-BAE1-4DE5-A366-CAC748DA14F5}"/>
              </a:ext>
            </a:extLst>
          </p:cNvPr>
          <p:cNvSpPr/>
          <p:nvPr/>
        </p:nvSpPr>
        <p:spPr>
          <a:xfrm>
            <a:off x="4970514" y="1769871"/>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ot</a:t>
            </a:r>
          </a:p>
        </p:txBody>
      </p:sp>
      <p:sp>
        <p:nvSpPr>
          <p:cNvPr id="45" name="Rectangle 44">
            <a:extLst>
              <a:ext uri="{FF2B5EF4-FFF2-40B4-BE49-F238E27FC236}">
                <a16:creationId xmlns:a16="http://schemas.microsoft.com/office/drawing/2014/main" id="{8A7C46FA-0364-476D-B189-C69F51158F4A}"/>
              </a:ext>
            </a:extLst>
          </p:cNvPr>
          <p:cNvSpPr/>
          <p:nvPr/>
        </p:nvSpPr>
        <p:spPr>
          <a:xfrm>
            <a:off x="4140993" y="2006958"/>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your bot</a:t>
            </a:r>
          </a:p>
        </p:txBody>
      </p:sp>
      <p:sp>
        <p:nvSpPr>
          <p:cNvPr id="46" name="Rectangle 45">
            <a:extLst>
              <a:ext uri="{FF2B5EF4-FFF2-40B4-BE49-F238E27FC236}">
                <a16:creationId xmlns:a16="http://schemas.microsoft.com/office/drawing/2014/main" id="{6EF05F14-E821-4819-B4CA-077041B0C35E}"/>
              </a:ext>
            </a:extLst>
          </p:cNvPr>
          <p:cNvSpPr/>
          <p:nvPr/>
        </p:nvSpPr>
        <p:spPr>
          <a:xfrm>
            <a:off x="3586038" y="2738181"/>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erformance</a:t>
            </a:r>
          </a:p>
        </p:txBody>
      </p:sp>
      <p:sp>
        <p:nvSpPr>
          <p:cNvPr id="66" name="Rectangle 65">
            <a:extLst>
              <a:ext uri="{FF2B5EF4-FFF2-40B4-BE49-F238E27FC236}">
                <a16:creationId xmlns:a16="http://schemas.microsoft.com/office/drawing/2014/main" id="{B0EA80C1-38CF-4AC6-994F-63DFE12A62B6}"/>
              </a:ext>
            </a:extLst>
          </p:cNvPr>
          <p:cNvSpPr/>
          <p:nvPr/>
        </p:nvSpPr>
        <p:spPr>
          <a:xfrm>
            <a:off x="9754554" y="4197261"/>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bot</a:t>
            </a:r>
          </a:p>
        </p:txBody>
      </p:sp>
      <p:sp>
        <p:nvSpPr>
          <p:cNvPr id="67" name="Rectangle 66">
            <a:extLst>
              <a:ext uri="{FF2B5EF4-FFF2-40B4-BE49-F238E27FC236}">
                <a16:creationId xmlns:a16="http://schemas.microsoft.com/office/drawing/2014/main" id="{8295277E-A687-4B9C-B464-3E784AA2FE4F}"/>
              </a:ext>
            </a:extLst>
          </p:cNvPr>
          <p:cNvSpPr/>
          <p:nvPr/>
        </p:nvSpPr>
        <p:spPr>
          <a:xfrm>
            <a:off x="10432198" y="3013070"/>
            <a:ext cx="9001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topics</a:t>
            </a:r>
          </a:p>
        </p:txBody>
      </p:sp>
      <p:sp>
        <p:nvSpPr>
          <p:cNvPr id="68" name="Rectangle 67">
            <a:extLst>
              <a:ext uri="{FF2B5EF4-FFF2-40B4-BE49-F238E27FC236}">
                <a16:creationId xmlns:a16="http://schemas.microsoft.com/office/drawing/2014/main" id="{564BFD62-0CA6-4B45-B051-7EDCD702B2A9}"/>
              </a:ext>
            </a:extLst>
          </p:cNvPr>
          <p:cNvSpPr/>
          <p:nvPr/>
        </p:nvSpPr>
        <p:spPr>
          <a:xfrm>
            <a:off x="10030627" y="2137912"/>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conversation</a:t>
            </a:r>
          </a:p>
        </p:txBody>
      </p:sp>
      <p:sp>
        <p:nvSpPr>
          <p:cNvPr id="69" name="Rectangle 68">
            <a:extLst>
              <a:ext uri="{FF2B5EF4-FFF2-40B4-BE49-F238E27FC236}">
                <a16:creationId xmlns:a16="http://schemas.microsoft.com/office/drawing/2014/main" id="{002300BA-C7A6-495D-A9BD-36F9CD3E96B0}"/>
              </a:ext>
            </a:extLst>
          </p:cNvPr>
          <p:cNvSpPr/>
          <p:nvPr/>
        </p:nvSpPr>
        <p:spPr>
          <a:xfrm>
            <a:off x="9313914" y="1769871"/>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ot</a:t>
            </a:r>
          </a:p>
        </p:txBody>
      </p:sp>
      <p:grpSp>
        <p:nvGrpSpPr>
          <p:cNvPr id="75" name="Group 74">
            <a:extLst>
              <a:ext uri="{FF2B5EF4-FFF2-40B4-BE49-F238E27FC236}">
                <a16:creationId xmlns:a16="http://schemas.microsoft.com/office/drawing/2014/main" id="{37A7E750-8713-42F8-8AE8-41D674C362F6}"/>
              </a:ext>
            </a:extLst>
          </p:cNvPr>
          <p:cNvGrpSpPr/>
          <p:nvPr/>
        </p:nvGrpSpPr>
        <p:grpSpPr>
          <a:xfrm>
            <a:off x="6665282" y="4076234"/>
            <a:ext cx="141242" cy="142872"/>
            <a:chOff x="2551096" y="4928951"/>
            <a:chExt cx="493503" cy="499198"/>
          </a:xfrm>
        </p:grpSpPr>
        <p:sp>
          <p:nvSpPr>
            <p:cNvPr id="76" name="Freeform: Shape 75">
              <a:extLst>
                <a:ext uri="{FF2B5EF4-FFF2-40B4-BE49-F238E27FC236}">
                  <a16:creationId xmlns:a16="http://schemas.microsoft.com/office/drawing/2014/main" id="{8F198F2B-77B4-4CEF-B6D4-BB6DCE68D6E6}"/>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D5E9AE46-5BE4-4C48-9E94-09608C4120EF}"/>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 name="Graphic 2">
            <a:extLst>
              <a:ext uri="{FF2B5EF4-FFF2-40B4-BE49-F238E27FC236}">
                <a16:creationId xmlns:a16="http://schemas.microsoft.com/office/drawing/2014/main" id="{B65C0F5C-7479-4C37-8469-BDBAC5525E33}"/>
              </a:ext>
            </a:extLst>
          </p:cNvPr>
          <p:cNvGrpSpPr/>
          <p:nvPr/>
        </p:nvGrpSpPr>
        <p:grpSpPr>
          <a:xfrm>
            <a:off x="6795003" y="2921794"/>
            <a:ext cx="140748" cy="163236"/>
            <a:chOff x="1203031" y="5188852"/>
            <a:chExt cx="263330" cy="305404"/>
          </a:xfrm>
          <a:noFill/>
        </p:grpSpPr>
        <p:sp>
          <p:nvSpPr>
            <p:cNvPr id="79" name="Freeform: Shape 78">
              <a:extLst>
                <a:ext uri="{FF2B5EF4-FFF2-40B4-BE49-F238E27FC236}">
                  <a16:creationId xmlns:a16="http://schemas.microsoft.com/office/drawing/2014/main" id="{5425C584-93E4-4817-934D-5303E86E695F}"/>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57C5BAF9-CD81-4299-BC9F-279B09B1B575}"/>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E0A6DD2-EFA1-4006-946A-15DECC379F0B}"/>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82" name="speech_5" title="Icon of two overlapping chat bubbles">
            <a:extLst>
              <a:ext uri="{FF2B5EF4-FFF2-40B4-BE49-F238E27FC236}">
                <a16:creationId xmlns:a16="http://schemas.microsoft.com/office/drawing/2014/main" id="{26DB1E39-9DF3-453B-825D-2367DAD61D4E}"/>
              </a:ext>
            </a:extLst>
          </p:cNvPr>
          <p:cNvSpPr>
            <a:spLocks noChangeAspect="1" noEditPoints="1"/>
          </p:cNvSpPr>
          <p:nvPr/>
        </p:nvSpPr>
        <p:spPr bwMode="auto">
          <a:xfrm>
            <a:off x="6124575" y="1985407"/>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check 3" title="Icon of a checkmark with a circle around it">
            <a:extLst>
              <a:ext uri="{FF2B5EF4-FFF2-40B4-BE49-F238E27FC236}">
                <a16:creationId xmlns:a16="http://schemas.microsoft.com/office/drawing/2014/main" id="{9EF8A6DD-96D3-4F2E-BEEF-B609A81ED20A}"/>
              </a:ext>
            </a:extLst>
          </p:cNvPr>
          <p:cNvSpPr>
            <a:spLocks noChangeAspect="1" noEditPoints="1"/>
          </p:cNvSpPr>
          <p:nvPr/>
        </p:nvSpPr>
        <p:spPr bwMode="auto">
          <a:xfrm>
            <a:off x="4991945" y="1655704"/>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6" name="Graphic 116">
            <a:extLst>
              <a:ext uri="{FF2B5EF4-FFF2-40B4-BE49-F238E27FC236}">
                <a16:creationId xmlns:a16="http://schemas.microsoft.com/office/drawing/2014/main" id="{05F5595C-4111-4B87-80C0-BE5BBB2E8755}"/>
              </a:ext>
            </a:extLst>
          </p:cNvPr>
          <p:cNvSpPr/>
          <p:nvPr/>
        </p:nvSpPr>
        <p:spPr>
          <a:xfrm>
            <a:off x="3468435" y="3229658"/>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7" name="Dictionary_E82D" title="Icon of a book">
            <a:extLst>
              <a:ext uri="{FF2B5EF4-FFF2-40B4-BE49-F238E27FC236}">
                <a16:creationId xmlns:a16="http://schemas.microsoft.com/office/drawing/2014/main" id="{395C78D5-5823-41F2-A2C0-0A5CEDDDD395}"/>
              </a:ext>
            </a:extLst>
          </p:cNvPr>
          <p:cNvSpPr>
            <a:spLocks noChangeAspect="1" noEditPoints="1"/>
          </p:cNvSpPr>
          <p:nvPr/>
        </p:nvSpPr>
        <p:spPr bwMode="auto">
          <a:xfrm>
            <a:off x="3982555" y="2167002"/>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89" name="Group 88">
            <a:extLst>
              <a:ext uri="{FF2B5EF4-FFF2-40B4-BE49-F238E27FC236}">
                <a16:creationId xmlns:a16="http://schemas.microsoft.com/office/drawing/2014/main" id="{193A75A2-0403-43D0-BD75-A7F3A28CCBB3}"/>
              </a:ext>
            </a:extLst>
          </p:cNvPr>
          <p:cNvGrpSpPr/>
          <p:nvPr/>
        </p:nvGrpSpPr>
        <p:grpSpPr>
          <a:xfrm>
            <a:off x="10962962" y="4076234"/>
            <a:ext cx="141242" cy="142872"/>
            <a:chOff x="2551096" y="4928951"/>
            <a:chExt cx="493503" cy="499198"/>
          </a:xfrm>
        </p:grpSpPr>
        <p:sp>
          <p:nvSpPr>
            <p:cNvPr id="90" name="Freeform: Shape 89">
              <a:extLst>
                <a:ext uri="{FF2B5EF4-FFF2-40B4-BE49-F238E27FC236}">
                  <a16:creationId xmlns:a16="http://schemas.microsoft.com/office/drawing/2014/main" id="{A25C789D-1718-441D-999C-97E9E3AC43AC}"/>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D6969DB-2177-4AF1-A0B8-93D53F0E73DE}"/>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 name="Graphic 2">
            <a:extLst>
              <a:ext uri="{FF2B5EF4-FFF2-40B4-BE49-F238E27FC236}">
                <a16:creationId xmlns:a16="http://schemas.microsoft.com/office/drawing/2014/main" id="{330AB87F-4C8E-4FF9-8132-B855166E72A8}"/>
              </a:ext>
            </a:extLst>
          </p:cNvPr>
          <p:cNvGrpSpPr/>
          <p:nvPr/>
        </p:nvGrpSpPr>
        <p:grpSpPr>
          <a:xfrm>
            <a:off x="11092683" y="2921794"/>
            <a:ext cx="140748" cy="163236"/>
            <a:chOff x="1203031" y="5188852"/>
            <a:chExt cx="263330" cy="305404"/>
          </a:xfrm>
          <a:noFill/>
        </p:grpSpPr>
        <p:sp>
          <p:nvSpPr>
            <p:cNvPr id="93" name="Freeform: Shape 92">
              <a:extLst>
                <a:ext uri="{FF2B5EF4-FFF2-40B4-BE49-F238E27FC236}">
                  <a16:creationId xmlns:a16="http://schemas.microsoft.com/office/drawing/2014/main" id="{3F7999BE-FAD2-4921-ABBB-E6FFBFEC34A3}"/>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1DE470BD-C7AE-4A4F-8A14-7B608F01B30D}"/>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96D0B2A8-EC91-46F7-9DD6-92963C140AC4}"/>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96" name="speech_5" title="Icon of two overlapping chat bubbles">
            <a:extLst>
              <a:ext uri="{FF2B5EF4-FFF2-40B4-BE49-F238E27FC236}">
                <a16:creationId xmlns:a16="http://schemas.microsoft.com/office/drawing/2014/main" id="{FD31F1AE-84CA-47C2-B5DE-83AD98B8D477}"/>
              </a:ext>
            </a:extLst>
          </p:cNvPr>
          <p:cNvSpPr>
            <a:spLocks noChangeAspect="1" noEditPoints="1"/>
          </p:cNvSpPr>
          <p:nvPr/>
        </p:nvSpPr>
        <p:spPr bwMode="auto">
          <a:xfrm>
            <a:off x="10422255" y="1985407"/>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check 3" title="Icon of a checkmark with a circle around it">
            <a:extLst>
              <a:ext uri="{FF2B5EF4-FFF2-40B4-BE49-F238E27FC236}">
                <a16:creationId xmlns:a16="http://schemas.microsoft.com/office/drawing/2014/main" id="{74615282-1CBA-4298-A756-E2991796270D}"/>
              </a:ext>
            </a:extLst>
          </p:cNvPr>
          <p:cNvSpPr>
            <a:spLocks noChangeAspect="1" noEditPoints="1"/>
          </p:cNvSpPr>
          <p:nvPr/>
        </p:nvSpPr>
        <p:spPr bwMode="auto">
          <a:xfrm>
            <a:off x="9289625" y="1655704"/>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9" name="Graphic 116">
            <a:extLst>
              <a:ext uri="{FF2B5EF4-FFF2-40B4-BE49-F238E27FC236}">
                <a16:creationId xmlns:a16="http://schemas.microsoft.com/office/drawing/2014/main" id="{7F3E2570-A153-4F62-9C7C-BBF3D9504710}"/>
              </a:ext>
            </a:extLst>
          </p:cNvPr>
          <p:cNvSpPr/>
          <p:nvPr/>
        </p:nvSpPr>
        <p:spPr>
          <a:xfrm>
            <a:off x="7766115" y="3229658"/>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0" name="Dictionary_E82D" title="Icon of a book">
            <a:extLst>
              <a:ext uri="{FF2B5EF4-FFF2-40B4-BE49-F238E27FC236}">
                <a16:creationId xmlns:a16="http://schemas.microsoft.com/office/drawing/2014/main" id="{966A99D3-36E1-4A23-8B3B-015E9B8FABCF}"/>
              </a:ext>
            </a:extLst>
          </p:cNvPr>
          <p:cNvSpPr>
            <a:spLocks noChangeAspect="1" noEditPoints="1"/>
          </p:cNvSpPr>
          <p:nvPr/>
        </p:nvSpPr>
        <p:spPr bwMode="auto">
          <a:xfrm>
            <a:off x="8301135" y="2167002"/>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1" name="Rectangle 100">
            <a:extLst>
              <a:ext uri="{FF2B5EF4-FFF2-40B4-BE49-F238E27FC236}">
                <a16:creationId xmlns:a16="http://schemas.microsoft.com/office/drawing/2014/main" id="{50DC2F61-5DB1-49B8-997C-21E86404A80B}"/>
              </a:ext>
            </a:extLst>
          </p:cNvPr>
          <p:cNvSpPr/>
          <p:nvPr/>
        </p:nvSpPr>
        <p:spPr>
          <a:xfrm>
            <a:off x="7891338" y="2738181"/>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erformance</a:t>
            </a:r>
          </a:p>
        </p:txBody>
      </p:sp>
      <p:sp>
        <p:nvSpPr>
          <p:cNvPr id="103" name="Freeform: Shape 102">
            <a:extLst>
              <a:ext uri="{FF2B5EF4-FFF2-40B4-BE49-F238E27FC236}">
                <a16:creationId xmlns:a16="http://schemas.microsoft.com/office/drawing/2014/main" id="{639D1EAD-6A70-42C3-B271-434D5B0AB729}"/>
              </a:ext>
            </a:extLst>
          </p:cNvPr>
          <p:cNvSpPr/>
          <p:nvPr/>
        </p:nvSpPr>
        <p:spPr bwMode="auto">
          <a:xfrm rot="10800000">
            <a:off x="10537370" y="5528553"/>
            <a:ext cx="1654630" cy="1329446"/>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03BBBD14-F9AB-4AEF-AB96-EB2115E80798}"/>
              </a:ext>
            </a:extLst>
          </p:cNvPr>
          <p:cNvSpPr/>
          <p:nvPr/>
        </p:nvSpPr>
        <p:spPr bwMode="auto">
          <a:xfrm>
            <a:off x="713244" y="4260056"/>
            <a:ext cx="2266938" cy="998622"/>
          </a:xfrm>
          <a:prstGeom prst="rect">
            <a:avLst/>
          </a:prstGeom>
          <a:solidFill>
            <a:srgbClr val="BEEC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2AD95F9C-6A96-4227-A532-1303C78FE3CE}"/>
              </a:ext>
            </a:extLst>
          </p:cNvPr>
          <p:cNvSpPr/>
          <p:nvPr/>
        </p:nvSpPr>
        <p:spPr bwMode="auto">
          <a:xfrm rot="10800000">
            <a:off x="0" y="0"/>
            <a:ext cx="5600702" cy="5600704"/>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itle 23">
            <a:extLst>
              <a:ext uri="{FF2B5EF4-FFF2-40B4-BE49-F238E27FC236}">
                <a16:creationId xmlns:a16="http://schemas.microsoft.com/office/drawing/2014/main" id="{D6764577-8696-4344-9610-7E2C73672ACF}"/>
              </a:ext>
            </a:extLst>
          </p:cNvPr>
          <p:cNvSpPr>
            <a:spLocks noGrp="1"/>
          </p:cNvSpPr>
          <p:nvPr>
            <p:ph type="title"/>
          </p:nvPr>
        </p:nvSpPr>
        <p:spPr>
          <a:xfrm>
            <a:off x="455995" y="620428"/>
            <a:ext cx="3277805" cy="984885"/>
          </a:xfrm>
        </p:spPr>
        <p:txBody>
          <a:bodyPr/>
          <a:lstStyle/>
          <a:p>
            <a:r>
              <a:rPr lang="en-US">
                <a:solidFill>
                  <a:srgbClr val="0B556A"/>
                </a:solidFill>
              </a:rPr>
              <a:t>Bot Creation Process overview</a:t>
            </a:r>
            <a:endParaRPr lang="en-IN">
              <a:solidFill>
                <a:srgbClr val="0B556A"/>
              </a:solidFill>
            </a:endParaRPr>
          </a:p>
        </p:txBody>
      </p:sp>
      <p:sp>
        <p:nvSpPr>
          <p:cNvPr id="104" name="Freeform: Shape 103">
            <a:extLst>
              <a:ext uri="{FF2B5EF4-FFF2-40B4-BE49-F238E27FC236}">
                <a16:creationId xmlns:a16="http://schemas.microsoft.com/office/drawing/2014/main" id="{81FB35CB-3E2B-495B-91FD-BD8C6EF5648F}"/>
              </a:ext>
            </a:extLst>
          </p:cNvPr>
          <p:cNvSpPr/>
          <p:nvPr/>
        </p:nvSpPr>
        <p:spPr bwMode="auto">
          <a:xfrm rot="2700000">
            <a:off x="-837685" y="4932938"/>
            <a:ext cx="4329026" cy="2693954"/>
          </a:xfrm>
          <a:custGeom>
            <a:avLst/>
            <a:gdLst>
              <a:gd name="connsiteX0" fmla="*/ 0 w 4329026"/>
              <a:gd name="connsiteY0" fmla="*/ 0 h 2693954"/>
              <a:gd name="connsiteX1" fmla="*/ 4329026 w 4329026"/>
              <a:gd name="connsiteY1" fmla="*/ 0 h 2693954"/>
              <a:gd name="connsiteX2" fmla="*/ 1635072 w 4329026"/>
              <a:gd name="connsiteY2" fmla="*/ 2693954 h 2693954"/>
              <a:gd name="connsiteX3" fmla="*/ 0 w 4329026"/>
              <a:gd name="connsiteY3" fmla="*/ 1058882 h 2693954"/>
            </a:gdLst>
            <a:ahLst/>
            <a:cxnLst>
              <a:cxn ang="0">
                <a:pos x="connsiteX0" y="connsiteY0"/>
              </a:cxn>
              <a:cxn ang="0">
                <a:pos x="connsiteX1" y="connsiteY1"/>
              </a:cxn>
              <a:cxn ang="0">
                <a:pos x="connsiteX2" y="connsiteY2"/>
              </a:cxn>
              <a:cxn ang="0">
                <a:pos x="connsiteX3" y="connsiteY3"/>
              </a:cxn>
            </a:cxnLst>
            <a:rect l="l" t="t" r="r" b="b"/>
            <a:pathLst>
              <a:path w="4329026" h="2693954">
                <a:moveTo>
                  <a:pt x="0" y="0"/>
                </a:moveTo>
                <a:lnTo>
                  <a:pt x="4329026" y="0"/>
                </a:lnTo>
                <a:lnTo>
                  <a:pt x="1635072" y="2693954"/>
                </a:lnTo>
                <a:lnTo>
                  <a:pt x="0" y="105888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96C7FBB3-193A-43BC-B2D9-29518CB0CAE2}"/>
              </a:ext>
            </a:extLst>
          </p:cNvPr>
          <p:cNvSpPr/>
          <p:nvPr/>
        </p:nvSpPr>
        <p:spPr>
          <a:xfrm>
            <a:off x="8476773" y="2006958"/>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your bot</a:t>
            </a:r>
          </a:p>
        </p:txBody>
      </p:sp>
    </p:spTree>
    <p:extLst>
      <p:ext uri="{BB962C8B-B14F-4D97-AF65-F5344CB8AC3E}">
        <p14:creationId xmlns:p14="http://schemas.microsoft.com/office/powerpoint/2010/main" val="41472326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Shape 116">
            <a:extLst>
              <a:ext uri="{FF2B5EF4-FFF2-40B4-BE49-F238E27FC236}">
                <a16:creationId xmlns:a16="http://schemas.microsoft.com/office/drawing/2014/main" id="{8828C234-AFC2-46F8-A85D-D130318493EC}"/>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ext Placeholder 1" hidden="1">
            <a:extLst>
              <a:ext uri="{FF2B5EF4-FFF2-40B4-BE49-F238E27FC236}">
                <a16:creationId xmlns:a16="http://schemas.microsoft.com/office/drawing/2014/main" id="{8C7B9BB4-2D77-4C01-BC74-08C758BFBCC6}"/>
              </a:ext>
            </a:extLst>
          </p:cNvPr>
          <p:cNvSpPr txBox="1">
            <a:spLocks/>
          </p:cNvSpPr>
          <p:nvPr/>
        </p:nvSpPr>
        <p:spPr>
          <a:xfrm>
            <a:off x="4080461" y="8557390"/>
            <a:ext cx="432317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endParaRPr kumimoji="0" lang="en-US" b="0" i="0" u="none" strike="noStrike" kern="1200" cap="none" spc="0" normalizeH="0" baseline="0" noProof="0">
              <a:ln>
                <a:noFill/>
              </a:ln>
              <a:solidFill>
                <a:schemeClr val="tx1"/>
              </a:solidFill>
              <a:effectLst/>
              <a:uLnTx/>
              <a:uFillTx/>
              <a:latin typeface="Segoe UI" panose="020B0502040204020203" pitchFamily="34" charset="0"/>
              <a:ea typeface="+mn-ea"/>
              <a:cs typeface="Segoe UI"/>
            </a:endParaRPr>
          </a:p>
        </p:txBody>
      </p:sp>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a:t>Create a New Virtual Agent</a:t>
            </a:r>
          </a:p>
        </p:txBody>
      </p:sp>
      <p:grpSp>
        <p:nvGrpSpPr>
          <p:cNvPr id="6" name="Group 5">
            <a:extLst>
              <a:ext uri="{FF2B5EF4-FFF2-40B4-BE49-F238E27FC236}">
                <a16:creationId xmlns:a16="http://schemas.microsoft.com/office/drawing/2014/main" id="{4A88EEFE-B453-470E-BC17-F23F4E7E441F}"/>
              </a:ext>
            </a:extLst>
          </p:cNvPr>
          <p:cNvGrpSpPr/>
          <p:nvPr/>
        </p:nvGrpSpPr>
        <p:grpSpPr>
          <a:xfrm>
            <a:off x="590378" y="2276242"/>
            <a:ext cx="6491237" cy="3745506"/>
            <a:chOff x="575864" y="2276242"/>
            <a:chExt cx="6491237" cy="3745506"/>
          </a:xfrm>
        </p:grpSpPr>
        <p:grpSp>
          <p:nvGrpSpPr>
            <p:cNvPr id="4" name="Group 3">
              <a:extLst>
                <a:ext uri="{FF2B5EF4-FFF2-40B4-BE49-F238E27FC236}">
                  <a16:creationId xmlns:a16="http://schemas.microsoft.com/office/drawing/2014/main" id="{9EC598EA-9D3B-4FF3-9F90-893F14A8325E}"/>
                </a:ext>
              </a:extLst>
            </p:cNvPr>
            <p:cNvGrpSpPr/>
            <p:nvPr/>
          </p:nvGrpSpPr>
          <p:grpSpPr>
            <a:xfrm>
              <a:off x="596113"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a:ln>
                      <a:noFill/>
                    </a:ln>
                    <a:solidFill>
                      <a:schemeClr val="bg1"/>
                    </a:solidFill>
                    <a:effectLst/>
                    <a:uLnTx/>
                    <a:uFillTx/>
                    <a:ea typeface="+mn-ea"/>
                  </a:rPr>
                  <a:t>Select ‘new bot’</a:t>
                </a:r>
                <a:endParaRPr kumimoji="0" lang="en-US" b="0" i="0" u="none" strike="noStrike" kern="1200" cap="none" spc="0" normalizeH="0" baseline="0" noProof="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3" name="Group 2">
              <a:extLst>
                <a:ext uri="{FF2B5EF4-FFF2-40B4-BE49-F238E27FC236}">
                  <a16:creationId xmlns:a16="http://schemas.microsoft.com/office/drawing/2014/main" id="{E79FE504-F3C2-47FA-920C-10934AEF9BF6}"/>
                </a:ext>
              </a:extLst>
            </p:cNvPr>
            <p:cNvGrpSpPr/>
            <p:nvPr/>
          </p:nvGrpSpPr>
          <p:grpSpPr>
            <a:xfrm>
              <a:off x="575864" y="3810441"/>
              <a:ext cx="5340949" cy="677108"/>
              <a:chOff x="575864" y="3810441"/>
              <a:chExt cx="5340949"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hlinkClick r:id="rId3">
                      <a:extLst>
                        <a:ext uri="{A12FA001-AC4F-418D-AE19-62706E023703}">
                          <ahyp:hlinkClr xmlns:ahyp="http://schemas.microsoft.com/office/drawing/2018/hyperlinkcolor" val="tx"/>
                        </a:ext>
                      </a:extLst>
                    </a:hlinkClick>
                  </a:rPr>
                  <a:t>https://powerva.microsoft.com/</a:t>
                </a:r>
                <a:r>
                  <a:rPr lang="en-US" spc="0">
                    <a:solidFill>
                      <a:schemeClr val="bg1"/>
                    </a:solidFill>
                  </a:rPr>
                  <a:t> </a:t>
                </a: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808E3DE5-BE78-4816-BD73-AB45EE5E53D3}"/>
                </a:ext>
              </a:extLst>
            </p:cNvPr>
            <p:cNvGrpSpPr/>
            <p:nvPr/>
          </p:nvGrpSpPr>
          <p:grpSpPr>
            <a:xfrm>
              <a:off x="575865" y="2276242"/>
              <a:ext cx="5340948" cy="677108"/>
              <a:chOff x="575865" y="2276242"/>
              <a:chExt cx="5340948"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Open the Power Virtual Agents designer</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113" name="Straight Connector 112">
              <a:extLst>
                <a:ext uri="{FF2B5EF4-FFF2-40B4-BE49-F238E27FC236}">
                  <a16:creationId xmlns:a16="http://schemas.microsoft.com/office/drawing/2014/main" id="{E5B2A470-168A-4DA9-A70E-EAEFA06596B0}"/>
                </a:ext>
              </a:extLst>
            </p:cNvPr>
            <p:cNvCxnSpPr/>
            <p:nvPr/>
          </p:nvCxnSpPr>
          <p:spPr>
            <a:xfrm>
              <a:off x="1375928"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Lst>
            </p:cNvPr>
            <p:cNvCxnSpPr/>
            <p:nvPr/>
          </p:nvCxnSpPr>
          <p:spPr>
            <a:xfrm>
              <a:off x="1375928"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6F6815E-C26B-46A8-8FE4-A26B41E781EA}"/>
              </a:ext>
            </a:extLst>
          </p:cNvPr>
          <p:cNvGrpSpPr/>
          <p:nvPr/>
        </p:nvGrpSpPr>
        <p:grpSpPr>
          <a:xfrm>
            <a:off x="6345757" y="2205362"/>
            <a:ext cx="5757343" cy="3526776"/>
            <a:chOff x="6193357" y="2205361"/>
            <a:chExt cx="6345836" cy="3887269"/>
          </a:xfrm>
        </p:grpSpPr>
        <p:sp>
          <p:nvSpPr>
            <p:cNvPr id="115" name="Freeform: Shape 114">
              <a:extLst>
                <a:ext uri="{FF2B5EF4-FFF2-40B4-BE49-F238E27FC236}">
                  <a16:creationId xmlns:a16="http://schemas.microsoft.com/office/drawing/2014/main" id="{AE5AE9E2-DCCF-4C71-8092-031089472ECC}"/>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16" name="Picture 115">
              <a:extLst>
                <a:ext uri="{FF2B5EF4-FFF2-40B4-BE49-F238E27FC236}">
                  <a16:creationId xmlns:a16="http://schemas.microsoft.com/office/drawing/2014/main" id="{E13076B9-6623-4291-B731-B1DDFBE3137C}"/>
                </a:ext>
              </a:extLst>
            </p:cNvPr>
            <p:cNvPicPr>
              <a:picLocks noChangeAspect="1"/>
            </p:cNvPicPr>
            <p:nvPr/>
          </p:nvPicPr>
          <p:blipFill rotWithShape="1">
            <a:blip r:embed="rId4"/>
            <a:srcRect l="256" t="-66" r="238" b="12089"/>
            <a:stretch/>
          </p:blipFill>
          <p:spPr>
            <a:xfrm>
              <a:off x="6371192" y="2382521"/>
              <a:ext cx="5940337" cy="3517212"/>
            </a:xfrm>
            <a:custGeom>
              <a:avLst/>
              <a:gdLst>
                <a:gd name="connsiteX0" fmla="*/ 0 w 5940337"/>
                <a:gd name="connsiteY0" fmla="*/ 0 h 3501473"/>
                <a:gd name="connsiteX1" fmla="*/ 5940337 w 5940337"/>
                <a:gd name="connsiteY1" fmla="*/ 0 h 3501473"/>
                <a:gd name="connsiteX2" fmla="*/ 5940337 w 5940337"/>
                <a:gd name="connsiteY2" fmla="*/ 3501473 h 3501473"/>
                <a:gd name="connsiteX3" fmla="*/ 0 w 5940337"/>
                <a:gd name="connsiteY3" fmla="*/ 3501473 h 3501473"/>
              </a:gdLst>
              <a:ahLst/>
              <a:cxnLst>
                <a:cxn ang="0">
                  <a:pos x="connsiteX0" y="connsiteY0"/>
                </a:cxn>
                <a:cxn ang="0">
                  <a:pos x="connsiteX1" y="connsiteY1"/>
                </a:cxn>
                <a:cxn ang="0">
                  <a:pos x="connsiteX2" y="connsiteY2"/>
                </a:cxn>
                <a:cxn ang="0">
                  <a:pos x="connsiteX3" y="connsiteY3"/>
                </a:cxn>
              </a:cxnLst>
              <a:rect l="l" t="t" r="r" b="b"/>
              <a:pathLst>
                <a:path w="5940337" h="3501473">
                  <a:moveTo>
                    <a:pt x="0" y="0"/>
                  </a:moveTo>
                  <a:lnTo>
                    <a:pt x="5940337" y="0"/>
                  </a:lnTo>
                  <a:lnTo>
                    <a:pt x="5940337" y="3501473"/>
                  </a:lnTo>
                  <a:lnTo>
                    <a:pt x="0" y="3501473"/>
                  </a:lnTo>
                  <a:close/>
                </a:path>
              </a:pathLst>
            </a:custGeom>
          </p:spPr>
        </p:pic>
      </p:grpSp>
    </p:spTree>
    <p:extLst>
      <p:ext uri="{BB962C8B-B14F-4D97-AF65-F5344CB8AC3E}">
        <p14:creationId xmlns:p14="http://schemas.microsoft.com/office/powerpoint/2010/main" val="1701049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6"/>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5B3D2-0C96-4D3A-BC2E-CCFBCF40AAFC}"/>
              </a:ext>
            </a:extLst>
          </p:cNvPr>
          <p:cNvSpPr>
            <a:spLocks noGrp="1"/>
          </p:cNvSpPr>
          <p:nvPr>
            <p:ph type="title"/>
          </p:nvPr>
        </p:nvSpPr>
        <p:spPr/>
        <p:txBody>
          <a:bodyPr/>
          <a:lstStyle/>
          <a:p>
            <a:r>
              <a:rPr lang="en-US"/>
              <a:t>View Topics </a:t>
            </a:r>
          </a:p>
        </p:txBody>
      </p:sp>
      <p:sp>
        <p:nvSpPr>
          <p:cNvPr id="44" name="Freeform: Shape 43">
            <a:extLst>
              <a:ext uri="{FF2B5EF4-FFF2-40B4-BE49-F238E27FC236}">
                <a16:creationId xmlns:a16="http://schemas.microsoft.com/office/drawing/2014/main" id="{A592B573-00C0-4090-A955-6ABDC20EC077}"/>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6" name="Group 5">
            <a:extLst>
              <a:ext uri="{FF2B5EF4-FFF2-40B4-BE49-F238E27FC236}">
                <a16:creationId xmlns:a16="http://schemas.microsoft.com/office/drawing/2014/main" id="{23AAC6E4-7023-41C2-83B1-2A6713F9F5F1}"/>
              </a:ext>
            </a:extLst>
          </p:cNvPr>
          <p:cNvGrpSpPr/>
          <p:nvPr/>
        </p:nvGrpSpPr>
        <p:grpSpPr>
          <a:xfrm>
            <a:off x="531854" y="2828692"/>
            <a:ext cx="6535247" cy="2211307"/>
            <a:chOff x="531854" y="2276242"/>
            <a:chExt cx="6535247" cy="2211307"/>
          </a:xfrm>
        </p:grpSpPr>
        <p:cxnSp>
          <p:nvCxnSpPr>
            <p:cNvPr id="36" name="Straight Connector 35">
              <a:extLst>
                <a:ext uri="{FF2B5EF4-FFF2-40B4-BE49-F238E27FC236}">
                  <a16:creationId xmlns:a16="http://schemas.microsoft.com/office/drawing/2014/main" id="{B00DD89A-DBF2-49B4-8B73-96EDC19A6BAB}"/>
                </a:ext>
              </a:extLst>
            </p:cNvPr>
            <p:cNvCxnSpPr/>
            <p:nvPr/>
          </p:nvCxnSpPr>
          <p:spPr>
            <a:xfrm>
              <a:off x="1375928" y="33818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17C3DE0-1D35-4283-9FCA-2C15AFDDB3DD}"/>
                </a:ext>
              </a:extLst>
            </p:cNvPr>
            <p:cNvGrpSpPr/>
            <p:nvPr/>
          </p:nvGrpSpPr>
          <p:grpSpPr>
            <a:xfrm>
              <a:off x="542374" y="2276242"/>
              <a:ext cx="5374439" cy="677108"/>
              <a:chOff x="542374" y="2276242"/>
              <a:chExt cx="5374439" cy="677108"/>
            </a:xfrm>
          </p:grpSpPr>
          <p:sp>
            <p:nvSpPr>
              <p:cNvPr id="30" name="Text Placeholder 1">
                <a:extLst>
                  <a:ext uri="{FF2B5EF4-FFF2-40B4-BE49-F238E27FC236}">
                    <a16:creationId xmlns:a16="http://schemas.microsoft.com/office/drawing/2014/main" id="{E6680721-FBC9-4925-A386-171020498000}"/>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A bot comes with 4 User topics</a:t>
                </a:r>
                <a:br>
                  <a:rPr lang="en-US" spc="0">
                    <a:solidFill>
                      <a:schemeClr val="bg1"/>
                    </a:solidFill>
                  </a:rPr>
                </a:br>
                <a:r>
                  <a:rPr lang="en-US" spc="0">
                    <a:solidFill>
                      <a:schemeClr val="bg1"/>
                    </a:solidFill>
                  </a:rPr>
                  <a:t>&amp; 8 system topics </a:t>
                </a:r>
              </a:p>
            </p:txBody>
          </p:sp>
          <p:sp>
            <p:nvSpPr>
              <p:cNvPr id="46" name="BulletedList_E8FD" title="Icon of a bulleted list">
                <a:extLst>
                  <a:ext uri="{FF2B5EF4-FFF2-40B4-BE49-F238E27FC236}">
                    <a16:creationId xmlns:a16="http://schemas.microsoft.com/office/drawing/2014/main" id="{6DAA4471-DEAC-4411-8FBA-2157A3D4069C}"/>
                  </a:ext>
                </a:extLst>
              </p:cNvPr>
              <p:cNvSpPr>
                <a:spLocks noChangeAspect="1" noEditPoints="1"/>
              </p:cNvSpPr>
              <p:nvPr/>
            </p:nvSpPr>
            <p:spPr bwMode="auto">
              <a:xfrm>
                <a:off x="542374" y="24631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B7D81C1-9896-4E94-96FE-105B2F4CDAE7}"/>
                </a:ext>
              </a:extLst>
            </p:cNvPr>
            <p:cNvGrpSpPr/>
            <p:nvPr/>
          </p:nvGrpSpPr>
          <p:grpSpPr>
            <a:xfrm>
              <a:off x="531854" y="3810441"/>
              <a:ext cx="5384959" cy="677108"/>
              <a:chOff x="531854" y="3810441"/>
              <a:chExt cx="5384959" cy="677108"/>
            </a:xfrm>
          </p:grpSpPr>
          <p:sp>
            <p:nvSpPr>
              <p:cNvPr id="31" name="Text Placeholder 1">
                <a:extLst>
                  <a:ext uri="{FF2B5EF4-FFF2-40B4-BE49-F238E27FC236}">
                    <a16:creationId xmlns:a16="http://schemas.microsoft.com/office/drawing/2014/main" id="{CB81A9B0-81AC-402D-A4B1-C6B0B530FEC6}"/>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Using one of the 4 topics to get familiar with the structure</a:t>
                </a:r>
              </a:p>
            </p:txBody>
          </p:sp>
          <p:grpSp>
            <p:nvGrpSpPr>
              <p:cNvPr id="47" name="Group 46">
                <a:extLst>
                  <a:ext uri="{FF2B5EF4-FFF2-40B4-BE49-F238E27FC236}">
                    <a16:creationId xmlns:a16="http://schemas.microsoft.com/office/drawing/2014/main" id="{E40D092B-CEA2-4D4A-91B0-58FA1CE80A01}"/>
                  </a:ext>
                </a:extLst>
              </p:cNvPr>
              <p:cNvGrpSpPr/>
              <p:nvPr/>
            </p:nvGrpSpPr>
            <p:grpSpPr>
              <a:xfrm>
                <a:off x="531854" y="3930015"/>
                <a:ext cx="559762" cy="437958"/>
                <a:chOff x="4332559" y="3336561"/>
                <a:chExt cx="389572" cy="304800"/>
              </a:xfrm>
            </p:grpSpPr>
            <p:sp>
              <p:nvSpPr>
                <p:cNvPr id="48" name="Freeform: Shape 47">
                  <a:extLst>
                    <a:ext uri="{FF2B5EF4-FFF2-40B4-BE49-F238E27FC236}">
                      <a16:creationId xmlns:a16="http://schemas.microsoft.com/office/drawing/2014/main" id="{6B1A5C38-341F-4F17-838A-FAC2101C01A0}"/>
                    </a:ext>
                  </a:extLst>
                </p:cNvPr>
                <p:cNvSpPr/>
                <p:nvPr/>
              </p:nvSpPr>
              <p:spPr>
                <a:xfrm>
                  <a:off x="4335416" y="3381328"/>
                  <a:ext cx="142875" cy="9525"/>
                </a:xfrm>
                <a:custGeom>
                  <a:avLst/>
                  <a:gdLst>
                    <a:gd name="connsiteX0" fmla="*/ 7348 w 142875"/>
                    <a:gd name="connsiteY0" fmla="*/ 7348 h 9525"/>
                    <a:gd name="connsiteX1" fmla="*/ 140698 w 142875"/>
                    <a:gd name="connsiteY1" fmla="*/ 7348 h 9525"/>
                  </a:gdLst>
                  <a:ahLst/>
                  <a:cxnLst>
                    <a:cxn ang="0">
                      <a:pos x="connsiteX0" y="connsiteY0"/>
                    </a:cxn>
                    <a:cxn ang="0">
                      <a:pos x="connsiteX1" y="connsiteY1"/>
                    </a:cxn>
                  </a:cxnLst>
                  <a:rect l="l" t="t" r="r" b="b"/>
                  <a:pathLst>
                    <a:path w="142875" h="9525">
                      <a:moveTo>
                        <a:pt x="7348" y="7348"/>
                      </a:moveTo>
                      <a:lnTo>
                        <a:pt x="14069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1720E59A-3C85-4448-B669-D25C6B93CF13}"/>
                    </a:ext>
                  </a:extLst>
                </p:cNvPr>
                <p:cNvSpPr/>
                <p:nvPr/>
              </p:nvSpPr>
              <p:spPr>
                <a:xfrm>
                  <a:off x="4557349" y="3381328"/>
                  <a:ext cx="152400" cy="9525"/>
                </a:xfrm>
                <a:custGeom>
                  <a:avLst/>
                  <a:gdLst>
                    <a:gd name="connsiteX0" fmla="*/ 7348 w 152400"/>
                    <a:gd name="connsiteY0" fmla="*/ 7348 h 9525"/>
                    <a:gd name="connsiteX1" fmla="*/ 149270 w 152400"/>
                    <a:gd name="connsiteY1" fmla="*/ 7348 h 9525"/>
                  </a:gdLst>
                  <a:ahLst/>
                  <a:cxnLst>
                    <a:cxn ang="0">
                      <a:pos x="connsiteX0" y="connsiteY0"/>
                    </a:cxn>
                    <a:cxn ang="0">
                      <a:pos x="connsiteX1" y="connsiteY1"/>
                    </a:cxn>
                  </a:cxnLst>
                  <a:rect l="l" t="t" r="r" b="b"/>
                  <a:pathLst>
                    <a:path w="152400" h="9525">
                      <a:moveTo>
                        <a:pt x="7348" y="7348"/>
                      </a:moveTo>
                      <a:lnTo>
                        <a:pt x="149270"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2028917A-D5A6-49CE-9916-A8406B00F9F5}"/>
                    </a:ext>
                  </a:extLst>
                </p:cNvPr>
                <p:cNvSpPr/>
                <p:nvPr/>
              </p:nvSpPr>
              <p:spPr>
                <a:xfrm>
                  <a:off x="4458289" y="3488008"/>
                  <a:ext cx="257175" cy="9525"/>
                </a:xfrm>
                <a:custGeom>
                  <a:avLst/>
                  <a:gdLst>
                    <a:gd name="connsiteX0" fmla="*/ 7348 w 257175"/>
                    <a:gd name="connsiteY0" fmla="*/ 7348 h 9525"/>
                    <a:gd name="connsiteX1" fmla="*/ 255951 w 257175"/>
                    <a:gd name="connsiteY1" fmla="*/ 7348 h 9525"/>
                  </a:gdLst>
                  <a:ahLst/>
                  <a:cxnLst>
                    <a:cxn ang="0">
                      <a:pos x="connsiteX0" y="connsiteY0"/>
                    </a:cxn>
                    <a:cxn ang="0">
                      <a:pos x="connsiteX1" y="connsiteY1"/>
                    </a:cxn>
                  </a:cxnLst>
                  <a:rect l="l" t="t" r="r" b="b"/>
                  <a:pathLst>
                    <a:path w="257175" h="9525">
                      <a:moveTo>
                        <a:pt x="7348" y="7348"/>
                      </a:moveTo>
                      <a:lnTo>
                        <a:pt x="25595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9F8FDD6B-9D00-4280-A68E-98598947E511}"/>
                    </a:ext>
                  </a:extLst>
                </p:cNvPr>
                <p:cNvSpPr/>
                <p:nvPr/>
              </p:nvSpPr>
              <p:spPr>
                <a:xfrm>
                  <a:off x="4332559" y="3488008"/>
                  <a:ext cx="47625" cy="9525"/>
                </a:xfrm>
                <a:custGeom>
                  <a:avLst/>
                  <a:gdLst>
                    <a:gd name="connsiteX0" fmla="*/ 7348 w 47625"/>
                    <a:gd name="connsiteY0" fmla="*/ 7348 h 9525"/>
                    <a:gd name="connsiteX1" fmla="*/ 41638 w 47625"/>
                    <a:gd name="connsiteY1" fmla="*/ 7348 h 9525"/>
                  </a:gdLst>
                  <a:ahLst/>
                  <a:cxnLst>
                    <a:cxn ang="0">
                      <a:pos x="connsiteX0" y="connsiteY0"/>
                    </a:cxn>
                    <a:cxn ang="0">
                      <a:pos x="connsiteX1" y="connsiteY1"/>
                    </a:cxn>
                  </a:cxnLst>
                  <a:rect l="l" t="t" r="r" b="b"/>
                  <a:pathLst>
                    <a:path w="47625" h="9525">
                      <a:moveTo>
                        <a:pt x="7348" y="7348"/>
                      </a:moveTo>
                      <a:lnTo>
                        <a:pt x="4163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2" name="Freeform: Shape 51">
                  <a:extLst>
                    <a:ext uri="{FF2B5EF4-FFF2-40B4-BE49-F238E27FC236}">
                      <a16:creationId xmlns:a16="http://schemas.microsoft.com/office/drawing/2014/main" id="{0F149CE6-65E1-42DD-B310-93D4EAA26880}"/>
                    </a:ext>
                  </a:extLst>
                </p:cNvPr>
                <p:cNvSpPr/>
                <p:nvPr/>
              </p:nvSpPr>
              <p:spPr>
                <a:xfrm>
                  <a:off x="4335416" y="3590878"/>
                  <a:ext cx="228600" cy="9525"/>
                </a:xfrm>
                <a:custGeom>
                  <a:avLst/>
                  <a:gdLst>
                    <a:gd name="connsiteX0" fmla="*/ 7348 w 228600"/>
                    <a:gd name="connsiteY0" fmla="*/ 7348 h 9525"/>
                    <a:gd name="connsiteX1" fmla="*/ 229281 w 228600"/>
                    <a:gd name="connsiteY1" fmla="*/ 7348 h 9525"/>
                  </a:gdLst>
                  <a:ahLst/>
                  <a:cxnLst>
                    <a:cxn ang="0">
                      <a:pos x="connsiteX0" y="connsiteY0"/>
                    </a:cxn>
                    <a:cxn ang="0">
                      <a:pos x="connsiteX1" y="connsiteY1"/>
                    </a:cxn>
                  </a:cxnLst>
                  <a:rect l="l" t="t" r="r" b="b"/>
                  <a:pathLst>
                    <a:path w="228600" h="9525">
                      <a:moveTo>
                        <a:pt x="7348" y="7348"/>
                      </a:moveTo>
                      <a:lnTo>
                        <a:pt x="22928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3" name="Freeform: Shape 52">
                  <a:extLst>
                    <a:ext uri="{FF2B5EF4-FFF2-40B4-BE49-F238E27FC236}">
                      <a16:creationId xmlns:a16="http://schemas.microsoft.com/office/drawing/2014/main" id="{2B45A76E-0304-4003-B37D-6B41AE605143}"/>
                    </a:ext>
                  </a:extLst>
                </p:cNvPr>
                <p:cNvSpPr/>
                <p:nvPr/>
              </p:nvSpPr>
              <p:spPr>
                <a:xfrm>
                  <a:off x="4645931" y="3590878"/>
                  <a:ext cx="76200" cy="9525"/>
                </a:xfrm>
                <a:custGeom>
                  <a:avLst/>
                  <a:gdLst>
                    <a:gd name="connsiteX0" fmla="*/ 7348 w 76200"/>
                    <a:gd name="connsiteY0" fmla="*/ 7348 h 9525"/>
                    <a:gd name="connsiteX1" fmla="*/ 71166 w 76200"/>
                    <a:gd name="connsiteY1" fmla="*/ 7348 h 9525"/>
                  </a:gdLst>
                  <a:ahLst/>
                  <a:cxnLst>
                    <a:cxn ang="0">
                      <a:pos x="connsiteX0" y="connsiteY0"/>
                    </a:cxn>
                    <a:cxn ang="0">
                      <a:pos x="connsiteX1" y="connsiteY1"/>
                    </a:cxn>
                  </a:cxnLst>
                  <a:rect l="l" t="t" r="r" b="b"/>
                  <a:pathLst>
                    <a:path w="76200" h="9525">
                      <a:moveTo>
                        <a:pt x="7348" y="7348"/>
                      </a:moveTo>
                      <a:lnTo>
                        <a:pt x="711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F6DBD5CD-4D0B-4961-8D53-89872DFE118C}"/>
                    </a:ext>
                  </a:extLst>
                </p:cNvPr>
                <p:cNvSpPr/>
                <p:nvPr/>
              </p:nvSpPr>
              <p:spPr>
                <a:xfrm>
                  <a:off x="4368754" y="3336561"/>
                  <a:ext cx="285750" cy="304800"/>
                </a:xfrm>
                <a:custGeom>
                  <a:avLst/>
                  <a:gdLst>
                    <a:gd name="connsiteX0" fmla="*/ 195943 w 285750"/>
                    <a:gd name="connsiteY0" fmla="*/ 52116 h 304800"/>
                    <a:gd name="connsiteX1" fmla="*/ 151176 w 285750"/>
                    <a:gd name="connsiteY1" fmla="*/ 96883 h 304800"/>
                    <a:gd name="connsiteX2" fmla="*/ 106408 w 285750"/>
                    <a:gd name="connsiteY2" fmla="*/ 52116 h 304800"/>
                    <a:gd name="connsiteX3" fmla="*/ 151176 w 285750"/>
                    <a:gd name="connsiteY3" fmla="*/ 7348 h 304800"/>
                    <a:gd name="connsiteX4" fmla="*/ 195943 w 285750"/>
                    <a:gd name="connsiteY4" fmla="*/ 52116 h 304800"/>
                    <a:gd name="connsiteX5" fmla="*/ 151176 w 285750"/>
                    <a:gd name="connsiteY5" fmla="*/ 34971 h 304800"/>
                    <a:gd name="connsiteX6" fmla="*/ 134030 w 285750"/>
                    <a:gd name="connsiteY6" fmla="*/ 52116 h 304800"/>
                    <a:gd name="connsiteX7" fmla="*/ 151176 w 285750"/>
                    <a:gd name="connsiteY7" fmla="*/ 69261 h 304800"/>
                    <a:gd name="connsiteX8" fmla="*/ 168321 w 285750"/>
                    <a:gd name="connsiteY8" fmla="*/ 52116 h 304800"/>
                    <a:gd name="connsiteX9" fmla="*/ 151176 w 285750"/>
                    <a:gd name="connsiteY9" fmla="*/ 34971 h 304800"/>
                    <a:gd name="connsiteX10" fmla="*/ 52115 w 285750"/>
                    <a:gd name="connsiteY10" fmla="*/ 114981 h 304800"/>
                    <a:gd name="connsiteX11" fmla="*/ 7348 w 285750"/>
                    <a:gd name="connsiteY11" fmla="*/ 159748 h 304800"/>
                    <a:gd name="connsiteX12" fmla="*/ 52115 w 285750"/>
                    <a:gd name="connsiteY12" fmla="*/ 204516 h 304800"/>
                    <a:gd name="connsiteX13" fmla="*/ 96883 w 285750"/>
                    <a:gd name="connsiteY13" fmla="*/ 159748 h 304800"/>
                    <a:gd name="connsiteX14" fmla="*/ 52115 w 285750"/>
                    <a:gd name="connsiteY14" fmla="*/ 114981 h 304800"/>
                    <a:gd name="connsiteX15" fmla="*/ 52115 w 285750"/>
                    <a:gd name="connsiteY15" fmla="*/ 141651 h 304800"/>
                    <a:gd name="connsiteX16" fmla="*/ 34971 w 285750"/>
                    <a:gd name="connsiteY16" fmla="*/ 158796 h 304800"/>
                    <a:gd name="connsiteX17" fmla="*/ 52115 w 285750"/>
                    <a:gd name="connsiteY17" fmla="*/ 175941 h 304800"/>
                    <a:gd name="connsiteX18" fmla="*/ 69261 w 285750"/>
                    <a:gd name="connsiteY18" fmla="*/ 158796 h 304800"/>
                    <a:gd name="connsiteX19" fmla="*/ 52115 w 285750"/>
                    <a:gd name="connsiteY19" fmla="*/ 141651 h 304800"/>
                    <a:gd name="connsiteX20" fmla="*/ 240711 w 285750"/>
                    <a:gd name="connsiteY20" fmla="*/ 216898 h 304800"/>
                    <a:gd name="connsiteX21" fmla="*/ 195943 w 285750"/>
                    <a:gd name="connsiteY21" fmla="*/ 261666 h 304800"/>
                    <a:gd name="connsiteX22" fmla="*/ 240711 w 285750"/>
                    <a:gd name="connsiteY22" fmla="*/ 306433 h 304800"/>
                    <a:gd name="connsiteX23" fmla="*/ 285478 w 285750"/>
                    <a:gd name="connsiteY23" fmla="*/ 261666 h 304800"/>
                    <a:gd name="connsiteX24" fmla="*/ 240711 w 285750"/>
                    <a:gd name="connsiteY24" fmla="*/ 216898 h 304800"/>
                    <a:gd name="connsiteX25" fmla="*/ 240711 w 285750"/>
                    <a:gd name="connsiteY25" fmla="*/ 243568 h 304800"/>
                    <a:gd name="connsiteX26" fmla="*/ 223565 w 285750"/>
                    <a:gd name="connsiteY26" fmla="*/ 260713 h 304800"/>
                    <a:gd name="connsiteX27" fmla="*/ 240711 w 285750"/>
                    <a:gd name="connsiteY27" fmla="*/ 277858 h 304800"/>
                    <a:gd name="connsiteX28" fmla="*/ 257855 w 285750"/>
                    <a:gd name="connsiteY28" fmla="*/ 260713 h 304800"/>
                    <a:gd name="connsiteX29" fmla="*/ 240711 w 285750"/>
                    <a:gd name="connsiteY29" fmla="*/ 24356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5750" h="304800">
                      <a:moveTo>
                        <a:pt x="195943" y="52116"/>
                      </a:moveTo>
                      <a:cubicBezTo>
                        <a:pt x="195943" y="76881"/>
                        <a:pt x="175940" y="96883"/>
                        <a:pt x="151176" y="96883"/>
                      </a:cubicBezTo>
                      <a:cubicBezTo>
                        <a:pt x="126411" y="96883"/>
                        <a:pt x="106408" y="76881"/>
                        <a:pt x="106408" y="52116"/>
                      </a:cubicBezTo>
                      <a:cubicBezTo>
                        <a:pt x="106408" y="27351"/>
                        <a:pt x="126411" y="7348"/>
                        <a:pt x="151176" y="7348"/>
                      </a:cubicBezTo>
                      <a:cubicBezTo>
                        <a:pt x="175940" y="7348"/>
                        <a:pt x="195943" y="28303"/>
                        <a:pt x="195943" y="52116"/>
                      </a:cubicBezTo>
                      <a:close/>
                      <a:moveTo>
                        <a:pt x="151176" y="34971"/>
                      </a:moveTo>
                      <a:cubicBezTo>
                        <a:pt x="141651" y="34971"/>
                        <a:pt x="134030" y="42591"/>
                        <a:pt x="134030" y="52116"/>
                      </a:cubicBezTo>
                      <a:cubicBezTo>
                        <a:pt x="134030" y="61641"/>
                        <a:pt x="141651" y="69261"/>
                        <a:pt x="151176" y="69261"/>
                      </a:cubicBezTo>
                      <a:cubicBezTo>
                        <a:pt x="160701" y="69261"/>
                        <a:pt x="168321" y="61641"/>
                        <a:pt x="168321" y="52116"/>
                      </a:cubicBezTo>
                      <a:cubicBezTo>
                        <a:pt x="168321" y="42591"/>
                        <a:pt x="161653" y="34971"/>
                        <a:pt x="151176" y="34971"/>
                      </a:cubicBezTo>
                      <a:close/>
                      <a:moveTo>
                        <a:pt x="52115" y="114981"/>
                      </a:moveTo>
                      <a:cubicBezTo>
                        <a:pt x="27351" y="114981"/>
                        <a:pt x="7348" y="134983"/>
                        <a:pt x="7348" y="159748"/>
                      </a:cubicBezTo>
                      <a:cubicBezTo>
                        <a:pt x="7348" y="184513"/>
                        <a:pt x="27351" y="204516"/>
                        <a:pt x="52115" y="204516"/>
                      </a:cubicBezTo>
                      <a:cubicBezTo>
                        <a:pt x="76880" y="204516"/>
                        <a:pt x="96883" y="184513"/>
                        <a:pt x="96883" y="159748"/>
                      </a:cubicBezTo>
                      <a:cubicBezTo>
                        <a:pt x="96883" y="134983"/>
                        <a:pt x="76880" y="114981"/>
                        <a:pt x="52115" y="114981"/>
                      </a:cubicBezTo>
                      <a:close/>
                      <a:moveTo>
                        <a:pt x="52115" y="141651"/>
                      </a:moveTo>
                      <a:cubicBezTo>
                        <a:pt x="42590" y="141651"/>
                        <a:pt x="34971" y="149271"/>
                        <a:pt x="34971" y="158796"/>
                      </a:cubicBezTo>
                      <a:cubicBezTo>
                        <a:pt x="34971" y="168321"/>
                        <a:pt x="42590" y="175941"/>
                        <a:pt x="52115" y="175941"/>
                      </a:cubicBezTo>
                      <a:cubicBezTo>
                        <a:pt x="61640" y="175941"/>
                        <a:pt x="69261" y="168321"/>
                        <a:pt x="69261" y="158796"/>
                      </a:cubicBezTo>
                      <a:cubicBezTo>
                        <a:pt x="69261" y="149271"/>
                        <a:pt x="61640" y="141651"/>
                        <a:pt x="52115" y="141651"/>
                      </a:cubicBezTo>
                      <a:close/>
                      <a:moveTo>
                        <a:pt x="240711" y="216898"/>
                      </a:moveTo>
                      <a:cubicBezTo>
                        <a:pt x="215946" y="216898"/>
                        <a:pt x="195943" y="236901"/>
                        <a:pt x="195943" y="261666"/>
                      </a:cubicBezTo>
                      <a:cubicBezTo>
                        <a:pt x="195943" y="286431"/>
                        <a:pt x="215946" y="306433"/>
                        <a:pt x="240711" y="306433"/>
                      </a:cubicBezTo>
                      <a:cubicBezTo>
                        <a:pt x="265476" y="306433"/>
                        <a:pt x="285478" y="286431"/>
                        <a:pt x="285478" y="261666"/>
                      </a:cubicBezTo>
                      <a:cubicBezTo>
                        <a:pt x="285478" y="236901"/>
                        <a:pt x="264523" y="216898"/>
                        <a:pt x="240711" y="216898"/>
                      </a:cubicBezTo>
                      <a:close/>
                      <a:moveTo>
                        <a:pt x="240711" y="243568"/>
                      </a:moveTo>
                      <a:cubicBezTo>
                        <a:pt x="231186" y="243568"/>
                        <a:pt x="223565" y="251188"/>
                        <a:pt x="223565" y="260713"/>
                      </a:cubicBezTo>
                      <a:cubicBezTo>
                        <a:pt x="223565" y="270238"/>
                        <a:pt x="231186" y="277858"/>
                        <a:pt x="240711" y="277858"/>
                      </a:cubicBezTo>
                      <a:cubicBezTo>
                        <a:pt x="250236" y="277858"/>
                        <a:pt x="257855" y="270238"/>
                        <a:pt x="257855" y="260713"/>
                      </a:cubicBezTo>
                      <a:cubicBezTo>
                        <a:pt x="257855" y="251188"/>
                        <a:pt x="250236" y="243568"/>
                        <a:pt x="240711" y="24356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3" name="Group 2">
            <a:extLst>
              <a:ext uri="{FF2B5EF4-FFF2-40B4-BE49-F238E27FC236}">
                <a16:creationId xmlns:a16="http://schemas.microsoft.com/office/drawing/2014/main" id="{AEF7027A-36F2-417E-B1DF-F0F6120479EC}"/>
              </a:ext>
            </a:extLst>
          </p:cNvPr>
          <p:cNvGrpSpPr/>
          <p:nvPr/>
        </p:nvGrpSpPr>
        <p:grpSpPr>
          <a:xfrm>
            <a:off x="6345757" y="2205361"/>
            <a:ext cx="5757343" cy="3526776"/>
            <a:chOff x="6193357" y="2205361"/>
            <a:chExt cx="6345836" cy="3887269"/>
          </a:xfrm>
        </p:grpSpPr>
        <p:sp>
          <p:nvSpPr>
            <p:cNvPr id="41" name="Freeform: Shape 40">
              <a:extLst>
                <a:ext uri="{FF2B5EF4-FFF2-40B4-BE49-F238E27FC236}">
                  <a16:creationId xmlns:a16="http://schemas.microsoft.com/office/drawing/2014/main" id="{E552F4D9-393A-4742-AF89-931F530B53C8}"/>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5" name="Picture 44">
              <a:extLst>
                <a:ext uri="{FF2B5EF4-FFF2-40B4-BE49-F238E27FC236}">
                  <a16:creationId xmlns:a16="http://schemas.microsoft.com/office/drawing/2014/main" id="{62C74AB3-EFD2-40A4-B605-25AEF686C98F}"/>
                </a:ext>
              </a:extLst>
            </p:cNvPr>
            <p:cNvPicPr>
              <a:picLocks noChangeAspect="1"/>
            </p:cNvPicPr>
            <p:nvPr/>
          </p:nvPicPr>
          <p:blipFill rotWithShape="1">
            <a:blip r:embed="rId3"/>
            <a:srcRect l="429" t="1352" r="674" b="11210"/>
            <a:stretch/>
          </p:blipFill>
          <p:spPr>
            <a:xfrm>
              <a:off x="6371193" y="2382522"/>
              <a:ext cx="5940336" cy="3517212"/>
            </a:xfrm>
            <a:custGeom>
              <a:avLst/>
              <a:gdLst>
                <a:gd name="connsiteX0" fmla="*/ 0 w 5940336"/>
                <a:gd name="connsiteY0" fmla="*/ 0 h 3501473"/>
                <a:gd name="connsiteX1" fmla="*/ 5940336 w 5940336"/>
                <a:gd name="connsiteY1" fmla="*/ 0 h 3501473"/>
                <a:gd name="connsiteX2" fmla="*/ 5940336 w 5940336"/>
                <a:gd name="connsiteY2" fmla="*/ 3501473 h 3501473"/>
                <a:gd name="connsiteX3" fmla="*/ 0 w 5940336"/>
                <a:gd name="connsiteY3" fmla="*/ 3501473 h 3501473"/>
              </a:gdLst>
              <a:ahLst/>
              <a:cxnLst>
                <a:cxn ang="0">
                  <a:pos x="connsiteX0" y="connsiteY0"/>
                </a:cxn>
                <a:cxn ang="0">
                  <a:pos x="connsiteX1" y="connsiteY1"/>
                </a:cxn>
                <a:cxn ang="0">
                  <a:pos x="connsiteX2" y="connsiteY2"/>
                </a:cxn>
                <a:cxn ang="0">
                  <a:pos x="connsiteX3" y="connsiteY3"/>
                </a:cxn>
              </a:cxnLst>
              <a:rect l="l" t="t" r="r" b="b"/>
              <a:pathLst>
                <a:path w="5940336" h="3501473">
                  <a:moveTo>
                    <a:pt x="0" y="0"/>
                  </a:moveTo>
                  <a:lnTo>
                    <a:pt x="5940336" y="0"/>
                  </a:lnTo>
                  <a:lnTo>
                    <a:pt x="5940336" y="3501473"/>
                  </a:lnTo>
                  <a:lnTo>
                    <a:pt x="0" y="3501473"/>
                  </a:lnTo>
                  <a:close/>
                </a:path>
              </a:pathLst>
            </a:custGeom>
          </p:spPr>
        </p:pic>
      </p:grpSp>
    </p:spTree>
    <p:extLst>
      <p:ext uri="{BB962C8B-B14F-4D97-AF65-F5344CB8AC3E}">
        <p14:creationId xmlns:p14="http://schemas.microsoft.com/office/powerpoint/2010/main" val="1489951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42" presetClass="path" presetSubtype="0" decel="100000" fill="hold" nodeType="withEffect">
                                  <p:stCondLst>
                                    <p:cond delay="0"/>
                                  </p:stCondLst>
                                  <p:childTnLst>
                                    <p:animMotion origin="layout" path="M 1.45833E-6 -1.11111E-6 L -0.03451 -0.00092 " pathEditMode="relative" rAng="0" ptsTypes="AA">
                                      <p:cBhvr>
                                        <p:cTn id="17" dur="700" spd="-100000" fill="hold"/>
                                        <p:tgtEl>
                                          <p:spTgt spid="6"/>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0D290-5178-48D6-A739-35B702254CBC}"/>
              </a:ext>
            </a:extLst>
          </p:cNvPr>
          <p:cNvSpPr>
            <a:spLocks noGrp="1"/>
          </p:cNvSpPr>
          <p:nvPr>
            <p:ph type="title"/>
          </p:nvPr>
        </p:nvSpPr>
        <p:spPr/>
        <p:txBody>
          <a:bodyPr/>
          <a:lstStyle/>
          <a:p>
            <a:r>
              <a:rPr lang="en-US"/>
              <a:t>Add Conversational trigger phrases</a:t>
            </a:r>
          </a:p>
        </p:txBody>
      </p:sp>
      <p:sp>
        <p:nvSpPr>
          <p:cNvPr id="9" name="Freeform: Shape 8">
            <a:extLst>
              <a:ext uri="{FF2B5EF4-FFF2-40B4-BE49-F238E27FC236}">
                <a16:creationId xmlns:a16="http://schemas.microsoft.com/office/drawing/2014/main" id="{A3FF6816-B22D-46AB-8FBC-4F46340782EF}"/>
              </a:ext>
            </a:extLst>
          </p:cNvPr>
          <p:cNvSpPr/>
          <p:nvPr/>
        </p:nvSpPr>
        <p:spPr bwMode="auto">
          <a:xfrm>
            <a:off x="0" y="1503486"/>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5" name="Group 4">
            <a:extLst>
              <a:ext uri="{FF2B5EF4-FFF2-40B4-BE49-F238E27FC236}">
                <a16:creationId xmlns:a16="http://schemas.microsoft.com/office/drawing/2014/main" id="{1D25BB9F-4F00-4BAD-A835-1CDE8359907A}"/>
              </a:ext>
            </a:extLst>
          </p:cNvPr>
          <p:cNvGrpSpPr/>
          <p:nvPr/>
        </p:nvGrpSpPr>
        <p:grpSpPr>
          <a:xfrm>
            <a:off x="549645" y="1746556"/>
            <a:ext cx="6517456" cy="4796232"/>
            <a:chOff x="549645" y="1746556"/>
            <a:chExt cx="6517456" cy="3863617"/>
          </a:xfrm>
        </p:grpSpPr>
        <p:sp>
          <p:nvSpPr>
            <p:cNvPr id="10" name="Text Placeholder 1">
              <a:extLst>
                <a:ext uri="{FF2B5EF4-FFF2-40B4-BE49-F238E27FC236}">
                  <a16:creationId xmlns:a16="http://schemas.microsoft.com/office/drawing/2014/main" id="{4257F308-FD32-4233-8F4F-E05956A99834}"/>
                </a:ext>
              </a:extLst>
            </p:cNvPr>
            <p:cNvSpPr txBox="1">
              <a:spLocks/>
            </p:cNvSpPr>
            <p:nvPr/>
          </p:nvSpPr>
          <p:spPr>
            <a:xfrm>
              <a:off x="1375929" y="1746556"/>
              <a:ext cx="4161272"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For a topic you’ll define a few trigger phrases</a:t>
              </a:r>
            </a:p>
          </p:txBody>
        </p:sp>
        <p:sp>
          <p:nvSpPr>
            <p:cNvPr id="11" name="Text Placeholder 1">
              <a:extLst>
                <a:ext uri="{FF2B5EF4-FFF2-40B4-BE49-F238E27FC236}">
                  <a16:creationId xmlns:a16="http://schemas.microsoft.com/office/drawing/2014/main" id="{C23C4C06-FC43-4364-AD6D-8F9BDA31158E}"/>
                </a:ext>
              </a:extLst>
            </p:cNvPr>
            <p:cNvSpPr txBox="1">
              <a:spLocks/>
            </p:cNvSpPr>
            <p:nvPr/>
          </p:nvSpPr>
          <p:spPr>
            <a:xfrm>
              <a:off x="1375928" y="2798670"/>
              <a:ext cx="4540885"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A trigger phrase is a way to describe an intent, it captures the way a customer might ask about a problem/issue. E.g., “problem with weeds in lawn” </a:t>
              </a:r>
            </a:p>
          </p:txBody>
        </p:sp>
        <p:cxnSp>
          <p:nvCxnSpPr>
            <p:cNvPr id="12" name="Straight Connector 11">
              <a:extLst>
                <a:ext uri="{FF2B5EF4-FFF2-40B4-BE49-F238E27FC236}">
                  <a16:creationId xmlns:a16="http://schemas.microsoft.com/office/drawing/2014/main" id="{595BBB3F-CB08-44A7-B2C1-D0DE3657B670}"/>
                </a:ext>
              </a:extLst>
            </p:cNvPr>
            <p:cNvCxnSpPr/>
            <p:nvPr/>
          </p:nvCxnSpPr>
          <p:spPr>
            <a:xfrm>
              <a:off x="1375928" y="267932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1">
              <a:extLst>
                <a:ext uri="{FF2B5EF4-FFF2-40B4-BE49-F238E27FC236}">
                  <a16:creationId xmlns:a16="http://schemas.microsoft.com/office/drawing/2014/main" id="{0B1022F9-0555-4B36-AB8D-A97270972133}"/>
                </a:ext>
              </a:extLst>
            </p:cNvPr>
            <p:cNvSpPr txBox="1">
              <a:spLocks/>
            </p:cNvSpPr>
            <p:nvPr/>
          </p:nvSpPr>
          <p:spPr>
            <a:xfrm>
              <a:off x="1375928" y="4677406"/>
              <a:ext cx="4763279"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You only need to provide a few sample phrases – the AI will parse whatever the user says and trigger the topic closest in meaning to the user utterance </a:t>
              </a:r>
            </a:p>
          </p:txBody>
        </p:sp>
        <p:cxnSp>
          <p:nvCxnSpPr>
            <p:cNvPr id="29" name="Straight Connector 28">
              <a:extLst>
                <a:ext uri="{FF2B5EF4-FFF2-40B4-BE49-F238E27FC236}">
                  <a16:creationId xmlns:a16="http://schemas.microsoft.com/office/drawing/2014/main" id="{F998182F-8D61-48BD-9A8C-B30CBDA1703C}"/>
                </a:ext>
              </a:extLst>
            </p:cNvPr>
            <p:cNvCxnSpPr/>
            <p:nvPr/>
          </p:nvCxnSpPr>
          <p:spPr>
            <a:xfrm>
              <a:off x="1375928" y="442174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9961437-1B8C-441A-BAAD-AB46A3B4F6AC}"/>
                </a:ext>
              </a:extLst>
            </p:cNvPr>
            <p:cNvCxnSpPr/>
            <p:nvPr/>
          </p:nvCxnSpPr>
          <p:spPr>
            <a:xfrm>
              <a:off x="1375928" y="561017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09804549-0910-4D33-904D-22DF95991AB6}"/>
                </a:ext>
              </a:extLst>
            </p:cNvPr>
            <p:cNvGrpSpPr/>
            <p:nvPr/>
          </p:nvGrpSpPr>
          <p:grpSpPr>
            <a:xfrm>
              <a:off x="549647" y="1824655"/>
              <a:ext cx="524178" cy="520910"/>
              <a:chOff x="8800729" y="3349889"/>
              <a:chExt cx="305759" cy="303854"/>
            </a:xfrm>
          </p:grpSpPr>
          <p:sp>
            <p:nvSpPr>
              <p:cNvPr id="32" name="Freeform: Shape 31">
                <a:extLst>
                  <a:ext uri="{FF2B5EF4-FFF2-40B4-BE49-F238E27FC236}">
                    <a16:creationId xmlns:a16="http://schemas.microsoft.com/office/drawing/2014/main" id="{D55D060E-B3D6-4D5A-A605-33E49DA75FAE}"/>
                  </a:ext>
                </a:extLst>
              </p:cNvPr>
              <p:cNvSpPr/>
              <p:nvPr/>
            </p:nvSpPr>
            <p:spPr>
              <a:xfrm>
                <a:off x="8800729" y="3349889"/>
                <a:ext cx="209550" cy="238125"/>
              </a:xfrm>
              <a:custGeom>
                <a:avLst/>
                <a:gdLst>
                  <a:gd name="connsiteX0" fmla="*/ 98795 w 209550"/>
                  <a:gd name="connsiteY0" fmla="*/ 238813 h 238125"/>
                  <a:gd name="connsiteX1" fmla="*/ 7355 w 209550"/>
                  <a:gd name="connsiteY1" fmla="*/ 238813 h 238125"/>
                  <a:gd name="connsiteX2" fmla="*/ 7355 w 209550"/>
                  <a:gd name="connsiteY2" fmla="*/ 7355 h 238125"/>
                  <a:gd name="connsiteX3" fmla="*/ 211190 w 209550"/>
                  <a:gd name="connsiteY3" fmla="*/ 7355 h 238125"/>
                  <a:gd name="connsiteX4" fmla="*/ 211190 w 209550"/>
                  <a:gd name="connsiteY4" fmla="*/ 7974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38125">
                    <a:moveTo>
                      <a:pt x="98795" y="238813"/>
                    </a:moveTo>
                    <a:lnTo>
                      <a:pt x="7355" y="238813"/>
                    </a:lnTo>
                    <a:lnTo>
                      <a:pt x="7355" y="7355"/>
                    </a:lnTo>
                    <a:lnTo>
                      <a:pt x="211190" y="7355"/>
                    </a:lnTo>
                    <a:lnTo>
                      <a:pt x="211190" y="7974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9A55D111-405C-45CD-98D4-0839C1F9D2CB}"/>
                  </a:ext>
                </a:extLst>
              </p:cNvPr>
              <p:cNvSpPr/>
              <p:nvPr/>
            </p:nvSpPr>
            <p:spPr>
              <a:xfrm>
                <a:off x="8825494" y="3382274"/>
                <a:ext cx="161925" cy="171450"/>
              </a:xfrm>
              <a:custGeom>
                <a:avLst/>
                <a:gdLst>
                  <a:gd name="connsiteX0" fmla="*/ 38788 w 161925"/>
                  <a:gd name="connsiteY0" fmla="*/ 7355 h 171450"/>
                  <a:gd name="connsiteX1" fmla="*/ 129275 w 161925"/>
                  <a:gd name="connsiteY1" fmla="*/ 7355 h 171450"/>
                  <a:gd name="connsiteX2" fmla="*/ 7355 w 161925"/>
                  <a:gd name="connsiteY2" fmla="*/ 34025 h 171450"/>
                  <a:gd name="connsiteX3" fmla="*/ 161660 w 161925"/>
                  <a:gd name="connsiteY3" fmla="*/ 34025 h 171450"/>
                  <a:gd name="connsiteX4" fmla="*/ 7355 w 161925"/>
                  <a:gd name="connsiteY4" fmla="*/ 61648 h 171450"/>
                  <a:gd name="connsiteX5" fmla="*/ 92128 w 161925"/>
                  <a:gd name="connsiteY5" fmla="*/ 61648 h 171450"/>
                  <a:gd name="connsiteX6" fmla="*/ 7355 w 161925"/>
                  <a:gd name="connsiteY6" fmla="*/ 88318 h 171450"/>
                  <a:gd name="connsiteX7" fmla="*/ 67363 w 161925"/>
                  <a:gd name="connsiteY7" fmla="*/ 88318 h 171450"/>
                  <a:gd name="connsiteX8" fmla="*/ 7355 w 161925"/>
                  <a:gd name="connsiteY8" fmla="*/ 115940 h 171450"/>
                  <a:gd name="connsiteX9" fmla="*/ 54980 w 161925"/>
                  <a:gd name="connsiteY9" fmla="*/ 115940 h 171450"/>
                  <a:gd name="connsiteX10" fmla="*/ 7355 w 161925"/>
                  <a:gd name="connsiteY10" fmla="*/ 142610 h 171450"/>
                  <a:gd name="connsiteX11" fmla="*/ 54980 w 161925"/>
                  <a:gd name="connsiteY11" fmla="*/ 142610 h 171450"/>
                  <a:gd name="connsiteX12" fmla="*/ 7355 w 161925"/>
                  <a:gd name="connsiteY12" fmla="*/ 169280 h 171450"/>
                  <a:gd name="connsiteX13" fmla="*/ 54028 w 161925"/>
                  <a:gd name="connsiteY13" fmla="*/ 16928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925" h="171450">
                    <a:moveTo>
                      <a:pt x="38788" y="7355"/>
                    </a:moveTo>
                    <a:lnTo>
                      <a:pt x="129275" y="7355"/>
                    </a:lnTo>
                    <a:moveTo>
                      <a:pt x="7355" y="34025"/>
                    </a:moveTo>
                    <a:lnTo>
                      <a:pt x="161660" y="34025"/>
                    </a:lnTo>
                    <a:moveTo>
                      <a:pt x="7355" y="61648"/>
                    </a:moveTo>
                    <a:lnTo>
                      <a:pt x="92128" y="61648"/>
                    </a:lnTo>
                    <a:moveTo>
                      <a:pt x="7355" y="88318"/>
                    </a:moveTo>
                    <a:lnTo>
                      <a:pt x="67363" y="88318"/>
                    </a:lnTo>
                    <a:moveTo>
                      <a:pt x="7355" y="115940"/>
                    </a:moveTo>
                    <a:lnTo>
                      <a:pt x="54980" y="115940"/>
                    </a:lnTo>
                    <a:moveTo>
                      <a:pt x="7355" y="142610"/>
                    </a:moveTo>
                    <a:lnTo>
                      <a:pt x="54980" y="142610"/>
                    </a:lnTo>
                    <a:moveTo>
                      <a:pt x="7355" y="169280"/>
                    </a:moveTo>
                    <a:lnTo>
                      <a:pt x="54028" y="16928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283E7578-0866-4300-A0C3-DAF6CA6A14DD}"/>
                  </a:ext>
                </a:extLst>
              </p:cNvPr>
              <p:cNvSpPr/>
              <p:nvPr/>
            </p:nvSpPr>
            <p:spPr>
              <a:xfrm>
                <a:off x="8892176" y="3435621"/>
                <a:ext cx="171450" cy="171450"/>
              </a:xfrm>
              <a:custGeom>
                <a:avLst/>
                <a:gdLst>
                  <a:gd name="connsiteX0" fmla="*/ 169273 w 171450"/>
                  <a:gd name="connsiteY0" fmla="*/ 88311 h 171450"/>
                  <a:gd name="connsiteX1" fmla="*/ 88311 w 171450"/>
                  <a:gd name="connsiteY1" fmla="*/ 169273 h 171450"/>
                  <a:gd name="connsiteX2" fmla="*/ 7348 w 171450"/>
                  <a:gd name="connsiteY2" fmla="*/ 88311 h 171450"/>
                  <a:gd name="connsiteX3" fmla="*/ 88311 w 171450"/>
                  <a:gd name="connsiteY3" fmla="*/ 7348 h 171450"/>
                  <a:gd name="connsiteX4" fmla="*/ 169273 w 171450"/>
                  <a:gd name="connsiteY4" fmla="*/ 88311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69273" y="88311"/>
                    </a:moveTo>
                    <a:cubicBezTo>
                      <a:pt x="169273" y="133025"/>
                      <a:pt x="133025" y="169273"/>
                      <a:pt x="88311" y="169273"/>
                    </a:cubicBezTo>
                    <a:cubicBezTo>
                      <a:pt x="43596" y="169273"/>
                      <a:pt x="7348" y="133025"/>
                      <a:pt x="7348" y="88311"/>
                    </a:cubicBezTo>
                    <a:cubicBezTo>
                      <a:pt x="7348" y="43596"/>
                      <a:pt x="43596" y="7348"/>
                      <a:pt x="88311" y="7348"/>
                    </a:cubicBezTo>
                    <a:cubicBezTo>
                      <a:pt x="133025" y="7348"/>
                      <a:pt x="169273" y="43596"/>
                      <a:pt x="169273" y="8831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5" name="Freeform: Shape 34">
                <a:extLst>
                  <a:ext uri="{FF2B5EF4-FFF2-40B4-BE49-F238E27FC236}">
                    <a16:creationId xmlns:a16="http://schemas.microsoft.com/office/drawing/2014/main" id="{F3E7B104-08F8-4372-BCED-30BEDBDA600A}"/>
                  </a:ext>
                </a:extLst>
              </p:cNvPr>
              <p:cNvSpPr/>
              <p:nvPr/>
            </p:nvSpPr>
            <p:spPr>
              <a:xfrm>
                <a:off x="9030288" y="3577543"/>
                <a:ext cx="76200" cy="76200"/>
              </a:xfrm>
              <a:custGeom>
                <a:avLst/>
                <a:gdLst>
                  <a:gd name="connsiteX0" fmla="*/ 70213 w 76200"/>
                  <a:gd name="connsiteY0" fmla="*/ 76881 h 76200"/>
                  <a:gd name="connsiteX1" fmla="*/ 7348 w 76200"/>
                  <a:gd name="connsiteY1" fmla="*/ 7348 h 76200"/>
                </a:gdLst>
                <a:ahLst/>
                <a:cxnLst>
                  <a:cxn ang="0">
                    <a:pos x="connsiteX0" y="connsiteY0"/>
                  </a:cxn>
                  <a:cxn ang="0">
                    <a:pos x="connsiteX1" y="connsiteY1"/>
                  </a:cxn>
                </a:cxnLst>
                <a:rect l="l" t="t" r="r" b="b"/>
                <a:pathLst>
                  <a:path w="76200" h="76200">
                    <a:moveTo>
                      <a:pt x="70213" y="76881"/>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36" name="Group 4">
              <a:extLst>
                <a:ext uri="{FF2B5EF4-FFF2-40B4-BE49-F238E27FC236}">
                  <a16:creationId xmlns:a16="http://schemas.microsoft.com/office/drawing/2014/main" id="{188EB603-9CE7-478E-A179-A7CFAA1FD42A}"/>
                </a:ext>
              </a:extLst>
            </p:cNvPr>
            <p:cNvGrpSpPr>
              <a:grpSpLocks noChangeAspect="1"/>
            </p:cNvGrpSpPr>
            <p:nvPr/>
          </p:nvGrpSpPr>
          <p:grpSpPr bwMode="auto">
            <a:xfrm>
              <a:off x="549645" y="3324525"/>
              <a:ext cx="524180" cy="452020"/>
              <a:chOff x="2007" y="2786"/>
              <a:chExt cx="879" cy="758"/>
            </a:xfrm>
            <a:noFill/>
          </p:grpSpPr>
          <p:sp>
            <p:nvSpPr>
              <p:cNvPr id="37" name="Freeform 5">
                <a:extLst>
                  <a:ext uri="{FF2B5EF4-FFF2-40B4-BE49-F238E27FC236}">
                    <a16:creationId xmlns:a16="http://schemas.microsoft.com/office/drawing/2014/main" id="{6E778D4A-AC19-43BE-8E5E-670078620F7C}"/>
                  </a:ext>
                </a:extLst>
              </p:cNvPr>
              <p:cNvSpPr>
                <a:spLocks/>
              </p:cNvSpPr>
              <p:nvPr/>
            </p:nvSpPr>
            <p:spPr bwMode="auto">
              <a:xfrm>
                <a:off x="2007" y="2786"/>
                <a:ext cx="879" cy="758"/>
              </a:xfrm>
              <a:custGeom>
                <a:avLst/>
                <a:gdLst>
                  <a:gd name="T0" fmla="*/ 322 w 645"/>
                  <a:gd name="T1" fmla="*/ 558 h 558"/>
                  <a:gd name="T2" fmla="*/ 27 w 645"/>
                  <a:gd name="T3" fmla="*/ 558 h 558"/>
                  <a:gd name="T4" fmla="*/ 8 w 645"/>
                  <a:gd name="T5" fmla="*/ 526 h 558"/>
                  <a:gd name="T6" fmla="*/ 156 w 645"/>
                  <a:gd name="T7" fmla="*/ 270 h 558"/>
                  <a:gd name="T8" fmla="*/ 304 w 645"/>
                  <a:gd name="T9" fmla="*/ 14 h 558"/>
                  <a:gd name="T10" fmla="*/ 341 w 645"/>
                  <a:gd name="T11" fmla="*/ 14 h 558"/>
                  <a:gd name="T12" fmla="*/ 489 w 645"/>
                  <a:gd name="T13" fmla="*/ 270 h 558"/>
                  <a:gd name="T14" fmla="*/ 637 w 645"/>
                  <a:gd name="T15" fmla="*/ 526 h 558"/>
                  <a:gd name="T16" fmla="*/ 618 w 645"/>
                  <a:gd name="T17" fmla="*/ 558 h 558"/>
                  <a:gd name="T18" fmla="*/ 322 w 645"/>
                  <a:gd name="T19"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5" h="558">
                    <a:moveTo>
                      <a:pt x="322" y="558"/>
                    </a:moveTo>
                    <a:cubicBezTo>
                      <a:pt x="27" y="558"/>
                      <a:pt x="27" y="558"/>
                      <a:pt x="27" y="558"/>
                    </a:cubicBezTo>
                    <a:cubicBezTo>
                      <a:pt x="10" y="558"/>
                      <a:pt x="0" y="540"/>
                      <a:pt x="8" y="526"/>
                    </a:cubicBezTo>
                    <a:cubicBezTo>
                      <a:pt x="156" y="270"/>
                      <a:pt x="156" y="270"/>
                      <a:pt x="156" y="270"/>
                    </a:cubicBezTo>
                    <a:cubicBezTo>
                      <a:pt x="304" y="14"/>
                      <a:pt x="304" y="14"/>
                      <a:pt x="304" y="14"/>
                    </a:cubicBezTo>
                    <a:cubicBezTo>
                      <a:pt x="312" y="0"/>
                      <a:pt x="333" y="0"/>
                      <a:pt x="341" y="14"/>
                    </a:cubicBezTo>
                    <a:cubicBezTo>
                      <a:pt x="489" y="270"/>
                      <a:pt x="489" y="270"/>
                      <a:pt x="489" y="270"/>
                    </a:cubicBezTo>
                    <a:cubicBezTo>
                      <a:pt x="637" y="526"/>
                      <a:pt x="637" y="526"/>
                      <a:pt x="637" y="526"/>
                    </a:cubicBezTo>
                    <a:cubicBezTo>
                      <a:pt x="645" y="540"/>
                      <a:pt x="634" y="558"/>
                      <a:pt x="618" y="558"/>
                    </a:cubicBezTo>
                    <a:lnTo>
                      <a:pt x="322" y="55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sz="900">
                  <a:gradFill>
                    <a:gsLst>
                      <a:gs pos="0">
                        <a:srgbClr val="505050"/>
                      </a:gs>
                      <a:gs pos="100000">
                        <a:srgbClr val="505050"/>
                      </a:gs>
                    </a:gsLst>
                    <a:lin ang="5400000" scaled="1"/>
                  </a:gradFill>
                </a:endParaRPr>
              </a:p>
            </p:txBody>
          </p:sp>
          <p:sp>
            <p:nvSpPr>
              <p:cNvPr id="38" name="Line 6">
                <a:extLst>
                  <a:ext uri="{FF2B5EF4-FFF2-40B4-BE49-F238E27FC236}">
                    <a16:creationId xmlns:a16="http://schemas.microsoft.com/office/drawing/2014/main" id="{94353796-CDB5-49E1-B1B8-47D645699DFA}"/>
                  </a:ext>
                </a:extLst>
              </p:cNvPr>
              <p:cNvSpPr>
                <a:spLocks noChangeShapeType="1"/>
              </p:cNvSpPr>
              <p:nvPr/>
            </p:nvSpPr>
            <p:spPr bwMode="auto">
              <a:xfrm flipV="1">
                <a:off x="2446" y="2984"/>
                <a:ext cx="0" cy="286"/>
              </a:xfrm>
              <a:prstGeom prst="line">
                <a:avLst/>
              </a:pr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sz="900">
                  <a:gradFill>
                    <a:gsLst>
                      <a:gs pos="0">
                        <a:srgbClr val="505050"/>
                      </a:gs>
                      <a:gs pos="100000">
                        <a:srgbClr val="505050"/>
                      </a:gs>
                    </a:gsLst>
                    <a:lin ang="5400000" scaled="1"/>
                  </a:gradFill>
                </a:endParaRPr>
              </a:p>
            </p:txBody>
          </p:sp>
          <p:sp>
            <p:nvSpPr>
              <p:cNvPr id="39" name="Line 7">
                <a:extLst>
                  <a:ext uri="{FF2B5EF4-FFF2-40B4-BE49-F238E27FC236}">
                    <a16:creationId xmlns:a16="http://schemas.microsoft.com/office/drawing/2014/main" id="{831DD64C-2FF3-4752-AA34-F481464869EE}"/>
                  </a:ext>
                </a:extLst>
              </p:cNvPr>
              <p:cNvSpPr>
                <a:spLocks noChangeShapeType="1"/>
              </p:cNvSpPr>
              <p:nvPr/>
            </p:nvSpPr>
            <p:spPr bwMode="auto">
              <a:xfrm flipV="1">
                <a:off x="2446" y="3331"/>
                <a:ext cx="0" cy="57"/>
              </a:xfrm>
              <a:prstGeom prst="line">
                <a:avLst/>
              </a:pr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sz="900">
                  <a:gradFill>
                    <a:gsLst>
                      <a:gs pos="0">
                        <a:srgbClr val="505050"/>
                      </a:gs>
                      <a:gs pos="100000">
                        <a:srgbClr val="505050"/>
                      </a:gs>
                    </a:gsLst>
                    <a:lin ang="5400000" scaled="1"/>
                  </a:gradFill>
                </a:endParaRPr>
              </a:p>
            </p:txBody>
          </p:sp>
        </p:grpSp>
        <p:sp>
          <p:nvSpPr>
            <p:cNvPr id="40" name="transform_2" title="Icon of a circle and a square with a curved arrow between them">
              <a:extLst>
                <a:ext uri="{FF2B5EF4-FFF2-40B4-BE49-F238E27FC236}">
                  <a16:creationId xmlns:a16="http://schemas.microsoft.com/office/drawing/2014/main" id="{22F1A098-785B-4610-9FEE-8A22CE98567D}"/>
                </a:ext>
              </a:extLst>
            </p:cNvPr>
            <p:cNvSpPr>
              <a:spLocks noChangeAspect="1" noEditPoints="1"/>
            </p:cNvSpPr>
            <p:nvPr/>
          </p:nvSpPr>
          <p:spPr bwMode="auto">
            <a:xfrm>
              <a:off x="570654" y="4792663"/>
              <a:ext cx="482164" cy="446594"/>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3" name="Group 2">
            <a:extLst>
              <a:ext uri="{FF2B5EF4-FFF2-40B4-BE49-F238E27FC236}">
                <a16:creationId xmlns:a16="http://schemas.microsoft.com/office/drawing/2014/main" id="{C87A6E3C-EE5E-4137-9B38-1E28374B5E22}"/>
              </a:ext>
            </a:extLst>
          </p:cNvPr>
          <p:cNvGrpSpPr/>
          <p:nvPr/>
        </p:nvGrpSpPr>
        <p:grpSpPr>
          <a:xfrm>
            <a:off x="6345757" y="2205361"/>
            <a:ext cx="5757343" cy="3526776"/>
            <a:chOff x="6193357" y="2205361"/>
            <a:chExt cx="6345836" cy="3887269"/>
          </a:xfrm>
        </p:grpSpPr>
        <p:sp>
          <p:nvSpPr>
            <p:cNvPr id="13" name="Freeform: Shape 12">
              <a:extLst>
                <a:ext uri="{FF2B5EF4-FFF2-40B4-BE49-F238E27FC236}">
                  <a16:creationId xmlns:a16="http://schemas.microsoft.com/office/drawing/2014/main" id="{FF92A8F4-3F96-41A6-ABD4-84EB1F97A0AB}"/>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4" name="Picture 23">
              <a:extLst>
                <a:ext uri="{FF2B5EF4-FFF2-40B4-BE49-F238E27FC236}">
                  <a16:creationId xmlns:a16="http://schemas.microsoft.com/office/drawing/2014/main" id="{820283A3-2B3F-4467-8DF9-591EA464651F}"/>
                </a:ext>
              </a:extLst>
            </p:cNvPr>
            <p:cNvPicPr>
              <a:picLocks noChangeAspect="1"/>
            </p:cNvPicPr>
            <p:nvPr/>
          </p:nvPicPr>
          <p:blipFill rotWithShape="1">
            <a:blip r:embed="rId3"/>
            <a:srcRect l="-1" r="261" b="11819"/>
            <a:stretch/>
          </p:blipFill>
          <p:spPr>
            <a:xfrm>
              <a:off x="6371195" y="2382521"/>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grpSp>
    </p:spTree>
    <p:extLst>
      <p:ext uri="{BB962C8B-B14F-4D97-AF65-F5344CB8AC3E}">
        <p14:creationId xmlns:p14="http://schemas.microsoft.com/office/powerpoint/2010/main" val="35290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42" presetClass="path" presetSubtype="0" decel="100000" fill="hold" nodeType="withEffect">
                                  <p:stCondLst>
                                    <p:cond delay="0"/>
                                  </p:stCondLst>
                                  <p:childTnLst>
                                    <p:animMotion origin="layout" path="M 1.45833E-6 1.11111E-6 L -0.03451 -0.00093 " pathEditMode="relative" rAng="0" ptsTypes="AA">
                                      <p:cBhvr>
                                        <p:cTn id="17" dur="700" spd="-100000" fill="hold"/>
                                        <p:tgtEl>
                                          <p:spTgt spid="5"/>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2521112226"/>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b="1" kern="1200">
                          <a:solidFill>
                            <a:schemeClr val="bg1"/>
                          </a:solidFill>
                        </a:rPr>
                        <a:t>1</a:t>
                      </a:r>
                      <a:endParaRPr lang="en-US" sz="1100" b="1" kern="1200">
                        <a:solidFill>
                          <a:schemeClr val="bg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0B556A"/>
                    </a:solidFill>
                  </a:tcPr>
                </a:tc>
                <a:tc>
                  <a:txBody>
                    <a:bodyPr/>
                    <a:lstStyle/>
                    <a:p>
                      <a:r>
                        <a:rPr lang="en-US" sz="1100" b="1" kern="1200">
                          <a:solidFill>
                            <a:schemeClr val="bg1"/>
                          </a:solidFill>
                        </a:rPr>
                        <a:t>Introductions and pre-requisite</a:t>
                      </a:r>
                      <a:endParaRPr lang="en-US" sz="1100" b="1" kern="1200">
                        <a:solidFill>
                          <a:schemeClr val="bg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0B556A"/>
                    </a:solidFill>
                  </a:tcPr>
                </a:tc>
                <a:tc>
                  <a:txBody>
                    <a:bodyPr/>
                    <a:lstStyle/>
                    <a:p>
                      <a:r>
                        <a:rPr lang="en-US" sz="1100" b="1" kern="1200">
                          <a:solidFill>
                            <a:schemeClr val="bg1"/>
                          </a:solidFill>
                        </a:rPr>
                        <a:t>60 minutes</a:t>
                      </a:r>
                      <a:endParaRPr lang="en-US" sz="1100" b="1" kern="1200">
                        <a:solidFill>
                          <a:schemeClr val="bg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0B556A"/>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4</a:t>
                      </a:r>
                      <a:endParaRPr lang="en-US" sz="1100">
                        <a:solidFill>
                          <a:schemeClr val="tx1">
                            <a:lumMod val="85000"/>
                            <a:lumOff val="15000"/>
                          </a:schemeClr>
                        </a:solidFill>
                      </a:endParaRPr>
                    </a:p>
                  </a:txBody>
                  <a:tcPr marL="18180" marR="10908" marT="10908" marB="10908" anchor="ctr"/>
                </a:tc>
                <a:tc>
                  <a:txBody>
                    <a:bodyPr/>
                    <a:lstStyle/>
                    <a:p>
                      <a:r>
                        <a:rPr lang="en-US" sz="1100"/>
                        <a:t>Improve your virtual agent using entities, variables and topic redirect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a:t>5</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Integrate with prebuilt Power Automate flow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 </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33806215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553D74-9298-4227-B47F-263655DD5A75}"/>
              </a:ext>
            </a:extLst>
          </p:cNvPr>
          <p:cNvSpPr>
            <a:spLocks noGrp="1"/>
          </p:cNvSpPr>
          <p:nvPr>
            <p:ph type="title"/>
          </p:nvPr>
        </p:nvSpPr>
        <p:spPr/>
        <p:txBody>
          <a:bodyPr/>
          <a:lstStyle/>
          <a:p>
            <a:r>
              <a:rPr lang="en-US"/>
              <a:t>Open the authoring canvas and begin editing a topic</a:t>
            </a:r>
          </a:p>
        </p:txBody>
      </p:sp>
      <p:sp>
        <p:nvSpPr>
          <p:cNvPr id="10" name="Freeform: Shape 9">
            <a:extLst>
              <a:ext uri="{FF2B5EF4-FFF2-40B4-BE49-F238E27FC236}">
                <a16:creationId xmlns:a16="http://schemas.microsoft.com/office/drawing/2014/main" id="{AF04B17F-B3AB-4C4B-B0C0-7087C95A3467}"/>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 name="Group 1">
            <a:extLst>
              <a:ext uri="{FF2B5EF4-FFF2-40B4-BE49-F238E27FC236}">
                <a16:creationId xmlns:a16="http://schemas.microsoft.com/office/drawing/2014/main" id="{79F13FDE-AEE8-4806-891B-BFC300D710E0}"/>
              </a:ext>
            </a:extLst>
          </p:cNvPr>
          <p:cNvGrpSpPr/>
          <p:nvPr/>
        </p:nvGrpSpPr>
        <p:grpSpPr>
          <a:xfrm>
            <a:off x="541435" y="2276242"/>
            <a:ext cx="6525666" cy="3423511"/>
            <a:chOff x="541435" y="2276242"/>
            <a:chExt cx="6525666" cy="3423511"/>
          </a:xfrm>
        </p:grpSpPr>
        <p:sp>
          <p:nvSpPr>
            <p:cNvPr id="11" name="Text Placeholder 1">
              <a:extLst>
                <a:ext uri="{FF2B5EF4-FFF2-40B4-BE49-F238E27FC236}">
                  <a16:creationId xmlns:a16="http://schemas.microsoft.com/office/drawing/2014/main" id="{E6971C38-B2DA-47F0-977F-7F59AE3F9A63}"/>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Open authoring canvas to view the conversation tree</a:t>
              </a:r>
            </a:p>
          </p:txBody>
        </p:sp>
        <p:sp>
          <p:nvSpPr>
            <p:cNvPr id="12" name="Text Placeholder 1">
              <a:extLst>
                <a:ext uri="{FF2B5EF4-FFF2-40B4-BE49-F238E27FC236}">
                  <a16:creationId xmlns:a16="http://schemas.microsoft.com/office/drawing/2014/main" id="{52F62F6D-41A4-4E34-BEC2-0BF8887178E4}"/>
                </a:ext>
              </a:extLst>
            </p:cNvPr>
            <p:cNvSpPr txBox="1">
              <a:spLocks/>
            </p:cNvSpPr>
            <p:nvPr/>
          </p:nvSpPr>
          <p:spPr>
            <a:xfrm>
              <a:off x="1375928" y="3810440"/>
              <a:ext cx="4540885" cy="1889313"/>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You’ll see the trigger phrases at the top. You can edit the conversation tree, adding questions the bot should ask, things the bot should say etc.</a:t>
              </a:r>
            </a:p>
          </p:txBody>
        </p:sp>
        <p:cxnSp>
          <p:nvCxnSpPr>
            <p:cNvPr id="13" name="Straight Connector 12">
              <a:extLst>
                <a:ext uri="{FF2B5EF4-FFF2-40B4-BE49-F238E27FC236}">
                  <a16:creationId xmlns:a16="http://schemas.microsoft.com/office/drawing/2014/main" id="{C8DCB901-E11F-46BE-9084-5250C211FB11}"/>
                </a:ext>
              </a:extLst>
            </p:cNvPr>
            <p:cNvCxnSpPr/>
            <p:nvPr/>
          </p:nvCxnSpPr>
          <p:spPr>
            <a:xfrm>
              <a:off x="1375928" y="33818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Org_ECA6" title="Icon of three boxes in a bracket chart">
              <a:extLst>
                <a:ext uri="{FF2B5EF4-FFF2-40B4-BE49-F238E27FC236}">
                  <a16:creationId xmlns:a16="http://schemas.microsoft.com/office/drawing/2014/main" id="{E32A7AC7-6F1B-4E8A-AB0C-D5AC216328A3}"/>
                </a:ext>
              </a:extLst>
            </p:cNvPr>
            <p:cNvSpPr>
              <a:spLocks noChangeAspect="1" noEditPoints="1"/>
            </p:cNvSpPr>
            <p:nvPr/>
          </p:nvSpPr>
          <p:spPr bwMode="auto">
            <a:xfrm>
              <a:off x="541435" y="2344363"/>
              <a:ext cx="540602" cy="54086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30" name="Group 29">
              <a:extLst>
                <a:ext uri="{FF2B5EF4-FFF2-40B4-BE49-F238E27FC236}">
                  <a16:creationId xmlns:a16="http://schemas.microsoft.com/office/drawing/2014/main" id="{BFB6F60E-06A4-4053-B310-B25568912F7E}"/>
                </a:ext>
              </a:extLst>
            </p:cNvPr>
            <p:cNvGrpSpPr/>
            <p:nvPr/>
          </p:nvGrpSpPr>
          <p:grpSpPr>
            <a:xfrm>
              <a:off x="560480" y="4503841"/>
              <a:ext cx="502510" cy="502510"/>
              <a:chOff x="4200434" y="3369219"/>
              <a:chExt cx="247650" cy="247650"/>
            </a:xfrm>
            <a:solidFill>
              <a:srgbClr val="0B556A"/>
            </a:solidFill>
          </p:grpSpPr>
          <p:sp>
            <p:nvSpPr>
              <p:cNvPr id="31" name="Freeform: Shape 30">
                <a:extLst>
                  <a:ext uri="{FF2B5EF4-FFF2-40B4-BE49-F238E27FC236}">
                    <a16:creationId xmlns:a16="http://schemas.microsoft.com/office/drawing/2014/main" id="{5648FAAA-E0C7-4DDF-AB44-E3731CBE8B1D}"/>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AD90B0AC-E922-43F7-B2BF-2F12A7C2C90A}"/>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nvGrpSpPr>
          <p:cNvPr id="6" name="Group 5">
            <a:extLst>
              <a:ext uri="{FF2B5EF4-FFF2-40B4-BE49-F238E27FC236}">
                <a16:creationId xmlns:a16="http://schemas.microsoft.com/office/drawing/2014/main" id="{44B52C8D-3633-453D-B58F-983F3F2AD4F1}"/>
              </a:ext>
            </a:extLst>
          </p:cNvPr>
          <p:cNvGrpSpPr/>
          <p:nvPr/>
        </p:nvGrpSpPr>
        <p:grpSpPr>
          <a:xfrm>
            <a:off x="6345757" y="2205361"/>
            <a:ext cx="5757343" cy="3526776"/>
            <a:chOff x="6345757" y="2205361"/>
            <a:chExt cx="5757343" cy="3526776"/>
          </a:xfrm>
        </p:grpSpPr>
        <p:sp>
          <p:nvSpPr>
            <p:cNvPr id="14" name="Freeform: Shape 13">
              <a:extLst>
                <a:ext uri="{FF2B5EF4-FFF2-40B4-BE49-F238E27FC236}">
                  <a16:creationId xmlns:a16="http://schemas.microsoft.com/office/drawing/2014/main" id="{3B765039-AD1F-478E-ABAF-AAE345EB6013}"/>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2089E4ED-5E10-4199-8FAD-C4D68776C0D8}"/>
                </a:ext>
              </a:extLst>
            </p:cNvPr>
            <p:cNvPicPr>
              <a:picLocks noChangeAspect="1"/>
            </p:cNvPicPr>
            <p:nvPr/>
          </p:nvPicPr>
          <p:blipFill>
            <a:blip r:embed="rId3"/>
            <a:stretch>
              <a:fillRect/>
            </a:stretch>
          </p:blipFill>
          <p:spPr>
            <a:xfrm>
              <a:off x="6564489" y="2387601"/>
              <a:ext cx="5328355" cy="3177822"/>
            </a:xfrm>
            <a:prstGeom prst="rect">
              <a:avLst/>
            </a:prstGeom>
          </p:spPr>
        </p:pic>
        <p:sp>
          <p:nvSpPr>
            <p:cNvPr id="16" name="Rectangle 15">
              <a:extLst>
                <a:ext uri="{FF2B5EF4-FFF2-40B4-BE49-F238E27FC236}">
                  <a16:creationId xmlns:a16="http://schemas.microsoft.com/office/drawing/2014/main" id="{641FF743-CF79-41CE-9F9E-8F9C27976AFB}"/>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50394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2.08333E-7 -3.7037E-7 L -0.03451 -0.00093 " pathEditMode="relative" rAng="0" ptsTypes="AA">
                                      <p:cBhvr>
                                        <p:cTn id="13" dur="700" spd="-100000" fill="hold"/>
                                        <p:tgtEl>
                                          <p:spTgt spid="2"/>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E766B-DFB4-4F91-A6A3-A0F8F4E5036B}"/>
              </a:ext>
            </a:extLst>
          </p:cNvPr>
          <p:cNvSpPr>
            <a:spLocks noGrp="1"/>
          </p:cNvSpPr>
          <p:nvPr>
            <p:ph type="title"/>
          </p:nvPr>
        </p:nvSpPr>
        <p:spPr/>
        <p:txBody>
          <a:bodyPr/>
          <a:lstStyle/>
          <a:p>
            <a:r>
              <a:rPr lang="en-US"/>
              <a:t>Test your topic as you construct it</a:t>
            </a:r>
          </a:p>
        </p:txBody>
      </p:sp>
      <p:sp>
        <p:nvSpPr>
          <p:cNvPr id="7" name="Freeform: Shape 6">
            <a:extLst>
              <a:ext uri="{FF2B5EF4-FFF2-40B4-BE49-F238E27FC236}">
                <a16:creationId xmlns:a16="http://schemas.microsoft.com/office/drawing/2014/main" id="{16C2BB61-AB4B-4A3A-B3B5-F47886B7CACB}"/>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50427DE9-A6D2-481D-A70B-5041EDE033A2}"/>
              </a:ext>
            </a:extLst>
          </p:cNvPr>
          <p:cNvGrpSpPr/>
          <p:nvPr/>
        </p:nvGrpSpPr>
        <p:grpSpPr>
          <a:xfrm>
            <a:off x="493830" y="2263598"/>
            <a:ext cx="6554221" cy="3226970"/>
            <a:chOff x="512880" y="2130248"/>
            <a:chExt cx="6554221" cy="3226970"/>
          </a:xfrm>
        </p:grpSpPr>
        <p:sp>
          <p:nvSpPr>
            <p:cNvPr id="9" name="Text Placeholder 1">
              <a:extLst>
                <a:ext uri="{FF2B5EF4-FFF2-40B4-BE49-F238E27FC236}">
                  <a16:creationId xmlns:a16="http://schemas.microsoft.com/office/drawing/2014/main" id="{BB759238-4414-4996-816F-7DE083DED42D}"/>
                </a:ext>
              </a:extLst>
            </p:cNvPr>
            <p:cNvSpPr txBox="1">
              <a:spLocks/>
            </p:cNvSpPr>
            <p:nvPr/>
          </p:nvSpPr>
          <p:spPr>
            <a:xfrm>
              <a:off x="1375928" y="3879890"/>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Turn on “Track between topics”. This lets you trace your way through both this topic and any others you call</a:t>
              </a:r>
            </a:p>
          </p:txBody>
        </p:sp>
        <p:cxnSp>
          <p:nvCxnSpPr>
            <p:cNvPr id="11" name="Straight Connector 10">
              <a:extLst>
                <a:ext uri="{FF2B5EF4-FFF2-40B4-BE49-F238E27FC236}">
                  <a16:creationId xmlns:a16="http://schemas.microsoft.com/office/drawing/2014/main" id="{00CDEAAD-358D-4F78-826C-C2F763E1633E}"/>
                </a:ext>
              </a:extLst>
            </p:cNvPr>
            <p:cNvCxnSpPr/>
            <p:nvPr/>
          </p:nvCxnSpPr>
          <p:spPr>
            <a:xfrm>
              <a:off x="1375928" y="35590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 Placeholder 1">
              <a:extLst>
                <a:ext uri="{FF2B5EF4-FFF2-40B4-BE49-F238E27FC236}">
                  <a16:creationId xmlns:a16="http://schemas.microsoft.com/office/drawing/2014/main" id="{3AFA5385-14D2-4B8D-B8BC-9AA1EAA31F7C}"/>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To test what you’ve created click on test bot (bottom left) to expand test window</a:t>
              </a:r>
            </a:p>
          </p:txBody>
        </p:sp>
        <p:grpSp>
          <p:nvGrpSpPr>
            <p:cNvPr id="25" name="Group 24">
              <a:extLst>
                <a:ext uri="{FF2B5EF4-FFF2-40B4-BE49-F238E27FC236}">
                  <a16:creationId xmlns:a16="http://schemas.microsoft.com/office/drawing/2014/main" id="{9A63A0B8-E71B-4673-A2B3-FE56EAB884BE}"/>
                </a:ext>
              </a:extLst>
            </p:cNvPr>
            <p:cNvGrpSpPr/>
            <p:nvPr/>
          </p:nvGrpSpPr>
          <p:grpSpPr>
            <a:xfrm>
              <a:off x="512880" y="2429408"/>
              <a:ext cx="597712" cy="509676"/>
              <a:chOff x="9606551" y="3332751"/>
              <a:chExt cx="368618" cy="314325"/>
            </a:xfrm>
          </p:grpSpPr>
          <p:sp>
            <p:nvSpPr>
              <p:cNvPr id="26" name="Freeform: Shape 25">
                <a:extLst>
                  <a:ext uri="{FF2B5EF4-FFF2-40B4-BE49-F238E27FC236}">
                    <a16:creationId xmlns:a16="http://schemas.microsoft.com/office/drawing/2014/main" id="{2E6D6EBB-C719-477D-8991-7DEC5CAEDD7D}"/>
                  </a:ext>
                </a:extLst>
              </p:cNvPr>
              <p:cNvSpPr/>
              <p:nvPr/>
            </p:nvSpPr>
            <p:spPr>
              <a:xfrm>
                <a:off x="9679894" y="3332751"/>
                <a:ext cx="295275" cy="314325"/>
              </a:xfrm>
              <a:custGeom>
                <a:avLst/>
                <a:gdLst>
                  <a:gd name="connsiteX0" fmla="*/ 173083 w 295275"/>
                  <a:gd name="connsiteY0" fmla="*/ 239758 h 314325"/>
                  <a:gd name="connsiteX1" fmla="*/ 56878 w 295275"/>
                  <a:gd name="connsiteY1" fmla="*/ 123553 h 314325"/>
                  <a:gd name="connsiteX2" fmla="*/ 173083 w 295275"/>
                  <a:gd name="connsiteY2" fmla="*/ 7348 h 314325"/>
                  <a:gd name="connsiteX3" fmla="*/ 289288 w 295275"/>
                  <a:gd name="connsiteY3" fmla="*/ 123553 h 314325"/>
                  <a:gd name="connsiteX4" fmla="*/ 173083 w 295275"/>
                  <a:gd name="connsiteY4" fmla="*/ 239758 h 314325"/>
                  <a:gd name="connsiteX5" fmla="*/ 96883 w 295275"/>
                  <a:gd name="connsiteY5" fmla="*/ 212136 h 314325"/>
                  <a:gd name="connsiteX6" fmla="*/ 7348 w 295275"/>
                  <a:gd name="connsiteY6" fmla="*/ 3131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314325">
                    <a:moveTo>
                      <a:pt x="173083" y="239758"/>
                    </a:moveTo>
                    <a:cubicBezTo>
                      <a:pt x="109266" y="239758"/>
                      <a:pt x="56878" y="187371"/>
                      <a:pt x="56878" y="123553"/>
                    </a:cubicBezTo>
                    <a:cubicBezTo>
                      <a:pt x="56878" y="59736"/>
                      <a:pt x="108313" y="7348"/>
                      <a:pt x="173083" y="7348"/>
                    </a:cubicBezTo>
                    <a:cubicBezTo>
                      <a:pt x="236900" y="7348"/>
                      <a:pt x="289288" y="59736"/>
                      <a:pt x="289288" y="123553"/>
                    </a:cubicBezTo>
                    <a:cubicBezTo>
                      <a:pt x="289288" y="187371"/>
                      <a:pt x="236900" y="239758"/>
                      <a:pt x="173083" y="239758"/>
                    </a:cubicBezTo>
                    <a:close/>
                    <a:moveTo>
                      <a:pt x="96883" y="212136"/>
                    </a:moveTo>
                    <a:lnTo>
                      <a:pt x="7348" y="313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7" name="Freeform: Shape 26">
                <a:extLst>
                  <a:ext uri="{FF2B5EF4-FFF2-40B4-BE49-F238E27FC236}">
                    <a16:creationId xmlns:a16="http://schemas.microsoft.com/office/drawing/2014/main" id="{A0281AF8-2E47-494D-AE67-05E7531E36A8}"/>
                  </a:ext>
                </a:extLst>
              </p:cNvPr>
              <p:cNvSpPr/>
              <p:nvPr/>
            </p:nvSpPr>
            <p:spPr>
              <a:xfrm>
                <a:off x="9606551" y="3381328"/>
                <a:ext cx="342900" cy="133350"/>
              </a:xfrm>
              <a:custGeom>
                <a:avLst/>
                <a:gdLst>
                  <a:gd name="connsiteX0" fmla="*/ 185466 w 342900"/>
                  <a:gd name="connsiteY0" fmla="*/ 106408 h 133350"/>
                  <a:gd name="connsiteX1" fmla="*/ 173083 w 342900"/>
                  <a:gd name="connsiteY1" fmla="*/ 94026 h 133350"/>
                  <a:gd name="connsiteX2" fmla="*/ 185466 w 342900"/>
                  <a:gd name="connsiteY2" fmla="*/ 81643 h 133350"/>
                  <a:gd name="connsiteX3" fmla="*/ 197848 w 342900"/>
                  <a:gd name="connsiteY3" fmla="*/ 94026 h 133350"/>
                  <a:gd name="connsiteX4" fmla="*/ 185466 w 342900"/>
                  <a:gd name="connsiteY4" fmla="*/ 106408 h 133350"/>
                  <a:gd name="connsiteX5" fmla="*/ 266428 w 342900"/>
                  <a:gd name="connsiteY5" fmla="*/ 19731 h 133350"/>
                  <a:gd name="connsiteX6" fmla="*/ 254046 w 342900"/>
                  <a:gd name="connsiteY6" fmla="*/ 7348 h 133350"/>
                  <a:gd name="connsiteX7" fmla="*/ 241663 w 342900"/>
                  <a:gd name="connsiteY7" fmla="*/ 19731 h 133350"/>
                  <a:gd name="connsiteX8" fmla="*/ 254046 w 342900"/>
                  <a:gd name="connsiteY8" fmla="*/ 32113 h 133350"/>
                  <a:gd name="connsiteX9" fmla="*/ 266428 w 342900"/>
                  <a:gd name="connsiteY9" fmla="*/ 19731 h 133350"/>
                  <a:gd name="connsiteX10" fmla="*/ 94025 w 342900"/>
                  <a:gd name="connsiteY10" fmla="*/ 34018 h 133350"/>
                  <a:gd name="connsiteX11" fmla="*/ 81643 w 342900"/>
                  <a:gd name="connsiteY11" fmla="*/ 21636 h 133350"/>
                  <a:gd name="connsiteX12" fmla="*/ 69261 w 342900"/>
                  <a:gd name="connsiteY12" fmla="*/ 34018 h 133350"/>
                  <a:gd name="connsiteX13" fmla="*/ 81643 w 342900"/>
                  <a:gd name="connsiteY13" fmla="*/ 46401 h 133350"/>
                  <a:gd name="connsiteX14" fmla="*/ 94025 w 342900"/>
                  <a:gd name="connsiteY14" fmla="*/ 34018 h 133350"/>
                  <a:gd name="connsiteX15" fmla="*/ 32113 w 342900"/>
                  <a:gd name="connsiteY15" fmla="*/ 115933 h 133350"/>
                  <a:gd name="connsiteX16" fmla="*/ 19730 w 342900"/>
                  <a:gd name="connsiteY16" fmla="*/ 103551 h 133350"/>
                  <a:gd name="connsiteX17" fmla="*/ 7348 w 342900"/>
                  <a:gd name="connsiteY17" fmla="*/ 115933 h 133350"/>
                  <a:gd name="connsiteX18" fmla="*/ 19730 w 342900"/>
                  <a:gd name="connsiteY18" fmla="*/ 128316 h 133350"/>
                  <a:gd name="connsiteX19" fmla="*/ 32113 w 342900"/>
                  <a:gd name="connsiteY19" fmla="*/ 115933 h 133350"/>
                  <a:gd name="connsiteX20" fmla="*/ 340723 w 342900"/>
                  <a:gd name="connsiteY20" fmla="*/ 115933 h 133350"/>
                  <a:gd name="connsiteX21" fmla="*/ 328341 w 342900"/>
                  <a:gd name="connsiteY21" fmla="*/ 103551 h 133350"/>
                  <a:gd name="connsiteX22" fmla="*/ 315958 w 342900"/>
                  <a:gd name="connsiteY22" fmla="*/ 115933 h 133350"/>
                  <a:gd name="connsiteX23" fmla="*/ 328341 w 342900"/>
                  <a:gd name="connsiteY23" fmla="*/ 128316 h 133350"/>
                  <a:gd name="connsiteX24" fmla="*/ 340723 w 342900"/>
                  <a:gd name="connsiteY24" fmla="*/ 115933 h 133350"/>
                  <a:gd name="connsiteX25" fmla="*/ 74975 w 342900"/>
                  <a:gd name="connsiteY25" fmla="*/ 47353 h 133350"/>
                  <a:gd name="connsiteX26" fmla="*/ 28303 w 342900"/>
                  <a:gd name="connsiteY26" fmla="*/ 107361 h 133350"/>
                  <a:gd name="connsiteX27" fmla="*/ 94025 w 342900"/>
                  <a:gd name="connsiteY27" fmla="*/ 42591 h 133350"/>
                  <a:gd name="connsiteX28" fmla="*/ 171178 w 342900"/>
                  <a:gd name="connsiteY28" fmla="*/ 87358 h 133350"/>
                  <a:gd name="connsiteX29" fmla="*/ 241663 w 342900"/>
                  <a:gd name="connsiteY29" fmla="*/ 26398 h 133350"/>
                  <a:gd name="connsiteX30" fmla="*/ 192133 w 342900"/>
                  <a:gd name="connsiteY30" fmla="*/ 80691 h 133350"/>
                  <a:gd name="connsiteX31" fmla="*/ 320721 w 342900"/>
                  <a:gd name="connsiteY31" fmla="*/ 103551 h 133350"/>
                  <a:gd name="connsiteX32" fmla="*/ 262618 w 342900"/>
                  <a:gd name="connsiteY32" fmla="*/ 302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2900" h="133350">
                    <a:moveTo>
                      <a:pt x="185466" y="106408"/>
                    </a:moveTo>
                    <a:cubicBezTo>
                      <a:pt x="178798" y="106408"/>
                      <a:pt x="173083" y="100693"/>
                      <a:pt x="173083" y="94026"/>
                    </a:cubicBezTo>
                    <a:cubicBezTo>
                      <a:pt x="173083" y="87358"/>
                      <a:pt x="178798" y="81643"/>
                      <a:pt x="185466" y="81643"/>
                    </a:cubicBezTo>
                    <a:cubicBezTo>
                      <a:pt x="192133" y="81643"/>
                      <a:pt x="197848" y="87358"/>
                      <a:pt x="197848" y="94026"/>
                    </a:cubicBezTo>
                    <a:cubicBezTo>
                      <a:pt x="197848" y="100693"/>
                      <a:pt x="193086" y="106408"/>
                      <a:pt x="185466" y="106408"/>
                    </a:cubicBezTo>
                    <a:close/>
                    <a:moveTo>
                      <a:pt x="266428" y="19731"/>
                    </a:moveTo>
                    <a:cubicBezTo>
                      <a:pt x="266428" y="13063"/>
                      <a:pt x="260713" y="7348"/>
                      <a:pt x="254046" y="7348"/>
                    </a:cubicBezTo>
                    <a:cubicBezTo>
                      <a:pt x="247378" y="7348"/>
                      <a:pt x="241663" y="13063"/>
                      <a:pt x="241663" y="19731"/>
                    </a:cubicBezTo>
                    <a:cubicBezTo>
                      <a:pt x="241663" y="26398"/>
                      <a:pt x="247378" y="32113"/>
                      <a:pt x="254046" y="32113"/>
                    </a:cubicBezTo>
                    <a:cubicBezTo>
                      <a:pt x="260713" y="33066"/>
                      <a:pt x="266428" y="27351"/>
                      <a:pt x="266428" y="19731"/>
                    </a:cubicBezTo>
                    <a:close/>
                    <a:moveTo>
                      <a:pt x="94025" y="34018"/>
                    </a:moveTo>
                    <a:cubicBezTo>
                      <a:pt x="94025" y="27351"/>
                      <a:pt x="88311" y="21636"/>
                      <a:pt x="81643" y="21636"/>
                    </a:cubicBezTo>
                    <a:cubicBezTo>
                      <a:pt x="74975" y="21636"/>
                      <a:pt x="69261" y="27351"/>
                      <a:pt x="69261" y="34018"/>
                    </a:cubicBezTo>
                    <a:cubicBezTo>
                      <a:pt x="69261" y="40686"/>
                      <a:pt x="74975" y="46401"/>
                      <a:pt x="81643" y="46401"/>
                    </a:cubicBezTo>
                    <a:cubicBezTo>
                      <a:pt x="88311" y="46401"/>
                      <a:pt x="94025" y="41638"/>
                      <a:pt x="94025" y="34018"/>
                    </a:cubicBezTo>
                    <a:close/>
                    <a:moveTo>
                      <a:pt x="32113" y="115933"/>
                    </a:moveTo>
                    <a:cubicBezTo>
                      <a:pt x="32113" y="109266"/>
                      <a:pt x="26398" y="103551"/>
                      <a:pt x="19730" y="103551"/>
                    </a:cubicBezTo>
                    <a:cubicBezTo>
                      <a:pt x="13063" y="103551"/>
                      <a:pt x="7348" y="109266"/>
                      <a:pt x="7348" y="115933"/>
                    </a:cubicBezTo>
                    <a:cubicBezTo>
                      <a:pt x="7348" y="122601"/>
                      <a:pt x="13063" y="128316"/>
                      <a:pt x="19730" y="128316"/>
                    </a:cubicBezTo>
                    <a:cubicBezTo>
                      <a:pt x="26398" y="128316"/>
                      <a:pt x="32113" y="122601"/>
                      <a:pt x="32113" y="115933"/>
                    </a:cubicBezTo>
                    <a:close/>
                    <a:moveTo>
                      <a:pt x="340723" y="115933"/>
                    </a:moveTo>
                    <a:cubicBezTo>
                      <a:pt x="340723" y="109266"/>
                      <a:pt x="335008" y="103551"/>
                      <a:pt x="328341" y="103551"/>
                    </a:cubicBezTo>
                    <a:cubicBezTo>
                      <a:pt x="321673" y="103551"/>
                      <a:pt x="315958" y="109266"/>
                      <a:pt x="315958" y="115933"/>
                    </a:cubicBezTo>
                    <a:cubicBezTo>
                      <a:pt x="315958" y="122601"/>
                      <a:pt x="321673" y="128316"/>
                      <a:pt x="328341" y="128316"/>
                    </a:cubicBezTo>
                    <a:cubicBezTo>
                      <a:pt x="335008" y="128316"/>
                      <a:pt x="340723" y="122601"/>
                      <a:pt x="340723" y="115933"/>
                    </a:cubicBezTo>
                    <a:close/>
                    <a:moveTo>
                      <a:pt x="74975" y="47353"/>
                    </a:moveTo>
                    <a:lnTo>
                      <a:pt x="28303" y="107361"/>
                    </a:lnTo>
                    <a:moveTo>
                      <a:pt x="94025" y="42591"/>
                    </a:moveTo>
                    <a:lnTo>
                      <a:pt x="171178" y="87358"/>
                    </a:lnTo>
                    <a:moveTo>
                      <a:pt x="241663" y="26398"/>
                    </a:moveTo>
                    <a:lnTo>
                      <a:pt x="192133" y="80691"/>
                    </a:lnTo>
                    <a:moveTo>
                      <a:pt x="320721" y="103551"/>
                    </a:moveTo>
                    <a:lnTo>
                      <a:pt x="262618" y="3020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28" name="Trackers_EADF" title="Icon of a clipboard with a checklist on it">
              <a:extLst>
                <a:ext uri="{FF2B5EF4-FFF2-40B4-BE49-F238E27FC236}">
                  <a16:creationId xmlns:a16="http://schemas.microsoft.com/office/drawing/2014/main" id="{7AA09D02-D6D7-40E1-91BF-99EAC3A82E15}"/>
                </a:ext>
              </a:extLst>
            </p:cNvPr>
            <p:cNvSpPr>
              <a:spLocks noChangeAspect="1" noEditPoints="1"/>
            </p:cNvSpPr>
            <p:nvPr/>
          </p:nvSpPr>
          <p:spPr bwMode="auto">
            <a:xfrm>
              <a:off x="591314" y="4318000"/>
              <a:ext cx="440842" cy="6011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4E2F4FA0-BF65-45C5-BD3B-20B862995F1C}"/>
              </a:ext>
            </a:extLst>
          </p:cNvPr>
          <p:cNvGrpSpPr/>
          <p:nvPr/>
        </p:nvGrpSpPr>
        <p:grpSpPr>
          <a:xfrm>
            <a:off x="6345757" y="2205361"/>
            <a:ext cx="5757343" cy="3526776"/>
            <a:chOff x="6345757" y="2205361"/>
            <a:chExt cx="5757343" cy="3526776"/>
          </a:xfrm>
        </p:grpSpPr>
        <p:sp>
          <p:nvSpPr>
            <p:cNvPr id="12" name="Freeform: Shape 11">
              <a:extLst>
                <a:ext uri="{FF2B5EF4-FFF2-40B4-BE49-F238E27FC236}">
                  <a16:creationId xmlns:a16="http://schemas.microsoft.com/office/drawing/2014/main" id="{C724C64A-6058-44BC-9E38-99A02B978E14}"/>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A8BB1D4F-9737-4D1E-ADF7-0338B8AED05C}"/>
                </a:ext>
              </a:extLst>
            </p:cNvPr>
            <p:cNvPicPr>
              <a:picLocks noChangeAspect="1"/>
            </p:cNvPicPr>
            <p:nvPr/>
          </p:nvPicPr>
          <p:blipFill>
            <a:blip r:embed="rId3"/>
            <a:stretch>
              <a:fillRect/>
            </a:stretch>
          </p:blipFill>
          <p:spPr>
            <a:xfrm>
              <a:off x="6570218" y="2383661"/>
              <a:ext cx="5304456" cy="3202948"/>
            </a:xfrm>
            <a:prstGeom prst="rect">
              <a:avLst/>
            </a:prstGeom>
          </p:spPr>
        </p:pic>
        <p:sp>
          <p:nvSpPr>
            <p:cNvPr id="10" name="Rectangle 9">
              <a:extLst>
                <a:ext uri="{FF2B5EF4-FFF2-40B4-BE49-F238E27FC236}">
                  <a16:creationId xmlns:a16="http://schemas.microsoft.com/office/drawing/2014/main" id="{99E544BE-2234-400D-8350-D0990643FB7D}"/>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211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nodeType="withEffect">
                                  <p:stCondLst>
                                    <p:cond delay="0"/>
                                  </p:stCondLst>
                                  <p:childTnLst>
                                    <p:animMotion origin="layout" path="M 8.33333E-7 -3.7037E-6 L -0.03451 -0.00092 " pathEditMode="relative" rAng="0" ptsTypes="AA">
                                      <p:cBhvr>
                                        <p:cTn id="13"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B5D0-394C-4784-85BE-08C03E2FF6A6}"/>
              </a:ext>
            </a:extLst>
          </p:cNvPr>
          <p:cNvSpPr>
            <a:spLocks noGrp="1"/>
          </p:cNvSpPr>
          <p:nvPr>
            <p:ph type="title"/>
          </p:nvPr>
        </p:nvSpPr>
        <p:spPr/>
        <p:txBody>
          <a:bodyPr/>
          <a:lstStyle/>
          <a:p>
            <a:r>
              <a:rPr lang="en-US"/>
              <a:t>Publish to demo website</a:t>
            </a:r>
          </a:p>
        </p:txBody>
      </p:sp>
      <p:sp>
        <p:nvSpPr>
          <p:cNvPr id="9" name="Freeform: Shape 8">
            <a:extLst>
              <a:ext uri="{FF2B5EF4-FFF2-40B4-BE49-F238E27FC236}">
                <a16:creationId xmlns:a16="http://schemas.microsoft.com/office/drawing/2014/main" id="{D759CC87-F49E-4E90-AE11-BEE1961CEB59}"/>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FB341DA0-9711-4961-95FE-42E7642D55A2}"/>
              </a:ext>
            </a:extLst>
          </p:cNvPr>
          <p:cNvGrpSpPr/>
          <p:nvPr/>
        </p:nvGrpSpPr>
        <p:grpSpPr>
          <a:xfrm>
            <a:off x="523768" y="2536648"/>
            <a:ext cx="6543333" cy="2857638"/>
            <a:chOff x="523768" y="2130248"/>
            <a:chExt cx="6543333" cy="2857638"/>
          </a:xfrm>
        </p:grpSpPr>
        <p:sp>
          <p:nvSpPr>
            <p:cNvPr id="10" name="Text Placeholder 1">
              <a:extLst>
                <a:ext uri="{FF2B5EF4-FFF2-40B4-BE49-F238E27FC236}">
                  <a16:creationId xmlns:a16="http://schemas.microsoft.com/office/drawing/2014/main" id="{ACA4C9AE-A518-42E8-B727-A93D370318C2}"/>
                </a:ext>
              </a:extLst>
            </p:cNvPr>
            <p:cNvSpPr txBox="1">
              <a:spLocks/>
            </p:cNvSpPr>
            <p:nvPr/>
          </p:nvSpPr>
          <p:spPr>
            <a:xfrm>
              <a:off x="1375928" y="3879890"/>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Add screen shot with that publish to demo site show and demo page</a:t>
              </a:r>
            </a:p>
          </p:txBody>
        </p:sp>
        <p:cxnSp>
          <p:nvCxnSpPr>
            <p:cNvPr id="11" name="Straight Connector 10">
              <a:extLst>
                <a:ext uri="{FF2B5EF4-FFF2-40B4-BE49-F238E27FC236}">
                  <a16:creationId xmlns:a16="http://schemas.microsoft.com/office/drawing/2014/main" id="{9DD3B9D0-27D7-4B43-A472-0E47F9F35B3F}"/>
                </a:ext>
              </a:extLst>
            </p:cNvPr>
            <p:cNvCxnSpPr/>
            <p:nvPr/>
          </p:nvCxnSpPr>
          <p:spPr>
            <a:xfrm>
              <a:off x="1375928" y="35590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
              <a:extLst>
                <a:ext uri="{FF2B5EF4-FFF2-40B4-BE49-F238E27FC236}">
                  <a16:creationId xmlns:a16="http://schemas.microsoft.com/office/drawing/2014/main" id="{5B5C7595-A041-4A0C-A4CD-6128BC105C69}"/>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Publish to demo website and share the URL with colleagues so they can try the bot</a:t>
              </a:r>
            </a:p>
          </p:txBody>
        </p:sp>
        <p:sp>
          <p:nvSpPr>
            <p:cNvPr id="22" name="Browser" title="Icon of a browser window">
              <a:extLst>
                <a:ext uri="{FF2B5EF4-FFF2-40B4-BE49-F238E27FC236}">
                  <a16:creationId xmlns:a16="http://schemas.microsoft.com/office/drawing/2014/main" id="{43ACF9BB-1D86-4C9C-8A1E-49BB13D5B826}"/>
                </a:ext>
              </a:extLst>
            </p:cNvPr>
            <p:cNvSpPr>
              <a:spLocks noChangeAspect="1" noEditPoints="1"/>
            </p:cNvSpPr>
            <p:nvPr/>
          </p:nvSpPr>
          <p:spPr bwMode="auto">
            <a:xfrm>
              <a:off x="524088" y="2454037"/>
              <a:ext cx="575296" cy="46041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PhotoCollection_E7AA" title="Icon of a stacked photo of a landscape">
              <a:extLst>
                <a:ext uri="{FF2B5EF4-FFF2-40B4-BE49-F238E27FC236}">
                  <a16:creationId xmlns:a16="http://schemas.microsoft.com/office/drawing/2014/main" id="{5FEB8694-9516-43B4-B3E7-E180A4C28F24}"/>
                </a:ext>
              </a:extLst>
            </p:cNvPr>
            <p:cNvSpPr>
              <a:spLocks noChangeAspect="1" noEditPoints="1"/>
            </p:cNvSpPr>
            <p:nvPr/>
          </p:nvSpPr>
          <p:spPr bwMode="auto">
            <a:xfrm>
              <a:off x="523768" y="4213860"/>
              <a:ext cx="575934" cy="440056"/>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D7969421-8F08-4314-A692-8318B1ADBA32}"/>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E36E88F-66BF-47F8-B563-CFBD464DF18C}"/>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ACC1CFDD-BB71-4E1F-899A-6B782D410BBB}"/>
                </a:ext>
              </a:extLst>
            </p:cNvPr>
            <p:cNvPicPr>
              <a:picLocks noChangeAspect="1"/>
            </p:cNvPicPr>
            <p:nvPr/>
          </p:nvPicPr>
          <p:blipFill rotWithShape="1">
            <a:blip r:embed="rId2"/>
            <a:srcRect t="-1" r="66" b="11648"/>
            <a:stretch/>
          </p:blipFill>
          <p:spPr>
            <a:xfrm>
              <a:off x="6371197" y="2382521"/>
              <a:ext cx="5940334" cy="3517216"/>
            </a:xfrm>
            <a:custGeom>
              <a:avLst/>
              <a:gdLst>
                <a:gd name="connsiteX0" fmla="*/ 0 w 5940334"/>
                <a:gd name="connsiteY0" fmla="*/ 0 h 3501476"/>
                <a:gd name="connsiteX1" fmla="*/ 5940334 w 5940334"/>
                <a:gd name="connsiteY1" fmla="*/ 0 h 3501476"/>
                <a:gd name="connsiteX2" fmla="*/ 5940334 w 5940334"/>
                <a:gd name="connsiteY2" fmla="*/ 3501476 h 3501476"/>
                <a:gd name="connsiteX3" fmla="*/ 0 w 5940334"/>
                <a:gd name="connsiteY3" fmla="*/ 3501476 h 3501476"/>
              </a:gdLst>
              <a:ahLst/>
              <a:cxnLst>
                <a:cxn ang="0">
                  <a:pos x="connsiteX0" y="connsiteY0"/>
                </a:cxn>
                <a:cxn ang="0">
                  <a:pos x="connsiteX1" y="connsiteY1"/>
                </a:cxn>
                <a:cxn ang="0">
                  <a:pos x="connsiteX2" y="connsiteY2"/>
                </a:cxn>
                <a:cxn ang="0">
                  <a:pos x="connsiteX3" y="connsiteY3"/>
                </a:cxn>
              </a:cxnLst>
              <a:rect l="l" t="t" r="r" b="b"/>
              <a:pathLst>
                <a:path w="5940334" h="3501476">
                  <a:moveTo>
                    <a:pt x="0" y="0"/>
                  </a:moveTo>
                  <a:lnTo>
                    <a:pt x="5940334" y="0"/>
                  </a:lnTo>
                  <a:lnTo>
                    <a:pt x="5940334" y="3501476"/>
                  </a:lnTo>
                  <a:lnTo>
                    <a:pt x="0" y="3501476"/>
                  </a:lnTo>
                  <a:close/>
                </a:path>
              </a:pathLst>
            </a:custGeom>
          </p:spPr>
        </p:pic>
      </p:grpSp>
    </p:spTree>
    <p:extLst>
      <p:ext uri="{BB962C8B-B14F-4D97-AF65-F5344CB8AC3E}">
        <p14:creationId xmlns:p14="http://schemas.microsoft.com/office/powerpoint/2010/main" val="431392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path" presetSubtype="0" decel="100000" fill="hold" nodeType="withEffect">
                                  <p:stCondLst>
                                    <p:cond delay="0"/>
                                  </p:stCondLst>
                                  <p:childTnLst>
                                    <p:animMotion origin="layout" path="M -4.79167E-6 3.33333E-6 L -0.0345 -0.00093 " pathEditMode="relative" rAng="0" ptsTypes="AA">
                                      <p:cBhvr>
                                        <p:cTn id="17"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a:t>Enhance Your Virtual Agent From Analytics</a:t>
            </a:r>
          </a:p>
        </p:txBody>
      </p:sp>
      <p:sp>
        <p:nvSpPr>
          <p:cNvPr id="9" name="Freeform: Shape 8">
            <a:extLst>
              <a:ext uri="{FF2B5EF4-FFF2-40B4-BE49-F238E27FC236}">
                <a16:creationId xmlns:a16="http://schemas.microsoft.com/office/drawing/2014/main" id="{E9CB38B5-2F14-4185-A1D4-27FD393FBB08}"/>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C94893D2-AC1C-4084-8741-7AB0DE0EC0AA}"/>
              </a:ext>
            </a:extLst>
          </p:cNvPr>
          <p:cNvGrpSpPr/>
          <p:nvPr/>
        </p:nvGrpSpPr>
        <p:grpSpPr>
          <a:xfrm>
            <a:off x="458201" y="1615061"/>
            <a:ext cx="6608900" cy="4699791"/>
            <a:chOff x="458201" y="1615061"/>
            <a:chExt cx="6608900" cy="4699791"/>
          </a:xfrm>
        </p:grpSpPr>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615061"/>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GAIN VISIBILITY OF MANY PARAMETERS</a:t>
              </a:r>
            </a:p>
          </p:txBody>
        </p:sp>
        <p:grpSp>
          <p:nvGrpSpPr>
            <p:cNvPr id="2" name="Group 1">
              <a:extLst>
                <a:ext uri="{FF2B5EF4-FFF2-40B4-BE49-F238E27FC236}">
                  <a16:creationId xmlns:a16="http://schemas.microsoft.com/office/drawing/2014/main" id="{61082C43-0B21-4946-B115-BC4AD3C22F12}"/>
                </a:ext>
              </a:extLst>
            </p:cNvPr>
            <p:cNvGrpSpPr/>
            <p:nvPr/>
          </p:nvGrpSpPr>
          <p:grpSpPr>
            <a:xfrm>
              <a:off x="559239" y="2357487"/>
              <a:ext cx="6507862" cy="3957365"/>
              <a:chOff x="559239" y="2357487"/>
              <a:chExt cx="6507862" cy="3957365"/>
            </a:xfrm>
          </p:grpSpPr>
          <p:cxnSp>
            <p:nvCxnSpPr>
              <p:cNvPr id="11" name="Straight Connector 10">
                <a:extLst>
                  <a:ext uri="{FF2B5EF4-FFF2-40B4-BE49-F238E27FC236}">
                    <a16:creationId xmlns:a16="http://schemas.microsoft.com/office/drawing/2014/main" id="{89E695A0-D927-4F8D-B4E6-6AC90E8A0DB9}"/>
                  </a:ext>
                </a:extLst>
              </p:cNvPr>
              <p:cNvCxnSpPr/>
              <p:nvPr/>
            </p:nvCxnSpPr>
            <p:spPr>
              <a:xfrm>
                <a:off x="1375928" y="293720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98349D-DD37-4A7B-8E5E-B1CBEBF97E2C}"/>
                  </a:ext>
                </a:extLst>
              </p:cNvPr>
              <p:cNvCxnSpPr/>
              <p:nvPr/>
            </p:nvCxnSpPr>
            <p:spPr>
              <a:xfrm>
                <a:off x="1375928" y="505165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CEFB23E-9F08-4593-B87A-E4B9D4C76E74}"/>
                  </a:ext>
                </a:extLst>
              </p:cNvPr>
              <p:cNvSpPr/>
              <p:nvPr/>
            </p:nvSpPr>
            <p:spPr>
              <a:xfrm>
                <a:off x="1375928" y="2456095"/>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2" name="Rectangle 31">
                <a:extLst>
                  <a:ext uri="{FF2B5EF4-FFF2-40B4-BE49-F238E27FC236}">
                    <a16:creationId xmlns:a16="http://schemas.microsoft.com/office/drawing/2014/main" id="{84056FA8-DFA1-4EE5-840B-41BC090A9782}"/>
                  </a:ext>
                </a:extLst>
              </p:cNvPr>
              <p:cNvSpPr/>
              <p:nvPr/>
            </p:nvSpPr>
            <p:spPr>
              <a:xfrm>
                <a:off x="1375928" y="316091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3" name="Rectangle 32">
                <a:extLst>
                  <a:ext uri="{FF2B5EF4-FFF2-40B4-BE49-F238E27FC236}">
                    <a16:creationId xmlns:a16="http://schemas.microsoft.com/office/drawing/2014/main" id="{E62723C3-C035-4525-ADDB-4218617B17F0}"/>
                  </a:ext>
                </a:extLst>
              </p:cNvPr>
              <p:cNvSpPr/>
              <p:nvPr/>
            </p:nvSpPr>
            <p:spPr>
              <a:xfrm>
                <a:off x="1375928" y="3865727"/>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4" name="Rectangle 33">
                <a:extLst>
                  <a:ext uri="{FF2B5EF4-FFF2-40B4-BE49-F238E27FC236}">
                    <a16:creationId xmlns:a16="http://schemas.microsoft.com/office/drawing/2014/main" id="{E5BD09C3-C264-4CA5-8191-92C4EE931A0C}"/>
                  </a:ext>
                </a:extLst>
              </p:cNvPr>
              <p:cNvSpPr/>
              <p:nvPr/>
            </p:nvSpPr>
            <p:spPr>
              <a:xfrm>
                <a:off x="1375928" y="457054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5" name="Rectangle 34">
                <a:extLst>
                  <a:ext uri="{FF2B5EF4-FFF2-40B4-BE49-F238E27FC236}">
                    <a16:creationId xmlns:a16="http://schemas.microsoft.com/office/drawing/2014/main" id="{20DFFE58-ADE3-4C25-89A6-7FDF99470B69}"/>
                  </a:ext>
                </a:extLst>
              </p:cNvPr>
              <p:cNvSpPr/>
              <p:nvPr/>
            </p:nvSpPr>
            <p:spPr>
              <a:xfrm>
                <a:off x="1375928" y="527535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6" name="Rectangle 35">
                <a:extLst>
                  <a:ext uri="{FF2B5EF4-FFF2-40B4-BE49-F238E27FC236}">
                    <a16:creationId xmlns:a16="http://schemas.microsoft.com/office/drawing/2014/main" id="{F2A0F23D-9646-4900-8FE4-C8BFF3BED53B}"/>
                  </a:ext>
                </a:extLst>
              </p:cNvPr>
              <p:cNvSpPr/>
              <p:nvPr/>
            </p:nvSpPr>
            <p:spPr>
              <a:xfrm>
                <a:off x="1375928" y="5980172"/>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hlinkClick r:id="rId8">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39" name="Straight Connector 38">
                <a:extLst>
                  <a:ext uri="{FF2B5EF4-FFF2-40B4-BE49-F238E27FC236}">
                    <a16:creationId xmlns:a16="http://schemas.microsoft.com/office/drawing/2014/main" id="{8ECBEFD6-9789-4A21-A0FC-9FBF3F46AB02}"/>
                  </a:ext>
                </a:extLst>
              </p:cNvPr>
              <p:cNvCxnSpPr/>
              <p:nvPr/>
            </p:nvCxnSpPr>
            <p:spPr>
              <a:xfrm>
                <a:off x="1375928" y="364201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0E98E4-EB1E-4391-9B75-E68DBA672E9E}"/>
                  </a:ext>
                </a:extLst>
              </p:cNvPr>
              <p:cNvCxnSpPr/>
              <p:nvPr/>
            </p:nvCxnSpPr>
            <p:spPr>
              <a:xfrm>
                <a:off x="1375928" y="434683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386ED6-D496-4C8A-90FC-41DCA7010A07}"/>
                  </a:ext>
                </a:extLst>
              </p:cNvPr>
              <p:cNvCxnSpPr/>
              <p:nvPr/>
            </p:nvCxnSpPr>
            <p:spPr>
              <a:xfrm>
                <a:off x="1375928" y="57564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D3B15695-F59F-4466-99EF-334768CD9011}"/>
                  </a:ext>
                </a:extLst>
              </p:cNvPr>
              <p:cNvGrpSpPr/>
              <p:nvPr/>
            </p:nvGrpSpPr>
            <p:grpSpPr>
              <a:xfrm>
                <a:off x="612842" y="2357487"/>
                <a:ext cx="397790" cy="454616"/>
                <a:chOff x="8423539" y="3350841"/>
                <a:chExt cx="266700" cy="304800"/>
              </a:xfrm>
            </p:grpSpPr>
            <p:sp>
              <p:nvSpPr>
                <p:cNvPr id="43" name="Freeform: Shape 42">
                  <a:extLst>
                    <a:ext uri="{FF2B5EF4-FFF2-40B4-BE49-F238E27FC236}">
                      <a16:creationId xmlns:a16="http://schemas.microsoft.com/office/drawing/2014/main" id="{79E200E9-DEF7-4208-AD4E-FE06DAD44B0A}"/>
                    </a:ext>
                  </a:extLst>
                </p:cNvPr>
                <p:cNvSpPr/>
                <p:nvPr/>
              </p:nvSpPr>
              <p:spPr>
                <a:xfrm>
                  <a:off x="8423539" y="3350841"/>
                  <a:ext cx="266700" cy="304800"/>
                </a:xfrm>
                <a:custGeom>
                  <a:avLst/>
                  <a:gdLst>
                    <a:gd name="connsiteX0" fmla="*/ 7355 w 266700"/>
                    <a:gd name="connsiteY0" fmla="*/ 7355 h 304800"/>
                    <a:gd name="connsiteX1" fmla="*/ 268340 w 266700"/>
                    <a:gd name="connsiteY1" fmla="*/ 7355 h 304800"/>
                    <a:gd name="connsiteX2" fmla="*/ 268340 w 266700"/>
                    <a:gd name="connsiteY2" fmla="*/ 304535 h 304800"/>
                    <a:gd name="connsiteX3" fmla="*/ 7355 w 266700"/>
                    <a:gd name="connsiteY3" fmla="*/ 304535 h 304800"/>
                  </a:gdLst>
                  <a:ahLst/>
                  <a:cxnLst>
                    <a:cxn ang="0">
                      <a:pos x="connsiteX0" y="connsiteY0"/>
                    </a:cxn>
                    <a:cxn ang="0">
                      <a:pos x="connsiteX1" y="connsiteY1"/>
                    </a:cxn>
                    <a:cxn ang="0">
                      <a:pos x="connsiteX2" y="connsiteY2"/>
                    </a:cxn>
                    <a:cxn ang="0">
                      <a:pos x="connsiteX3" y="connsiteY3"/>
                    </a:cxn>
                  </a:cxnLst>
                  <a:rect l="l" t="t" r="r" b="b"/>
                  <a:pathLst>
                    <a:path w="266700" h="304800">
                      <a:moveTo>
                        <a:pt x="7355" y="7355"/>
                      </a:moveTo>
                      <a:lnTo>
                        <a:pt x="268340" y="7355"/>
                      </a:lnTo>
                      <a:lnTo>
                        <a:pt x="268340" y="304535"/>
                      </a:lnTo>
                      <a:lnTo>
                        <a:pt x="7355" y="304535"/>
                      </a:lnTo>
                      <a:close/>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3AB3787-9752-46B2-90BB-8BD2380F99AF}"/>
                    </a:ext>
                  </a:extLst>
                </p:cNvPr>
                <p:cNvSpPr/>
                <p:nvPr/>
              </p:nvSpPr>
              <p:spPr>
                <a:xfrm>
                  <a:off x="8454971" y="3392751"/>
                  <a:ext cx="209550" cy="219075"/>
                </a:xfrm>
                <a:custGeom>
                  <a:avLst/>
                  <a:gdLst>
                    <a:gd name="connsiteX0" fmla="*/ 48313 w 209550"/>
                    <a:gd name="connsiteY0" fmla="*/ 7355 h 219075"/>
                    <a:gd name="connsiteX1" fmla="*/ 164518 w 209550"/>
                    <a:gd name="connsiteY1" fmla="*/ 7355 h 219075"/>
                    <a:gd name="connsiteX2" fmla="*/ 7355 w 209550"/>
                    <a:gd name="connsiteY2" fmla="*/ 41645 h 219075"/>
                    <a:gd name="connsiteX3" fmla="*/ 204523 w 209550"/>
                    <a:gd name="connsiteY3" fmla="*/ 41645 h 219075"/>
                    <a:gd name="connsiteX4" fmla="*/ 7355 w 209550"/>
                    <a:gd name="connsiteY4" fmla="*/ 76888 h 219075"/>
                    <a:gd name="connsiteX5" fmla="*/ 204523 w 209550"/>
                    <a:gd name="connsiteY5" fmla="*/ 76888 h 219075"/>
                    <a:gd name="connsiteX6" fmla="*/ 7355 w 209550"/>
                    <a:gd name="connsiteY6" fmla="*/ 111178 h 219075"/>
                    <a:gd name="connsiteX7" fmla="*/ 204523 w 209550"/>
                    <a:gd name="connsiteY7" fmla="*/ 111178 h 219075"/>
                    <a:gd name="connsiteX8" fmla="*/ 7355 w 209550"/>
                    <a:gd name="connsiteY8" fmla="*/ 146420 h 219075"/>
                    <a:gd name="connsiteX9" fmla="*/ 204523 w 209550"/>
                    <a:gd name="connsiteY9" fmla="*/ 146420 h 219075"/>
                    <a:gd name="connsiteX10" fmla="*/ 7355 w 209550"/>
                    <a:gd name="connsiteY10" fmla="*/ 180710 h 219075"/>
                    <a:gd name="connsiteX11" fmla="*/ 204523 w 209550"/>
                    <a:gd name="connsiteY11" fmla="*/ 180710 h 219075"/>
                    <a:gd name="connsiteX12" fmla="*/ 7355 w 209550"/>
                    <a:gd name="connsiteY12" fmla="*/ 215953 h 219075"/>
                    <a:gd name="connsiteX13" fmla="*/ 204523 w 209550"/>
                    <a:gd name="connsiteY13" fmla="*/ 21595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50" h="219075">
                      <a:moveTo>
                        <a:pt x="48313" y="7355"/>
                      </a:moveTo>
                      <a:lnTo>
                        <a:pt x="164518" y="7355"/>
                      </a:lnTo>
                      <a:moveTo>
                        <a:pt x="7355" y="41645"/>
                      </a:moveTo>
                      <a:lnTo>
                        <a:pt x="204523" y="41645"/>
                      </a:lnTo>
                      <a:moveTo>
                        <a:pt x="7355" y="76888"/>
                      </a:moveTo>
                      <a:lnTo>
                        <a:pt x="204523" y="76888"/>
                      </a:lnTo>
                      <a:moveTo>
                        <a:pt x="7355" y="111178"/>
                      </a:moveTo>
                      <a:lnTo>
                        <a:pt x="204523" y="111178"/>
                      </a:lnTo>
                      <a:moveTo>
                        <a:pt x="7355" y="146420"/>
                      </a:moveTo>
                      <a:lnTo>
                        <a:pt x="204523" y="146420"/>
                      </a:lnTo>
                      <a:moveTo>
                        <a:pt x="7355" y="180710"/>
                      </a:moveTo>
                      <a:lnTo>
                        <a:pt x="204523" y="180710"/>
                      </a:lnTo>
                      <a:moveTo>
                        <a:pt x="7355" y="215953"/>
                      </a:moveTo>
                      <a:lnTo>
                        <a:pt x="204523" y="215953"/>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120390"/>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808303"/>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28582"/>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221180"/>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902892"/>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6FCC29A-D0C2-4CA0-83DB-1FAEDCD7C90D}"/>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a social media post&#10;&#10;Description automatically generated">
              <a:extLst>
                <a:ext uri="{FF2B5EF4-FFF2-40B4-BE49-F238E27FC236}">
                  <a16:creationId xmlns:a16="http://schemas.microsoft.com/office/drawing/2014/main" id="{B56160B8-5667-4173-8CF9-373B65441819}"/>
                </a:ext>
              </a:extLst>
            </p:cNvPr>
            <p:cNvPicPr>
              <a:picLocks noChangeAspect="1"/>
            </p:cNvPicPr>
            <p:nvPr/>
          </p:nvPicPr>
          <p:blipFill rotWithShape="1">
            <a:blip r:embed="rId9"/>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28576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path" presetSubtype="0" decel="100000" fill="hold" nodeType="withEffect">
                                  <p:stCondLst>
                                    <p:cond delay="0"/>
                                  </p:stCondLst>
                                  <p:childTnLst>
                                    <p:animMotion origin="layout" path="M -3.75E-6 1.11111E-6 L -0.0345 -0.00093 " pathEditMode="relative" rAng="0" ptsTypes="AA">
                                      <p:cBhvr>
                                        <p:cTn id="17"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9" name="Isosceles Triangle 8">
            <a:extLst>
              <a:ext uri="{FF2B5EF4-FFF2-40B4-BE49-F238E27FC236}">
                <a16:creationId xmlns:a16="http://schemas.microsoft.com/office/drawing/2014/main" id="{A1368E03-BF21-47F6-8E48-C7DEE6D6539D}"/>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p:txBody>
          <a:bodyPr/>
          <a:lstStyle/>
          <a:p>
            <a:r>
              <a:rPr lang="en-US">
                <a:solidFill>
                  <a:schemeClr val="bg1"/>
                </a:solidFill>
              </a:rPr>
              <a:t>SECTION</a:t>
            </a:r>
            <a:br>
              <a:rPr lang="en-US">
                <a:solidFill>
                  <a:schemeClr val="bg1"/>
                </a:solidFill>
              </a:rPr>
            </a:br>
            <a:r>
              <a:rPr lang="en-US">
                <a:solidFill>
                  <a:schemeClr val="bg1"/>
                </a:solidFill>
              </a:rPr>
              <a:t>SUMMARY</a:t>
            </a:r>
          </a:p>
        </p:txBody>
      </p:sp>
      <p:sp>
        <p:nvSpPr>
          <p:cNvPr id="15" name="Isosceles Triangle 14">
            <a:extLst>
              <a:ext uri="{FF2B5EF4-FFF2-40B4-BE49-F238E27FC236}">
                <a16:creationId xmlns:a16="http://schemas.microsoft.com/office/drawing/2014/main" id="{C86B1AA8-9683-4587-BC00-1D331F6BC6F7}"/>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3BE66C8B-20C8-48B2-9090-E30AF3C93E42}"/>
              </a:ext>
            </a:extLst>
          </p:cNvPr>
          <p:cNvGrpSpPr/>
          <p:nvPr/>
        </p:nvGrpSpPr>
        <p:grpSpPr>
          <a:xfrm>
            <a:off x="457201" y="4792663"/>
            <a:ext cx="1536462" cy="1747837"/>
            <a:chOff x="7887043" y="3869040"/>
            <a:chExt cx="354604" cy="403388"/>
          </a:xfrm>
        </p:grpSpPr>
        <p:sp>
          <p:nvSpPr>
            <p:cNvPr id="18" name="Freeform: Shape 17">
              <a:extLst>
                <a:ext uri="{FF2B5EF4-FFF2-40B4-BE49-F238E27FC236}">
                  <a16:creationId xmlns:a16="http://schemas.microsoft.com/office/drawing/2014/main" id="{0A05C514-2FA8-4512-8BCE-89EFACA9A27F}"/>
                </a:ext>
              </a:extLst>
            </p:cNvPr>
            <p:cNvSpPr/>
            <p:nvPr/>
          </p:nvSpPr>
          <p:spPr>
            <a:xfrm>
              <a:off x="7887043" y="3869040"/>
              <a:ext cx="292888" cy="34968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Lst>
            </p:cNvPr>
            <p:cNvSpPr/>
            <p:nvPr/>
          </p:nvSpPr>
          <p:spPr>
            <a:xfrm>
              <a:off x="8126491" y="3922825"/>
              <a:ext cx="106536" cy="107569"/>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Lst>
            </p:cNvPr>
            <p:cNvSpPr/>
            <p:nvPr/>
          </p:nvSpPr>
          <p:spPr>
            <a:xfrm>
              <a:off x="8233028" y="4030395"/>
              <a:ext cx="8619" cy="212985"/>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Lst>
            </p:cNvPr>
            <p:cNvSpPr/>
            <p:nvPr/>
          </p:nvSpPr>
          <p:spPr>
            <a:xfrm>
              <a:off x="7940312" y="3922825"/>
              <a:ext cx="292716" cy="349603"/>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Lst>
            </p:cNvPr>
            <p:cNvSpPr/>
            <p:nvPr/>
          </p:nvSpPr>
          <p:spPr>
            <a:xfrm>
              <a:off x="7980220" y="4124088"/>
              <a:ext cx="186266" cy="8619"/>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Lst>
            </p:cNvPr>
            <p:cNvSpPr/>
            <p:nvPr/>
          </p:nvSpPr>
          <p:spPr>
            <a:xfrm>
              <a:off x="7980220" y="4077372"/>
              <a:ext cx="186266" cy="8619"/>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Lst>
            </p:cNvPr>
            <p:cNvSpPr/>
            <p:nvPr/>
          </p:nvSpPr>
          <p:spPr>
            <a:xfrm>
              <a:off x="7980220" y="4030395"/>
              <a:ext cx="106536" cy="8619"/>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Lst>
            </p:cNvPr>
            <p:cNvSpPr/>
            <p:nvPr/>
          </p:nvSpPr>
          <p:spPr>
            <a:xfrm>
              <a:off x="7980220" y="3976610"/>
              <a:ext cx="106536" cy="8619"/>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Lst>
            </p:cNvPr>
            <p:cNvSpPr/>
            <p:nvPr/>
          </p:nvSpPr>
          <p:spPr>
            <a:xfrm rot="5400000" flipH="1">
              <a:off x="8070034" y="4109433"/>
              <a:ext cx="148339" cy="177646"/>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5" name="Isosceles Triangle 54">
            <a:extLst>
              <a:ext uri="{FF2B5EF4-FFF2-40B4-BE49-F238E27FC236}">
                <a16:creationId xmlns:a16="http://schemas.microsoft.com/office/drawing/2014/main" id="{9C81563E-B467-45B8-AFB3-B5EA89C9C03F}"/>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521C99FF-882A-40CC-91F6-7ABEF537EB27}"/>
              </a:ext>
            </a:extLst>
          </p:cNvPr>
          <p:cNvGrpSpPr/>
          <p:nvPr/>
        </p:nvGrpSpPr>
        <p:grpSpPr>
          <a:xfrm>
            <a:off x="4453890" y="1966826"/>
            <a:ext cx="7928610" cy="4041919"/>
            <a:chOff x="4453890" y="1966826"/>
            <a:chExt cx="7928610" cy="4041919"/>
          </a:xfrm>
        </p:grpSpPr>
        <p:sp>
          <p:nvSpPr>
            <p:cNvPr id="29" name="TextBox 28">
              <a:extLst>
                <a:ext uri="{FF2B5EF4-FFF2-40B4-BE49-F238E27FC236}">
                  <a16:creationId xmlns:a16="http://schemas.microsoft.com/office/drawing/2014/main" id="{FC6B5385-C40E-419D-AD54-5CC638522499}"/>
                </a:ext>
              </a:extLst>
            </p:cNvPr>
            <p:cNvSpPr txBox="1"/>
            <p:nvPr/>
          </p:nvSpPr>
          <p:spPr>
            <a:xfrm>
              <a:off x="5940989" y="3108949"/>
              <a:ext cx="5958911" cy="615553"/>
            </a:xfrm>
            <a:prstGeom prst="rect">
              <a:avLst/>
            </a:prstGeom>
            <a:noFill/>
          </p:spPr>
          <p:txBody>
            <a:bodyPr wrap="square" lIns="0" tIns="0" rIns="0" bIns="0" rtlCol="0" anchor="ctr">
              <a:noAutofit/>
            </a:bodyPr>
            <a:lstStyle/>
            <a:p>
              <a:r>
                <a:rPr lang="en-US" sz="2000">
                  <a:solidFill>
                    <a:srgbClr val="0B556A"/>
                  </a:solidFill>
                  <a:latin typeface="+mj-lt"/>
                </a:rPr>
                <a:t>Offers an easy to use designer to help create unique customer virtual agent experiences</a:t>
              </a:r>
            </a:p>
          </p:txBody>
        </p:sp>
        <p:sp>
          <p:nvSpPr>
            <p:cNvPr id="30" name="TextBox 29">
              <a:extLst>
                <a:ext uri="{FF2B5EF4-FFF2-40B4-BE49-F238E27FC236}">
                  <a16:creationId xmlns:a16="http://schemas.microsoft.com/office/drawing/2014/main" id="{42176865-6857-4892-9395-7A4F8E7AC7DC}"/>
                </a:ext>
              </a:extLst>
            </p:cNvPr>
            <p:cNvSpPr txBox="1"/>
            <p:nvPr/>
          </p:nvSpPr>
          <p:spPr>
            <a:xfrm>
              <a:off x="6996817" y="4251072"/>
              <a:ext cx="4339129" cy="615553"/>
            </a:xfrm>
            <a:prstGeom prst="rect">
              <a:avLst/>
            </a:prstGeom>
            <a:noFill/>
          </p:spPr>
          <p:txBody>
            <a:bodyPr wrap="square" lIns="0" tIns="0" rIns="0" bIns="0" rtlCol="0" anchor="ctr">
              <a:noAutofit/>
            </a:bodyPr>
            <a:lstStyle/>
            <a:p>
              <a:r>
                <a:rPr lang="en-US" sz="2000">
                  <a:solidFill>
                    <a:srgbClr val="0B556A"/>
                  </a:solidFill>
                  <a:latin typeface="+mj-lt"/>
                </a:rPr>
                <a:t>Part of the Microsoft Power Platform</a:t>
              </a:r>
            </a:p>
          </p:txBody>
        </p:sp>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331794" cy="615553"/>
            </a:xfrm>
            <a:prstGeom prst="rect">
              <a:avLst/>
            </a:prstGeom>
            <a:noFill/>
          </p:spPr>
          <p:txBody>
            <a:bodyPr wrap="square" lIns="0" tIns="0" rIns="0" bIns="0" rtlCol="0" anchor="ctr">
              <a:noAutofit/>
            </a:bodyPr>
            <a:lstStyle/>
            <a:p>
              <a:r>
                <a:rPr lang="en-US" sz="2000">
                  <a:solidFill>
                    <a:srgbClr val="0B556A"/>
                  </a:solidFill>
                  <a:latin typeface="+mj-lt"/>
                </a:rPr>
                <a:t>Built on the Microsoft Common Data Service</a:t>
              </a:r>
            </a:p>
          </p:txBody>
        </p:sp>
        <p:sp>
          <p:nvSpPr>
            <p:cNvPr id="28" name="TextBox 27">
              <a:extLst>
                <a:ext uri="{FF2B5EF4-FFF2-40B4-BE49-F238E27FC236}">
                  <a16:creationId xmlns:a16="http://schemas.microsoft.com/office/drawing/2014/main" id="{361012E7-9AED-4934-9FF3-EA1D69AB398F}"/>
                </a:ext>
              </a:extLst>
            </p:cNvPr>
            <p:cNvSpPr txBox="1"/>
            <p:nvPr/>
          </p:nvSpPr>
          <p:spPr>
            <a:xfrm>
              <a:off x="4764851" y="1966826"/>
              <a:ext cx="5989730" cy="615553"/>
            </a:xfrm>
            <a:prstGeom prst="rect">
              <a:avLst/>
            </a:prstGeom>
            <a:noFill/>
          </p:spPr>
          <p:txBody>
            <a:bodyPr wrap="square" lIns="0" tIns="0" rIns="0" bIns="0" rtlCol="0" anchor="ctr">
              <a:noAutofit/>
            </a:bodyPr>
            <a:lstStyle/>
            <a:p>
              <a:r>
                <a:rPr lang="en-US" sz="2000">
                  <a:solidFill>
                    <a:srgbClr val="0B556A"/>
                  </a:solidFill>
                  <a:latin typeface="+mj-lt"/>
                </a:rPr>
                <a:t>Power Virtual Agents enables users to create a chatbot in just minutes</a:t>
              </a:r>
            </a:p>
          </p:txBody>
        </p:sp>
        <p:cxnSp>
          <p:nvCxnSpPr>
            <p:cNvPr id="43" name="Straight Connector 42">
              <a:extLst>
                <a:ext uri="{FF2B5EF4-FFF2-40B4-BE49-F238E27FC236}">
                  <a16:creationId xmlns:a16="http://schemas.microsoft.com/office/drawing/2014/main" id="{5489410D-C583-47D0-B715-0591CBB93AB0}"/>
                </a:ext>
              </a:extLst>
            </p:cNvPr>
            <p:cNvCxnSpPr>
              <a:cxnSpLocks/>
            </p:cNvCxnSpPr>
            <p:nvPr/>
          </p:nvCxnSpPr>
          <p:spPr>
            <a:xfrm>
              <a:off x="5594985" y="398778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2B0DB7-91F8-4652-8995-2977341AE13D}"/>
                </a:ext>
              </a:extLst>
            </p:cNvPr>
            <p:cNvCxnSpPr>
              <a:cxnSpLocks/>
            </p:cNvCxnSpPr>
            <p:nvPr/>
          </p:nvCxnSpPr>
          <p:spPr>
            <a:xfrm>
              <a:off x="6750824" y="512991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ACB844-9344-45B4-807F-A85CC792ACA3}"/>
                </a:ext>
              </a:extLst>
            </p:cNvPr>
            <p:cNvCxnSpPr>
              <a:cxnSpLocks/>
            </p:cNvCxnSpPr>
            <p:nvPr/>
          </p:nvCxnSpPr>
          <p:spPr>
            <a:xfrm>
              <a:off x="4764851" y="2845664"/>
              <a:ext cx="761764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Lst>
            </p:cNvPr>
            <p:cNvCxnSpPr>
              <a:cxnSpLocks/>
            </p:cNvCxnSpPr>
            <p:nvPr/>
          </p:nvCxnSpPr>
          <p:spPr>
            <a:xfrm>
              <a:off x="5940989" y="3987787"/>
              <a:ext cx="6441511"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Lst>
            </p:cNvPr>
            <p:cNvCxnSpPr>
              <a:cxnSpLocks/>
            </p:cNvCxnSpPr>
            <p:nvPr/>
          </p:nvCxnSpPr>
          <p:spPr>
            <a:xfrm>
              <a:off x="7025144" y="5129910"/>
              <a:ext cx="5357356"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61ECE3-A683-47C9-8077-6EF6DC04E419}"/>
                </a:ext>
              </a:extLst>
            </p:cNvPr>
            <p:cNvCxnSpPr>
              <a:cxnSpLocks/>
            </p:cNvCxnSpPr>
            <p:nvPr/>
          </p:nvCxnSpPr>
          <p:spPr>
            <a:xfrm>
              <a:off x="4453890" y="28456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40" name="Graphic 4">
            <a:extLst>
              <a:ext uri="{FF2B5EF4-FFF2-40B4-BE49-F238E27FC236}">
                <a16:creationId xmlns:a16="http://schemas.microsoft.com/office/drawing/2014/main" id="{179C628A-3F31-425C-A662-3811001552C1}"/>
              </a:ext>
            </a:extLst>
          </p:cNvPr>
          <p:cNvSpPr/>
          <p:nvPr/>
        </p:nvSpPr>
        <p:spPr>
          <a:xfrm>
            <a:off x="2200574" y="1924405"/>
            <a:ext cx="683898" cy="700396"/>
          </a:xfrm>
          <a:custGeom>
            <a:avLst/>
            <a:gdLst>
              <a:gd name="connsiteX0" fmla="*/ 125030 w 245201"/>
              <a:gd name="connsiteY0" fmla="*/ 155448 h 251118"/>
              <a:gd name="connsiteX1" fmla="*/ 140080 w 245201"/>
              <a:gd name="connsiteY1" fmla="*/ 171831 h 251118"/>
              <a:gd name="connsiteX2" fmla="*/ 179418 w 245201"/>
              <a:gd name="connsiteY2" fmla="*/ 214598 h 251118"/>
              <a:gd name="connsiteX3" fmla="*/ 206564 w 245201"/>
              <a:gd name="connsiteY3" fmla="*/ 244126 h 251118"/>
              <a:gd name="connsiteX4" fmla="*/ 238378 w 245201"/>
              <a:gd name="connsiteY4" fmla="*/ 245078 h 251118"/>
              <a:gd name="connsiteX5" fmla="*/ 239426 w 245201"/>
              <a:gd name="connsiteY5" fmla="*/ 213932 h 251118"/>
              <a:gd name="connsiteX6" fmla="*/ 212279 w 245201"/>
              <a:gd name="connsiteY6" fmla="*/ 184404 h 251118"/>
              <a:gd name="connsiteX7" fmla="*/ 172941 w 245201"/>
              <a:gd name="connsiteY7" fmla="*/ 141637 h 251118"/>
              <a:gd name="connsiteX8" fmla="*/ 157892 w 245201"/>
              <a:gd name="connsiteY8" fmla="*/ 125254 h 251118"/>
              <a:gd name="connsiteX9" fmla="*/ 157892 w 245201"/>
              <a:gd name="connsiteY9" fmla="*/ 125254 h 251118"/>
              <a:gd name="connsiteX10" fmla="*/ 109124 w 245201"/>
              <a:gd name="connsiteY10" fmla="*/ 104680 h 251118"/>
              <a:gd name="connsiteX11" fmla="*/ 69404 w 245201"/>
              <a:gd name="connsiteY11" fmla="*/ 61532 h 251118"/>
              <a:gd name="connsiteX12" fmla="*/ 231901 w 245201"/>
              <a:gd name="connsiteY12" fmla="*/ 24003 h 251118"/>
              <a:gd name="connsiteX13" fmla="*/ 228377 w 245201"/>
              <a:gd name="connsiteY13" fmla="*/ 95917 h 251118"/>
              <a:gd name="connsiteX14" fmla="*/ 182085 w 245201"/>
              <a:gd name="connsiteY14" fmla="*/ 108680 h 251118"/>
              <a:gd name="connsiteX15" fmla="*/ 175037 w 245201"/>
              <a:gd name="connsiteY15" fmla="*/ 106013 h 251118"/>
              <a:gd name="connsiteX16" fmla="*/ 36734 w 245201"/>
              <a:gd name="connsiteY16" fmla="*/ 233267 h 251118"/>
              <a:gd name="connsiteX17" fmla="*/ 5587 w 245201"/>
              <a:gd name="connsiteY17" fmla="*/ 232220 h 251118"/>
              <a:gd name="connsiteX18" fmla="*/ 7111 w 245201"/>
              <a:gd name="connsiteY18" fmla="*/ 201073 h 251118"/>
              <a:gd name="connsiteX19" fmla="*/ 145414 w 245201"/>
              <a:gd name="connsiteY19" fmla="*/ 73819 h 251118"/>
              <a:gd name="connsiteX20" fmla="*/ 143318 w 245201"/>
              <a:gd name="connsiteY20" fmla="*/ 66580 h 251118"/>
              <a:gd name="connsiteX21" fmla="*/ 159892 w 245201"/>
              <a:gd name="connsiteY21" fmla="*/ 21527 h 251118"/>
              <a:gd name="connsiteX22" fmla="*/ 231901 w 245201"/>
              <a:gd name="connsiteY22" fmla="*/ 24003 h 251118"/>
              <a:gd name="connsiteX23" fmla="*/ 231901 w 245201"/>
              <a:gd name="connsiteY23" fmla="*/ 24003 h 251118"/>
              <a:gd name="connsiteX24" fmla="*/ 230186 w 245201"/>
              <a:gd name="connsiteY24" fmla="*/ 22098 h 251118"/>
              <a:gd name="connsiteX25" fmla="*/ 194372 w 245201"/>
              <a:gd name="connsiteY25" fmla="*/ 55055 h 251118"/>
              <a:gd name="connsiteX26" fmla="*/ 73405 w 245201"/>
              <a:gd name="connsiteY26" fmla="*/ 29432 h 251118"/>
              <a:gd name="connsiteX27" fmla="*/ 66071 w 245201"/>
              <a:gd name="connsiteY27" fmla="*/ 56674 h 251118"/>
              <a:gd name="connsiteX28" fmla="*/ 39020 w 245201"/>
              <a:gd name="connsiteY28" fmla="*/ 63151 h 251118"/>
              <a:gd name="connsiteX29" fmla="*/ 10159 w 245201"/>
              <a:gd name="connsiteY29" fmla="*/ 33719 h 251118"/>
              <a:gd name="connsiteX30" fmla="*/ 44544 w 245201"/>
              <a:gd name="connsiteY30" fmla="*/ 0 h 251118"/>
              <a:gd name="connsiteX31" fmla="*/ 73405 w 245201"/>
              <a:gd name="connsiteY31" fmla="*/ 29432 h 25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5201" h="251118">
                <a:moveTo>
                  <a:pt x="125030" y="155448"/>
                </a:moveTo>
                <a:cubicBezTo>
                  <a:pt x="125030" y="155448"/>
                  <a:pt x="125030" y="155448"/>
                  <a:pt x="140080" y="171831"/>
                </a:cubicBezTo>
                <a:cubicBezTo>
                  <a:pt x="140080" y="171831"/>
                  <a:pt x="140080" y="171831"/>
                  <a:pt x="179418" y="214598"/>
                </a:cubicBezTo>
                <a:cubicBezTo>
                  <a:pt x="179418" y="214598"/>
                  <a:pt x="179418" y="214598"/>
                  <a:pt x="206564" y="244126"/>
                </a:cubicBezTo>
                <a:cubicBezTo>
                  <a:pt x="214661" y="252889"/>
                  <a:pt x="229043" y="253651"/>
                  <a:pt x="238378" y="245078"/>
                </a:cubicBezTo>
                <a:cubicBezTo>
                  <a:pt x="247046" y="237077"/>
                  <a:pt x="247522" y="222695"/>
                  <a:pt x="239426" y="213932"/>
                </a:cubicBezTo>
                <a:cubicBezTo>
                  <a:pt x="239426" y="213932"/>
                  <a:pt x="239426" y="213932"/>
                  <a:pt x="212279" y="184404"/>
                </a:cubicBezTo>
                <a:cubicBezTo>
                  <a:pt x="212279" y="184404"/>
                  <a:pt x="212279" y="184404"/>
                  <a:pt x="172941" y="141637"/>
                </a:cubicBezTo>
                <a:cubicBezTo>
                  <a:pt x="172941" y="141637"/>
                  <a:pt x="172941" y="141637"/>
                  <a:pt x="157892" y="125254"/>
                </a:cubicBezTo>
                <a:lnTo>
                  <a:pt x="157892" y="125254"/>
                </a:lnTo>
                <a:moveTo>
                  <a:pt x="109124" y="104680"/>
                </a:moveTo>
                <a:cubicBezTo>
                  <a:pt x="109124" y="104680"/>
                  <a:pt x="109124" y="104680"/>
                  <a:pt x="69404" y="61532"/>
                </a:cubicBezTo>
                <a:moveTo>
                  <a:pt x="231901" y="24003"/>
                </a:moveTo>
                <a:cubicBezTo>
                  <a:pt x="250760" y="44482"/>
                  <a:pt x="249141" y="76867"/>
                  <a:pt x="228377" y="95917"/>
                </a:cubicBezTo>
                <a:cubicBezTo>
                  <a:pt x="215137" y="108014"/>
                  <a:pt x="198182" y="112300"/>
                  <a:pt x="182085" y="108680"/>
                </a:cubicBezTo>
                <a:cubicBezTo>
                  <a:pt x="175037" y="106013"/>
                  <a:pt x="175037" y="106013"/>
                  <a:pt x="175037" y="106013"/>
                </a:cubicBezTo>
                <a:cubicBezTo>
                  <a:pt x="36734" y="233267"/>
                  <a:pt x="36734" y="233267"/>
                  <a:pt x="36734" y="233267"/>
                </a:cubicBezTo>
                <a:cubicBezTo>
                  <a:pt x="27971" y="241364"/>
                  <a:pt x="13588" y="240887"/>
                  <a:pt x="5587" y="232220"/>
                </a:cubicBezTo>
                <a:cubicBezTo>
                  <a:pt x="-2414" y="223552"/>
                  <a:pt x="-1747" y="209169"/>
                  <a:pt x="7111" y="201073"/>
                </a:cubicBezTo>
                <a:cubicBezTo>
                  <a:pt x="145414" y="73819"/>
                  <a:pt x="145414" y="73819"/>
                  <a:pt x="145414" y="73819"/>
                </a:cubicBezTo>
                <a:cubicBezTo>
                  <a:pt x="143318" y="66580"/>
                  <a:pt x="143318" y="66580"/>
                  <a:pt x="143318" y="66580"/>
                </a:cubicBezTo>
                <a:cubicBezTo>
                  <a:pt x="141699" y="50959"/>
                  <a:pt x="146747" y="33719"/>
                  <a:pt x="159892" y="21527"/>
                </a:cubicBezTo>
                <a:cubicBezTo>
                  <a:pt x="180656" y="2381"/>
                  <a:pt x="213041" y="3524"/>
                  <a:pt x="231901" y="24003"/>
                </a:cubicBezTo>
                <a:lnTo>
                  <a:pt x="231901" y="24003"/>
                </a:lnTo>
                <a:close/>
                <a:moveTo>
                  <a:pt x="230186" y="22098"/>
                </a:moveTo>
                <a:cubicBezTo>
                  <a:pt x="194372" y="55055"/>
                  <a:pt x="194372" y="55055"/>
                  <a:pt x="194372" y="55055"/>
                </a:cubicBezTo>
                <a:moveTo>
                  <a:pt x="73405" y="29432"/>
                </a:moveTo>
                <a:lnTo>
                  <a:pt x="66071" y="56674"/>
                </a:lnTo>
                <a:lnTo>
                  <a:pt x="39020" y="63151"/>
                </a:lnTo>
                <a:lnTo>
                  <a:pt x="10159" y="33719"/>
                </a:lnTo>
                <a:lnTo>
                  <a:pt x="44544" y="0"/>
                </a:lnTo>
                <a:lnTo>
                  <a:pt x="73405" y="2943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1" name="Touch_E815" title="Icon of a closed hand with one finger pressing a button">
            <a:extLst>
              <a:ext uri="{FF2B5EF4-FFF2-40B4-BE49-F238E27FC236}">
                <a16:creationId xmlns:a16="http://schemas.microsoft.com/office/drawing/2014/main" id="{FAC4BCD0-AF26-4F61-836D-A0ED0EB1DBFC}"/>
              </a:ext>
            </a:extLst>
          </p:cNvPr>
          <p:cNvSpPr>
            <a:spLocks noChangeAspect="1" noEditPoints="1"/>
          </p:cNvSpPr>
          <p:nvPr/>
        </p:nvSpPr>
        <p:spPr bwMode="auto">
          <a:xfrm>
            <a:off x="3310177" y="3066528"/>
            <a:ext cx="479234" cy="70039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45" name="Group 44">
            <a:extLst>
              <a:ext uri="{FF2B5EF4-FFF2-40B4-BE49-F238E27FC236}">
                <a16:creationId xmlns:a16="http://schemas.microsoft.com/office/drawing/2014/main" id="{B7E5E654-6AC3-428F-9EFA-14AE7BEBE250}"/>
              </a:ext>
            </a:extLst>
          </p:cNvPr>
          <p:cNvGrpSpPr/>
          <p:nvPr/>
        </p:nvGrpSpPr>
        <p:grpSpPr>
          <a:xfrm>
            <a:off x="4427143" y="4207484"/>
            <a:ext cx="693613" cy="702737"/>
            <a:chOff x="4694238" y="973138"/>
            <a:chExt cx="241300" cy="244475"/>
          </a:xfrm>
        </p:grpSpPr>
        <p:sp>
          <p:nvSpPr>
            <p:cNvPr id="46" name="Freeform 117">
              <a:extLst>
                <a:ext uri="{FF2B5EF4-FFF2-40B4-BE49-F238E27FC236}">
                  <a16:creationId xmlns:a16="http://schemas.microsoft.com/office/drawing/2014/main" id="{30E4176C-4482-4F7C-A92B-802E94C2100A}"/>
                </a:ext>
              </a:extLst>
            </p:cNvPr>
            <p:cNvSpPr>
              <a:spLocks/>
            </p:cNvSpPr>
            <p:nvPr/>
          </p:nvSpPr>
          <p:spPr bwMode="auto">
            <a:xfrm>
              <a:off x="4808538" y="973138"/>
              <a:ext cx="104775" cy="103188"/>
            </a:xfrm>
            <a:custGeom>
              <a:avLst/>
              <a:gdLst>
                <a:gd name="T0" fmla="*/ 38 w 54"/>
                <a:gd name="T1" fmla="*/ 53 h 53"/>
                <a:gd name="T2" fmla="*/ 38 w 54"/>
                <a:gd name="T3" fmla="*/ 38 h 53"/>
                <a:gd name="T4" fmla="*/ 54 w 54"/>
                <a:gd name="T5" fmla="*/ 38 h 53"/>
                <a:gd name="T6" fmla="*/ 54 w 54"/>
                <a:gd name="T7" fmla="*/ 15 h 53"/>
                <a:gd name="T8" fmla="*/ 38 w 54"/>
                <a:gd name="T9" fmla="*/ 15 h 53"/>
                <a:gd name="T10" fmla="*/ 38 w 54"/>
                <a:gd name="T11" fmla="*/ 0 h 53"/>
                <a:gd name="T12" fmla="*/ 15 w 54"/>
                <a:gd name="T13" fmla="*/ 0 h 53"/>
                <a:gd name="T14" fmla="*/ 15 w 54"/>
                <a:gd name="T15" fmla="*/ 15 h 53"/>
                <a:gd name="T16" fmla="*/ 0 w 54"/>
                <a:gd name="T17" fmla="*/ 15 h 53"/>
                <a:gd name="T18" fmla="*/ 0 w 54"/>
                <a:gd name="T19" fmla="*/ 38 h 53"/>
                <a:gd name="T20" fmla="*/ 15 w 54"/>
                <a:gd name="T21" fmla="*/ 38 h 53"/>
                <a:gd name="T22" fmla="*/ 15 w 54"/>
                <a:gd name="T23" fmla="*/ 53 h 53"/>
                <a:gd name="T24" fmla="*/ 38 w 54"/>
                <a:gd name="T25" fmla="*/ 53 h 53"/>
                <a:gd name="T26" fmla="*/ 38 w 54"/>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3">
                  <a:moveTo>
                    <a:pt x="38" y="53"/>
                  </a:moveTo>
                  <a:cubicBezTo>
                    <a:pt x="38" y="38"/>
                    <a:pt x="38" y="38"/>
                    <a:pt x="38" y="38"/>
                  </a:cubicBezTo>
                  <a:cubicBezTo>
                    <a:pt x="54" y="38"/>
                    <a:pt x="54" y="38"/>
                    <a:pt x="54" y="38"/>
                  </a:cubicBezTo>
                  <a:cubicBezTo>
                    <a:pt x="54" y="15"/>
                    <a:pt x="54" y="15"/>
                    <a:pt x="54" y="15"/>
                  </a:cubicBezTo>
                  <a:cubicBezTo>
                    <a:pt x="38" y="15"/>
                    <a:pt x="38" y="15"/>
                    <a:pt x="38" y="15"/>
                  </a:cubicBezTo>
                  <a:cubicBezTo>
                    <a:pt x="38" y="0"/>
                    <a:pt x="38" y="0"/>
                    <a:pt x="38" y="0"/>
                  </a:cubicBezTo>
                  <a:cubicBezTo>
                    <a:pt x="15" y="0"/>
                    <a:pt x="15" y="0"/>
                    <a:pt x="15" y="0"/>
                  </a:cubicBezTo>
                  <a:cubicBezTo>
                    <a:pt x="15" y="15"/>
                    <a:pt x="15" y="15"/>
                    <a:pt x="15" y="15"/>
                  </a:cubicBezTo>
                  <a:cubicBezTo>
                    <a:pt x="0" y="15"/>
                    <a:pt x="0" y="15"/>
                    <a:pt x="0" y="15"/>
                  </a:cubicBezTo>
                  <a:cubicBezTo>
                    <a:pt x="0" y="38"/>
                    <a:pt x="0" y="38"/>
                    <a:pt x="0" y="38"/>
                  </a:cubicBezTo>
                  <a:cubicBezTo>
                    <a:pt x="15" y="38"/>
                    <a:pt x="15" y="38"/>
                    <a:pt x="15" y="38"/>
                  </a:cubicBezTo>
                  <a:cubicBezTo>
                    <a:pt x="15" y="53"/>
                    <a:pt x="15" y="53"/>
                    <a:pt x="15" y="53"/>
                  </a:cubicBezTo>
                  <a:cubicBezTo>
                    <a:pt x="38" y="53"/>
                    <a:pt x="38" y="53"/>
                    <a:pt x="38" y="53"/>
                  </a:cubicBezTo>
                  <a:cubicBezTo>
                    <a:pt x="38" y="53"/>
                    <a:pt x="38" y="53"/>
                    <a:pt x="38" y="53"/>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8" name="Freeform 118">
              <a:extLst>
                <a:ext uri="{FF2B5EF4-FFF2-40B4-BE49-F238E27FC236}">
                  <a16:creationId xmlns:a16="http://schemas.microsoft.com/office/drawing/2014/main" id="{E8CEF97D-772A-4199-BBB7-CA39D50EB669}"/>
                </a:ext>
              </a:extLst>
            </p:cNvPr>
            <p:cNvSpPr>
              <a:spLocks/>
            </p:cNvSpPr>
            <p:nvPr/>
          </p:nvSpPr>
          <p:spPr bwMode="auto">
            <a:xfrm>
              <a:off x="4694238" y="1100138"/>
              <a:ext cx="241300" cy="117475"/>
            </a:xfrm>
            <a:custGeom>
              <a:avLst/>
              <a:gdLst>
                <a:gd name="T0" fmla="*/ 31 w 125"/>
                <a:gd name="T1" fmla="*/ 26 h 60"/>
                <a:gd name="T2" fmla="*/ 86 w 125"/>
                <a:gd name="T3" fmla="*/ 26 h 60"/>
                <a:gd name="T4" fmla="*/ 105 w 125"/>
                <a:gd name="T5" fmla="*/ 9 h 60"/>
                <a:gd name="T6" fmla="*/ 125 w 125"/>
                <a:gd name="T7" fmla="*/ 11 h 60"/>
                <a:gd name="T8" fmla="*/ 93 w 125"/>
                <a:gd name="T9" fmla="*/ 42 h 60"/>
                <a:gd name="T10" fmla="*/ 38 w 125"/>
                <a:gd name="T11" fmla="*/ 55 h 60"/>
                <a:gd name="T12" fmla="*/ 8 w 125"/>
                <a:gd name="T13" fmla="*/ 52 h 60"/>
                <a:gd name="T14" fmla="*/ 8 w 125"/>
                <a:gd name="T15" fmla="*/ 25 h 60"/>
                <a:gd name="T16" fmla="*/ 26 w 125"/>
                <a:gd name="T17" fmla="*/ 9 h 60"/>
                <a:gd name="T18" fmla="*/ 69 w 125"/>
                <a:gd name="T19" fmla="*/ 9 h 60"/>
                <a:gd name="T20" fmla="*/ 57 w 125"/>
                <a:gd name="T21" fmla="*/ 2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60">
                  <a:moveTo>
                    <a:pt x="31" y="26"/>
                  </a:moveTo>
                  <a:cubicBezTo>
                    <a:pt x="86" y="26"/>
                    <a:pt x="86" y="26"/>
                    <a:pt x="86" y="26"/>
                  </a:cubicBezTo>
                  <a:cubicBezTo>
                    <a:pt x="86" y="26"/>
                    <a:pt x="95" y="18"/>
                    <a:pt x="105" y="9"/>
                  </a:cubicBezTo>
                  <a:cubicBezTo>
                    <a:pt x="114" y="0"/>
                    <a:pt x="125" y="11"/>
                    <a:pt x="125" y="11"/>
                  </a:cubicBezTo>
                  <a:cubicBezTo>
                    <a:pt x="93" y="42"/>
                    <a:pt x="93" y="42"/>
                    <a:pt x="93" y="42"/>
                  </a:cubicBezTo>
                  <a:cubicBezTo>
                    <a:pt x="93" y="42"/>
                    <a:pt x="39" y="55"/>
                    <a:pt x="38" y="55"/>
                  </a:cubicBezTo>
                  <a:cubicBezTo>
                    <a:pt x="30" y="58"/>
                    <a:pt x="16" y="60"/>
                    <a:pt x="8" y="52"/>
                  </a:cubicBezTo>
                  <a:cubicBezTo>
                    <a:pt x="0" y="45"/>
                    <a:pt x="0" y="32"/>
                    <a:pt x="8" y="25"/>
                  </a:cubicBezTo>
                  <a:cubicBezTo>
                    <a:pt x="26" y="9"/>
                    <a:pt x="26" y="9"/>
                    <a:pt x="26" y="9"/>
                  </a:cubicBezTo>
                  <a:cubicBezTo>
                    <a:pt x="69" y="9"/>
                    <a:pt x="69" y="9"/>
                    <a:pt x="69" y="9"/>
                  </a:cubicBezTo>
                  <a:cubicBezTo>
                    <a:pt x="69" y="21"/>
                    <a:pt x="57" y="26"/>
                    <a:pt x="57" y="2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49" name="Group 48">
            <a:extLst>
              <a:ext uri="{FF2B5EF4-FFF2-40B4-BE49-F238E27FC236}">
                <a16:creationId xmlns:a16="http://schemas.microsoft.com/office/drawing/2014/main" id="{5FA0E510-025D-4EEE-A6A2-2934AB97F085}"/>
              </a:ext>
            </a:extLst>
          </p:cNvPr>
          <p:cNvGrpSpPr/>
          <p:nvPr/>
        </p:nvGrpSpPr>
        <p:grpSpPr>
          <a:xfrm>
            <a:off x="5446103" y="5355596"/>
            <a:ext cx="840401" cy="690746"/>
            <a:chOff x="5337174" y="2773361"/>
            <a:chExt cx="1766792" cy="1452181"/>
          </a:xfrm>
        </p:grpSpPr>
        <p:sp>
          <p:nvSpPr>
            <p:cNvPr id="50" name="Freeform: Shape 49">
              <a:extLst>
                <a:ext uri="{FF2B5EF4-FFF2-40B4-BE49-F238E27FC236}">
                  <a16:creationId xmlns:a16="http://schemas.microsoft.com/office/drawing/2014/main" id="{E34C617E-1825-41D6-8844-844B1EC82C5C}"/>
                </a:ext>
              </a:extLst>
            </p:cNvPr>
            <p:cNvSpPr/>
            <p:nvPr/>
          </p:nvSpPr>
          <p:spPr>
            <a:xfrm>
              <a:off x="5969253" y="3147598"/>
              <a:ext cx="745140" cy="1077944"/>
            </a:xfrm>
            <a:custGeom>
              <a:avLst/>
              <a:gdLst>
                <a:gd name="connsiteX0" fmla="*/ 745141 w 745140"/>
                <a:gd name="connsiteY0" fmla="*/ 1077944 h 1077944"/>
                <a:gd name="connsiteX1" fmla="*/ 0 w 745140"/>
                <a:gd name="connsiteY1" fmla="*/ 1077944 h 1077944"/>
                <a:gd name="connsiteX2" fmla="*/ 0 w 745140"/>
                <a:gd name="connsiteY2" fmla="*/ 505206 h 1077944"/>
                <a:gd name="connsiteX3" fmla="*/ 745141 w 745140"/>
                <a:gd name="connsiteY3" fmla="*/ 505206 h 1077944"/>
                <a:gd name="connsiteX4" fmla="*/ 745141 w 745140"/>
                <a:gd name="connsiteY4" fmla="*/ 1077944 h 1077944"/>
                <a:gd name="connsiteX5" fmla="*/ 745141 w 745140"/>
                <a:gd name="connsiteY5" fmla="*/ 1077944 h 1077944"/>
                <a:gd name="connsiteX6" fmla="*/ 745141 w 745140"/>
                <a:gd name="connsiteY6" fmla="*/ 1077944 h 1077944"/>
                <a:gd name="connsiteX7" fmla="*/ 611029 w 745140"/>
                <a:gd name="connsiteY7" fmla="*/ 505206 h 1077944"/>
                <a:gd name="connsiteX8" fmla="*/ 611029 w 745140"/>
                <a:gd name="connsiteY8" fmla="*/ 241363 h 1077944"/>
                <a:gd name="connsiteX9" fmla="*/ 377190 w 745140"/>
                <a:gd name="connsiteY9" fmla="*/ 0 h 1077944"/>
                <a:gd name="connsiteX10" fmla="*/ 143351 w 745140"/>
                <a:gd name="connsiteY10" fmla="*/ 241363 h 1077944"/>
                <a:gd name="connsiteX11" fmla="*/ 143351 w 745140"/>
                <a:gd name="connsiteY11" fmla="*/ 505206 h 107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140" h="1077944">
                  <a:moveTo>
                    <a:pt x="745141" y="1077944"/>
                  </a:moveTo>
                  <a:cubicBezTo>
                    <a:pt x="0" y="1077944"/>
                    <a:pt x="0" y="1077944"/>
                    <a:pt x="0" y="1077944"/>
                  </a:cubicBezTo>
                  <a:cubicBezTo>
                    <a:pt x="0" y="505206"/>
                    <a:pt x="0" y="505206"/>
                    <a:pt x="0" y="505206"/>
                  </a:cubicBezTo>
                  <a:cubicBezTo>
                    <a:pt x="745141" y="505206"/>
                    <a:pt x="745141" y="505206"/>
                    <a:pt x="745141" y="505206"/>
                  </a:cubicBezTo>
                  <a:lnTo>
                    <a:pt x="745141" y="1077944"/>
                  </a:lnTo>
                  <a:lnTo>
                    <a:pt x="745141" y="1077944"/>
                  </a:lnTo>
                  <a:lnTo>
                    <a:pt x="745141" y="1077944"/>
                  </a:lnTo>
                  <a:close/>
                  <a:moveTo>
                    <a:pt x="611029" y="505206"/>
                  </a:moveTo>
                  <a:cubicBezTo>
                    <a:pt x="611029" y="241363"/>
                    <a:pt x="611029" y="241363"/>
                    <a:pt x="611029" y="241363"/>
                  </a:cubicBezTo>
                  <a:cubicBezTo>
                    <a:pt x="611029" y="109442"/>
                    <a:pt x="508159" y="0"/>
                    <a:pt x="377190" y="0"/>
                  </a:cubicBezTo>
                  <a:cubicBezTo>
                    <a:pt x="246221" y="0"/>
                    <a:pt x="143351" y="109347"/>
                    <a:pt x="143351" y="241363"/>
                  </a:cubicBezTo>
                  <a:cubicBezTo>
                    <a:pt x="143351" y="505206"/>
                    <a:pt x="143351" y="505206"/>
                    <a:pt x="143351" y="50520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1" name="Freeform: Shape 50">
              <a:extLst>
                <a:ext uri="{FF2B5EF4-FFF2-40B4-BE49-F238E27FC236}">
                  <a16:creationId xmlns:a16="http://schemas.microsoft.com/office/drawing/2014/main" id="{817BAB88-2A2B-46C8-B4E1-2643F1F884D1}"/>
                </a:ext>
              </a:extLst>
            </p:cNvPr>
            <p:cNvSpPr/>
            <p:nvPr/>
          </p:nvSpPr>
          <p:spPr>
            <a:xfrm>
              <a:off x="5337174" y="2773361"/>
              <a:ext cx="1766792" cy="1133093"/>
            </a:xfrm>
            <a:custGeom>
              <a:avLst/>
              <a:gdLst>
                <a:gd name="connsiteX0" fmla="*/ 1443228 w 1766792"/>
                <a:gd name="connsiteY0" fmla="*/ 1127855 h 1133093"/>
                <a:gd name="connsiteX1" fmla="*/ 1443228 w 1766792"/>
                <a:gd name="connsiteY1" fmla="*/ 1127855 h 1133093"/>
                <a:gd name="connsiteX2" fmla="*/ 1766792 w 1766792"/>
                <a:gd name="connsiteY2" fmla="*/ 788480 h 1133093"/>
                <a:gd name="connsiteX3" fmla="*/ 1427798 w 1766792"/>
                <a:gd name="connsiteY3" fmla="*/ 443865 h 1133093"/>
                <a:gd name="connsiteX4" fmla="*/ 1427798 w 1766792"/>
                <a:gd name="connsiteY4" fmla="*/ 443865 h 1133093"/>
                <a:gd name="connsiteX5" fmla="*/ 944975 w 1766792"/>
                <a:gd name="connsiteY5" fmla="*/ 0 h 1133093"/>
                <a:gd name="connsiteX6" fmla="*/ 534067 w 1766792"/>
                <a:gd name="connsiteY6" fmla="*/ 234982 h 1133093"/>
                <a:gd name="connsiteX7" fmla="*/ 441579 w 1766792"/>
                <a:gd name="connsiteY7" fmla="*/ 229743 h 1133093"/>
                <a:gd name="connsiteX8" fmla="*/ 0 w 1766792"/>
                <a:gd name="connsiteY8" fmla="*/ 678847 h 1133093"/>
                <a:gd name="connsiteX9" fmla="*/ 441674 w 1766792"/>
                <a:gd name="connsiteY9" fmla="*/ 1133094 h 1133093"/>
                <a:gd name="connsiteX10" fmla="*/ 451961 w 1766792"/>
                <a:gd name="connsiteY10" fmla="*/ 1133094 h 1133093"/>
                <a:gd name="connsiteX11" fmla="*/ 451961 w 1766792"/>
                <a:gd name="connsiteY11" fmla="*/ 1133094 h 1133093"/>
                <a:gd name="connsiteX12" fmla="*/ 576453 w 1766792"/>
                <a:gd name="connsiteY12" fmla="*/ 1133094 h 113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6792" h="1133093">
                  <a:moveTo>
                    <a:pt x="1443228" y="1127855"/>
                  </a:moveTo>
                  <a:lnTo>
                    <a:pt x="1443228" y="1127855"/>
                  </a:lnTo>
                  <a:cubicBezTo>
                    <a:pt x="1622965" y="1122617"/>
                    <a:pt x="1766792" y="971169"/>
                    <a:pt x="1766792" y="788480"/>
                  </a:cubicBezTo>
                  <a:cubicBezTo>
                    <a:pt x="1766792" y="595313"/>
                    <a:pt x="1617821" y="443865"/>
                    <a:pt x="1427798" y="443865"/>
                  </a:cubicBezTo>
                  <a:lnTo>
                    <a:pt x="1427798" y="443865"/>
                  </a:lnTo>
                  <a:cubicBezTo>
                    <a:pt x="1402080" y="193262"/>
                    <a:pt x="1196626" y="0"/>
                    <a:pt x="944975" y="0"/>
                  </a:cubicBezTo>
                  <a:cubicBezTo>
                    <a:pt x="770382" y="0"/>
                    <a:pt x="621411" y="94012"/>
                    <a:pt x="534067" y="234982"/>
                  </a:cubicBezTo>
                  <a:cubicBezTo>
                    <a:pt x="503206" y="229743"/>
                    <a:pt x="472440" y="229743"/>
                    <a:pt x="441579" y="229743"/>
                  </a:cubicBezTo>
                  <a:cubicBezTo>
                    <a:pt x="200311" y="229743"/>
                    <a:pt x="0" y="428149"/>
                    <a:pt x="0" y="678847"/>
                  </a:cubicBezTo>
                  <a:cubicBezTo>
                    <a:pt x="0" y="929545"/>
                    <a:pt x="200311" y="1133094"/>
                    <a:pt x="441674" y="1133094"/>
                  </a:cubicBezTo>
                  <a:cubicBezTo>
                    <a:pt x="446818" y="1133094"/>
                    <a:pt x="446818" y="1133094"/>
                    <a:pt x="451961" y="1133094"/>
                  </a:cubicBezTo>
                  <a:lnTo>
                    <a:pt x="451961" y="1133094"/>
                  </a:lnTo>
                  <a:lnTo>
                    <a:pt x="576453" y="113309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3025323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par>
                                <p:cTn id="17" presetID="10" presetClass="entr" presetSubtype="0" fill="hold" nodeType="withEffect">
                                  <p:stCondLst>
                                    <p:cond delay="25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42" presetClass="path" presetSubtype="0" decel="100000" fill="hold" nodeType="withEffect">
                                  <p:stCondLst>
                                    <p:cond delay="0"/>
                                  </p:stCondLst>
                                  <p:childTnLst>
                                    <p:animMotion origin="layout" path="M -3.33333E-6 -2.22222E-6 L -0.0345 -0.00092 " pathEditMode="relative" rAng="0" ptsTypes="AA">
                                      <p:cBhvr>
                                        <p:cTn id="21"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a:xfrm>
            <a:off x="455993" y="941692"/>
            <a:ext cx="11014517" cy="5030845"/>
          </a:xfrm>
        </p:spPr>
        <p:txBody>
          <a:bodyPr/>
          <a:lstStyle/>
          <a:p>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r>
              <a:rPr lang="en-US" altLang="zh-CN" sz="2800" dirty="0"/>
              <a:t>Lab 02: Build your first Virtual Agent</a:t>
            </a:r>
            <a:br>
              <a:rPr lang="en-US" sz="2800" dirty="0">
                <a:solidFill>
                  <a:schemeClr val="tx1"/>
                </a:solidFill>
              </a:rPr>
            </a:br>
            <a:endParaRPr lang="en-US" sz="2800" dirty="0">
              <a:solidFill>
                <a:schemeClr val="tx1"/>
              </a:solidFill>
            </a:endParaRPr>
          </a:p>
        </p:txBody>
      </p:sp>
    </p:spTree>
    <p:extLst>
      <p:ext uri="{BB962C8B-B14F-4D97-AF65-F5344CB8AC3E}">
        <p14:creationId xmlns:p14="http://schemas.microsoft.com/office/powerpoint/2010/main" val="129754887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B88363-BF62-42ED-B916-98BF6E049A4A}"/>
              </a:ext>
            </a:extLst>
          </p:cNvPr>
          <p:cNvSpPr>
            <a:spLocks noGrp="1"/>
          </p:cNvSpPr>
          <p:nvPr>
            <p:ph type="title"/>
          </p:nvPr>
        </p:nvSpPr>
        <p:spPr/>
        <p:txBody>
          <a:bodyPr/>
          <a:lstStyle/>
          <a:p>
            <a:r>
              <a:rPr lang="en-US" sz="4400">
                <a:cs typeface="Segoe UI"/>
              </a:rPr>
              <a:t>Create topics from existing webpages</a:t>
            </a:r>
          </a:p>
        </p:txBody>
      </p:sp>
      <p:grpSp>
        <p:nvGrpSpPr>
          <p:cNvPr id="3" name="Group 2">
            <a:extLst>
              <a:ext uri="{FF2B5EF4-FFF2-40B4-BE49-F238E27FC236}">
                <a16:creationId xmlns:a16="http://schemas.microsoft.com/office/drawing/2014/main" id="{EF492B9D-1DC4-4239-8418-F951C7E369DF}"/>
              </a:ext>
            </a:extLst>
          </p:cNvPr>
          <p:cNvGrpSpPr/>
          <p:nvPr/>
        </p:nvGrpSpPr>
        <p:grpSpPr>
          <a:xfrm>
            <a:off x="9224441" y="4908514"/>
            <a:ext cx="2967561" cy="1976519"/>
            <a:chOff x="9224440" y="4884660"/>
            <a:chExt cx="2967561" cy="1976519"/>
          </a:xfrm>
        </p:grpSpPr>
        <p:sp>
          <p:nvSpPr>
            <p:cNvPr id="5" name="Freeform: Shape 4">
              <a:extLst>
                <a:ext uri="{FF2B5EF4-FFF2-40B4-BE49-F238E27FC236}">
                  <a16:creationId xmlns:a16="http://schemas.microsoft.com/office/drawing/2014/main" id="{F8F4C4F6-EB89-44D4-B683-1DFA6C42F6F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E066D65A-99C1-4EB2-8050-7736FE6E814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D1CEAF02-2781-4C6A-A5C5-38D617C116D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64C1344-E08E-4E38-8151-1191CE87289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5DD120D-173D-44DE-9DF7-817981CBD9E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C0270B2-231A-4FA2-903F-EC229D4025A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A07FAA61-C1C6-4D27-9D25-6882DA62470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D36647F1-43D5-476F-A637-BC1D3519AF7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C8C5FCE2-4AA3-4345-82B6-49C744928B4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1DBA5C14-93F2-4DFF-B1E0-688210C4DCB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A7197FBA-D2D2-4732-9111-1888BDCA8B6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F0B7388-CE85-47E9-A62F-34F22EA6FEA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39D6C6B-A439-4259-90BC-FAFFA42127F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5634656-FB02-47BD-80BE-B1BDC690A2A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B0F6B833-37F8-4381-AE87-3E387017F9D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606EFDB-27AF-4C41-AE11-BE33F68504F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8D473686-D398-4459-8D6A-4125652C93A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A3030881-BBE8-4C6B-B214-9707875222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4B559D0A-69F3-4EAE-B237-807E1E5D9A4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528CB328-CA97-4968-BB28-3299192F2D85}"/>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E49C21AE-BD94-4281-BA7E-F546CEBAC04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5B2C37ED-C8C0-4957-B879-565F9C32AE5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5BD75661-380B-4B8B-922F-5066B6712060}"/>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6E91EF1-5B0E-42EE-AD66-B975FB034B4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3CDDEB3-A55D-41B0-924E-F70B641A40C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5E24CF0-895D-43FC-9587-9DD0D3F63A2A}"/>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A2768CCF-7AD3-419B-8385-1628F7C11042}"/>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5A8EB767-B49C-4CE6-8CA5-1B992A7CC919}"/>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0B36FE25-34D4-4247-89B2-47B961EA0840}"/>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6F0CE6C0-6000-4BF9-BC3A-F8D04168C518}"/>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0FC94692-EF82-4E9C-8391-23EDD6F427E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F113EAE2-67D8-4515-8086-CE74E05DD21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167FD704-533A-45EA-91A5-7870574268F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531EE91E-C300-46D6-98F7-299AA99F3B0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E767F30E-08CB-435A-B44E-77E8720BD418}"/>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E8C7E742-2460-4679-8542-72F1C1E3D292}"/>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0F3D94F3-7203-456A-B4A8-954EEE4920CE}"/>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EF8B9D7C-F472-4CCA-B2D7-F1988723EC07}"/>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5F64681C-96A1-4E7A-8125-CD97AD29B82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8BC53B79-7B87-44BB-9944-53951D5B630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C27421C3-4026-41E2-8083-0705FB60591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8769F1BE-20D4-4B9A-932B-9E18B4493E7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0DDED3BF-07FA-4A81-BEA8-8915503AF84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9AE33485-3D84-4208-90D7-0D51B6AB44B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59C3B631-EE88-4F11-A2FB-10199DC64AF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A6B5AA2-9A73-418B-A00B-47EC37B6EE2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6D009E0-63D6-4B4E-84A8-3C87C67A439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BFB2EF29-664C-4C8C-B345-F6DC76DA7F9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E68C28F2-370C-46FD-BD0F-F9980C4458D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B9014764-F51F-43C3-BDE4-8969D0A8D97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C464BFC-AA0B-4721-A8FC-C25E4D361E6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5925E420-71EB-466C-B962-773D79F9862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CD9247E-84CA-41EA-897D-97B20193F82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17CF61D-DB89-41FD-8AF2-5017D445FC3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D3DEE622-EE33-48D1-ACFD-6F336074FA0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7A5357B8-50B8-49D1-B174-2D59896327F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28FDE52-6421-45B1-94E4-45C96095820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F37F1C3-1DE7-4E89-9BEB-581740195C0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54DE0ADD-28D2-445B-A3DD-50DBB1D73B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C9C6F8F8-7184-4DCA-A721-AF7182DC778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617317A1-73E5-412D-A529-A58B176847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057F623E-6D43-406D-88FA-7A70BE1DD9D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4E01E3DC-1202-428E-AB80-DEECF98B96B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4E501A8-DCE6-40C9-8F83-8A70F93F25B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CF9CD55-B70B-4979-8C57-B95F04EC5340}"/>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207785AF-7ECA-4776-AFE1-F0BA5B270E5E}"/>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6B745DF9-6FE8-461D-B792-45CE5B5AEA1E}"/>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A141DD67-3B8D-41AB-9CF6-A227B626EFA0}"/>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65ADD48B-D3D5-48A5-AA2F-B3EB08D0FD06}"/>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67896F65-DE5D-4065-B1E6-5C8392B638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3548579B-7D9E-42C1-9570-C78E2227BD5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9837E-A735-415B-AD62-9D3FA0FB16DD}"/>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0171916-2D0D-4827-B4F4-29AF7D973995}"/>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047454BC-9591-41CD-B442-C2C6EE6D3EC6}"/>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F5183C20-A127-4DF1-B490-E70D2D8366B9}"/>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716E5BB-7F5C-4616-B09A-852A6125DC2F}"/>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A9994E58-7C0F-430A-9F2F-884B5CAA1F28}"/>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A912891-CBCA-406F-BD3F-19610421EB1F}"/>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924B4F79-C3F0-49BF-B1E0-F8E528008FF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07CE83E4-480F-4B91-B38A-92877DDAF8E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68564AF1-9930-4D3A-9855-6676F5A970CA}"/>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6023C68C-E495-4A43-9EC4-5BCFFAD8D096}"/>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C23A50D-8F89-4BC9-B5B4-05E8D46DFE81}"/>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1D54D079-F4DA-4967-89D5-D9596417013B}"/>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AA957657-D94E-48A5-987F-D8D4B42FD83B}"/>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C538AC1B-5E89-48FF-B5B6-1F8A0AD3B1EC}"/>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AD0844D4-C455-43FA-9216-FFFE7134D008}"/>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C1BC23-1B65-49DA-9739-084F16F9182B}"/>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BA95DB5F-EBE9-46B2-A287-8383594B7AA6}"/>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7E62692-885E-48A8-BB74-9EF73151EB0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E43235FF-7B30-4AC2-88AC-1A9F72C25DA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51DE660-B8DC-4023-883B-14F3389A3696}"/>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AD8B349D-7003-4854-8A37-3BB01869FD53}"/>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E207BFA0-B68A-479D-A756-240E5534487D}"/>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5C90169F-476A-4E8A-A946-D730B96AE7FA}"/>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CA5F2643-4B30-4989-B50C-282356DAF462}"/>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1E49A524-B209-4ED5-8841-070529630EB6}"/>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D85A9B0-6B38-4D3F-8676-C25D2403DDF7}"/>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07E4E0BA-7C33-401E-823F-947B32039B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920E1DAC-76BC-4401-A6C0-48F035C956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40C6228-EEC0-4844-AF18-4DE30DD4D676}"/>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ABCC234-69C6-4527-B5F8-8EBF8AD8FA5B}"/>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0DEEE8CF-607C-46BB-BB62-B28DDF5C8A35}"/>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9C4B96D8-2769-47C9-A83C-020D100BD023}"/>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69DEC9D-95E0-4F7F-ADD7-E41A452486E0}"/>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B7C7F584-7377-4E0B-A077-BF16CF5B5B12}"/>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DEF7C0C-5082-48DE-8643-369D17948360}"/>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50CE4285-00CE-4F9D-82E7-02C4B442DC52}"/>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F639DA1D-342C-4C6F-9E2C-D67F86CACC9D}"/>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590B445-69A6-49B3-A206-E11FD682F7C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550BB3B-B59B-4EBF-B1D0-70D32C3EB79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1F980314-567A-46C7-923E-DB20C456D181}"/>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D7E3B317-37E3-4F68-8B4B-0CDA50269E27}"/>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1CB3B006-09AC-4146-9113-7F72691902F6}"/>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038B67F5-A7EF-4620-B498-1BB8F4CA1A31}"/>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30DCFD91-D25F-4E2D-93E4-158D299CEBB7}"/>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D0E0F3B9-0A0E-48C0-A377-0B2D1FC22872}"/>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9E53A673-3814-498C-A32F-D465226E59A0}"/>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91CB7125-B70B-4E7A-9C17-060395DC7CF3}"/>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2932C070-0C1B-4EC0-A430-C9A9C9FFC5CC}"/>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60E1C004-B795-490F-88CC-2BE8E75D0281}"/>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D0FDFE75-C7D9-446C-A9F1-FA3E01C3CB7C}"/>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E99D83CC-DE0A-4BE4-8F21-E08E13C2F167}"/>
              </a:ext>
            </a:extLst>
          </p:cNvPr>
          <p:cNvGrpSpPr/>
          <p:nvPr/>
        </p:nvGrpSpPr>
        <p:grpSpPr>
          <a:xfrm>
            <a:off x="10357803" y="19782"/>
            <a:ext cx="1834198" cy="1586279"/>
            <a:chOff x="10357802" y="-4071"/>
            <a:chExt cx="1834198" cy="1586279"/>
          </a:xfrm>
        </p:grpSpPr>
        <p:grpSp>
          <p:nvGrpSpPr>
            <p:cNvPr id="128" name="Group 127">
              <a:extLst>
                <a:ext uri="{FF2B5EF4-FFF2-40B4-BE49-F238E27FC236}">
                  <a16:creationId xmlns:a16="http://schemas.microsoft.com/office/drawing/2014/main" id="{41179EA8-0055-4D91-B00A-CEAAC2446D27}"/>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6615E0A1-CFA8-46D5-B244-1296D700676A}"/>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B176900-A46A-4396-91F3-C0E38A8C1BA1}"/>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60ECEF8F-898C-41EB-9745-BA866FD18B8A}"/>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D7249AD9-8646-4F0A-9B9D-A79F7679025D}"/>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60DBFB7F-98B7-40EE-A89D-F21A9F130A85}"/>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D2F77F33-30FE-4BC1-AC6B-D6C8CB5E85E5}"/>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BA280D50-1C62-4602-BBFD-B0451421CBF0}"/>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D8B635D5-BCAA-4B1C-8BA5-E76E9D6D2350}"/>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C89ECAFE-CAC2-497E-8CFE-D703BCF7EC00}"/>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A092E7D-093E-4CB1-802C-96832F779D80}"/>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19F33F19-D07A-4B11-92AC-DA6B59EF93E9}"/>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6E1AE7D-F492-49EB-A79B-97EB6ECDAC90}"/>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7C0E7F30-34EF-4D1E-88AD-04BC98D1064B}"/>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80CC318-30CD-47A3-BFAB-8A3B163CA317}"/>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2E4756EE-9FD4-4C08-8597-120A9F534A29}"/>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2BC432E5-E177-4FF3-B97E-DC8A20194CAE}"/>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0702F81D-CE95-4524-8CF1-BD50FF3E97BC}"/>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F5381661-A736-4119-8838-1A6274CF4002}"/>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A5CF2799-1B7D-4BD1-BEB0-4287CB3E2B6A}"/>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4548C822-15C5-4C17-9E98-5E88E580AF1D}"/>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B2A7D16B-B5FB-4EC9-9FBB-EBA9D170B59D}"/>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B00DBFD1-7055-482E-B9C0-AA7C3C3E6EAD}"/>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C89927A3-DE68-49E9-9749-047D755F5C04}"/>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7638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480860199"/>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b="1">
                          <a:solidFill>
                            <a:schemeClr val="bg1"/>
                          </a:solidFill>
                        </a:rPr>
                        <a:t>3</a:t>
                      </a:r>
                    </a:p>
                  </a:txBody>
                  <a:tcPr marL="18180" marR="10908" marT="10908" marB="10908" anchor="ctr">
                    <a:solidFill>
                      <a:srgbClr val="0B556A"/>
                    </a:solidFill>
                  </a:tcPr>
                </a:tc>
                <a:tc>
                  <a:txBody>
                    <a:bodyPr/>
                    <a:lstStyle/>
                    <a:p>
                      <a:r>
                        <a:rPr lang="en-US" sz="1100" b="1">
                          <a:solidFill>
                            <a:schemeClr val="bg1"/>
                          </a:solidFill>
                        </a:rPr>
                        <a:t>Create topics from existing webpages</a:t>
                      </a:r>
                    </a:p>
                  </a:txBody>
                  <a:tcPr marL="18180" marR="10908" marT="10908" marB="10908" anchor="ctr">
                    <a:solidFill>
                      <a:srgbClr val="0B556A"/>
                    </a:solidFill>
                  </a:tcPr>
                </a:tc>
                <a:tc>
                  <a:txBody>
                    <a:bodyPr/>
                    <a:lstStyle/>
                    <a:p>
                      <a:r>
                        <a:rPr lang="en-US" sz="1100" b="1">
                          <a:solidFill>
                            <a:schemeClr val="bg1"/>
                          </a:solidFill>
                        </a:rPr>
                        <a:t>30 minutes</a:t>
                      </a:r>
                    </a:p>
                  </a:txBody>
                  <a:tcPr marL="18180" marR="10908" marT="10908" marB="10908" anchor="ctr">
                    <a:solidFill>
                      <a:srgbClr val="0B556A"/>
                    </a:solidFill>
                  </a:tcP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4</a:t>
                      </a:r>
                      <a:endParaRPr lang="en-US" sz="1100">
                        <a:solidFill>
                          <a:schemeClr val="tx1">
                            <a:lumMod val="85000"/>
                            <a:lumOff val="15000"/>
                          </a:schemeClr>
                        </a:solidFill>
                      </a:endParaRPr>
                    </a:p>
                  </a:txBody>
                  <a:tcPr marL="18180" marR="10908" marT="10908" marB="10908" anchor="ctr"/>
                </a:tc>
                <a:tc>
                  <a:txBody>
                    <a:bodyPr/>
                    <a:lstStyle/>
                    <a:p>
                      <a:r>
                        <a:rPr lang="en-US" sz="1100"/>
                        <a:t>Improve your virtual agent using entities, variables and topic redirect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a:t>5</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Integrate with prebuilt Power Automate flow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363964904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9417-AC6A-4FE0-B722-BB1FF9644330}"/>
              </a:ext>
            </a:extLst>
          </p:cNvPr>
          <p:cNvSpPr>
            <a:spLocks noGrp="1"/>
          </p:cNvSpPr>
          <p:nvPr>
            <p:ph type="title"/>
          </p:nvPr>
        </p:nvSpPr>
        <p:spPr>
          <a:xfrm>
            <a:off x="263578" y="338138"/>
            <a:ext cx="11306469" cy="492443"/>
          </a:xfrm>
        </p:spPr>
        <p:txBody>
          <a:bodyPr/>
          <a:lstStyle/>
          <a:p>
            <a:r>
              <a:rPr lang="en-US"/>
              <a:t>Let Microsoft AI Offer you Suggested FAQ Chatbot Topics </a:t>
            </a:r>
          </a:p>
        </p:txBody>
      </p:sp>
      <p:sp>
        <p:nvSpPr>
          <p:cNvPr id="8" name="Freeform: Shape 7">
            <a:extLst>
              <a:ext uri="{FF2B5EF4-FFF2-40B4-BE49-F238E27FC236}">
                <a16:creationId xmlns:a16="http://schemas.microsoft.com/office/drawing/2014/main" id="{406E82FC-D7B2-4AE0-8171-A82F4DFBEBAA}"/>
              </a:ext>
            </a:extLst>
          </p:cNvPr>
          <p:cNvSpPr/>
          <p:nvPr/>
        </p:nvSpPr>
        <p:spPr bwMode="auto">
          <a:xfrm>
            <a:off x="-1" y="1480332"/>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F4D64B5D-9E2F-45C3-9864-C8D2C82600F8}"/>
              </a:ext>
            </a:extLst>
          </p:cNvPr>
          <p:cNvGrpSpPr/>
          <p:nvPr/>
        </p:nvGrpSpPr>
        <p:grpSpPr>
          <a:xfrm>
            <a:off x="497993" y="2210030"/>
            <a:ext cx="6569108" cy="3607958"/>
            <a:chOff x="497993" y="2210030"/>
            <a:chExt cx="6569108" cy="3607958"/>
          </a:xfrm>
        </p:grpSpPr>
        <p:sp>
          <p:nvSpPr>
            <p:cNvPr id="9" name="Text Placeholder 1">
              <a:extLst>
                <a:ext uri="{FF2B5EF4-FFF2-40B4-BE49-F238E27FC236}">
                  <a16:creationId xmlns:a16="http://schemas.microsoft.com/office/drawing/2014/main" id="{4288C54D-3A19-46C6-B3A6-D78EEDCE8F6D}"/>
                </a:ext>
              </a:extLst>
            </p:cNvPr>
            <p:cNvSpPr txBox="1">
              <a:spLocks/>
            </p:cNvSpPr>
            <p:nvPr/>
          </p:nvSpPr>
          <p:spPr>
            <a:xfrm>
              <a:off x="1375928" y="221003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Each FAQ </a:t>
              </a:r>
              <a:r>
                <a:rPr lang="en-US">
                  <a:solidFill>
                    <a:schemeClr val="bg1"/>
                  </a:solidFill>
                </a:rPr>
                <a:t>becomes a chatbot trigger </a:t>
              </a:r>
              <a:endParaRPr lang="en-US" spc="0">
                <a:solidFill>
                  <a:schemeClr val="bg1"/>
                </a:solidFill>
              </a:endParaRPr>
            </a:p>
          </p:txBody>
        </p:sp>
        <p:sp>
          <p:nvSpPr>
            <p:cNvPr id="10" name="Text Placeholder 1">
              <a:extLst>
                <a:ext uri="{FF2B5EF4-FFF2-40B4-BE49-F238E27FC236}">
                  <a16:creationId xmlns:a16="http://schemas.microsoft.com/office/drawing/2014/main" id="{F7825A5D-8184-4EF8-81B8-63D753D4AF3F}"/>
                </a:ext>
              </a:extLst>
            </p:cNvPr>
            <p:cNvSpPr txBox="1">
              <a:spLocks/>
            </p:cNvSpPr>
            <p:nvPr/>
          </p:nvSpPr>
          <p:spPr>
            <a:xfrm>
              <a:off x="1375928" y="3644678"/>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a:solidFill>
                    <a:schemeClr val="bg1"/>
                  </a:solidFill>
                </a:rPr>
                <a:t>The answer to your FAQ becomes message text in dialogue tree</a:t>
              </a:r>
              <a:endParaRPr lang="en-US" spc="0">
                <a:solidFill>
                  <a:schemeClr val="bg1"/>
                </a:solidFill>
              </a:endParaRPr>
            </a:p>
          </p:txBody>
        </p:sp>
        <p:cxnSp>
          <p:nvCxnSpPr>
            <p:cNvPr id="11" name="Straight Connector 10">
              <a:extLst>
                <a:ext uri="{FF2B5EF4-FFF2-40B4-BE49-F238E27FC236}">
                  <a16:creationId xmlns:a16="http://schemas.microsoft.com/office/drawing/2014/main" id="{2E6AEC59-2C16-4F50-B1C8-C9C1D4CE6C8C}"/>
                </a:ext>
              </a:extLst>
            </p:cNvPr>
            <p:cNvCxnSpPr/>
            <p:nvPr/>
          </p:nvCxnSpPr>
          <p:spPr>
            <a:xfrm>
              <a:off x="1375928" y="326590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
              <a:extLst>
                <a:ext uri="{FF2B5EF4-FFF2-40B4-BE49-F238E27FC236}">
                  <a16:creationId xmlns:a16="http://schemas.microsoft.com/office/drawing/2014/main" id="{5B84B84A-1B4E-4D70-8CD0-C8ED89253E64}"/>
                </a:ext>
              </a:extLst>
            </p:cNvPr>
            <p:cNvSpPr txBox="1">
              <a:spLocks/>
            </p:cNvSpPr>
            <p:nvPr/>
          </p:nvSpPr>
          <p:spPr>
            <a:xfrm>
              <a:off x="1375928" y="514088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Create a</a:t>
              </a:r>
              <a:r>
                <a:rPr lang="en-US">
                  <a:solidFill>
                    <a:schemeClr val="bg1"/>
                  </a:solidFill>
                </a:rPr>
                <a:t> single turn conversation tree in minutes</a:t>
              </a:r>
              <a:endParaRPr lang="en-US" spc="0">
                <a:solidFill>
                  <a:schemeClr val="bg1"/>
                </a:solidFill>
              </a:endParaRPr>
            </a:p>
          </p:txBody>
        </p:sp>
        <p:cxnSp>
          <p:nvCxnSpPr>
            <p:cNvPr id="16" name="Straight Connector 15">
              <a:extLst>
                <a:ext uri="{FF2B5EF4-FFF2-40B4-BE49-F238E27FC236}">
                  <a16:creationId xmlns:a16="http://schemas.microsoft.com/office/drawing/2014/main" id="{FF8CBB20-755D-4024-97DF-2BE05D5FF423}"/>
                </a:ext>
              </a:extLst>
            </p:cNvPr>
            <p:cNvCxnSpPr/>
            <p:nvPr/>
          </p:nvCxnSpPr>
          <p:spPr>
            <a:xfrm>
              <a:off x="1375928" y="476211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C4B691E-EAA6-4B22-B951-4727D11C2A43}"/>
                </a:ext>
              </a:extLst>
            </p:cNvPr>
            <p:cNvGrpSpPr/>
            <p:nvPr/>
          </p:nvGrpSpPr>
          <p:grpSpPr>
            <a:xfrm>
              <a:off x="509048" y="2307939"/>
              <a:ext cx="605378" cy="481292"/>
              <a:chOff x="8182564" y="3369898"/>
              <a:chExt cx="306705" cy="243840"/>
            </a:xfrm>
          </p:grpSpPr>
          <p:sp>
            <p:nvSpPr>
              <p:cNvPr id="31" name="Freeform: Shape 30">
                <a:extLst>
                  <a:ext uri="{FF2B5EF4-FFF2-40B4-BE49-F238E27FC236}">
                    <a16:creationId xmlns:a16="http://schemas.microsoft.com/office/drawing/2014/main" id="{5C8F75F2-2011-4B83-9B94-F294801441B9}"/>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6768326A-9D1E-4AC6-8C1D-F1F09BE63C3D}"/>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8F411BAB-FC67-4B8F-92A4-0A80E6648525}"/>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5011EC46-6E53-41B7-9317-8A2411D94830}"/>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5" name="Freeform: Shape 34">
                <a:extLst>
                  <a:ext uri="{FF2B5EF4-FFF2-40B4-BE49-F238E27FC236}">
                    <a16:creationId xmlns:a16="http://schemas.microsoft.com/office/drawing/2014/main" id="{5FCAF5ED-84ED-4424-A36C-948A594E6FFD}"/>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D10A6C9C-B81C-4319-9D4A-8D3FC49A5FDA}"/>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1510A76A-BC93-46DE-852D-B57C4CD63E82}"/>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8" name="Freeform: Shape 37">
                <a:extLst>
                  <a:ext uri="{FF2B5EF4-FFF2-40B4-BE49-F238E27FC236}">
                    <a16:creationId xmlns:a16="http://schemas.microsoft.com/office/drawing/2014/main" id="{D66600C3-65C9-4A1A-93C0-291E60049B8C}"/>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9" name="Freeform: Shape 38">
                <a:extLst>
                  <a:ext uri="{FF2B5EF4-FFF2-40B4-BE49-F238E27FC236}">
                    <a16:creationId xmlns:a16="http://schemas.microsoft.com/office/drawing/2014/main" id="{9C255E36-F750-4C0E-B0EE-87E0C77EFD8A}"/>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0" name="Freeform: Shape 39">
                <a:extLst>
                  <a:ext uri="{FF2B5EF4-FFF2-40B4-BE49-F238E27FC236}">
                    <a16:creationId xmlns:a16="http://schemas.microsoft.com/office/drawing/2014/main" id="{E080320B-0155-417D-9F2D-F17CAB195173}"/>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464D5543-9839-43AB-BC60-491EE09D218C}"/>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3A1A091D-75D3-414C-B9B3-6A99507C385C}"/>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ADAB9163-468C-43D3-B6E5-400EAF9199EA}"/>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AF2C80B4-18A4-4EB0-965B-E769E9D18BE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B50A5FD5-FBFB-42D4-9AAA-1F9C452879C0}"/>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3CE832BE-9F31-4E5A-9223-458B9BD466BB}"/>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AAE89B9F-25A7-4769-B1AC-324F4D72D78B}"/>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0CF3376E-1016-410D-8711-859B4FAF9B95}"/>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502AF5C9-0062-4EA5-906B-9F0C7A67E4C2}"/>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AE43103F-C18E-46F7-B4EA-7DB96D0B6616}"/>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2D8299BC-71F8-495F-94F6-F4D9A7F7EED6}"/>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2" name="Freeform: Shape 51">
                <a:extLst>
                  <a:ext uri="{FF2B5EF4-FFF2-40B4-BE49-F238E27FC236}">
                    <a16:creationId xmlns:a16="http://schemas.microsoft.com/office/drawing/2014/main" id="{C8D74CC3-9009-4431-8809-EC3B1891C956}"/>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3" name="Freeform: Shape 52">
                <a:extLst>
                  <a:ext uri="{FF2B5EF4-FFF2-40B4-BE49-F238E27FC236}">
                    <a16:creationId xmlns:a16="http://schemas.microsoft.com/office/drawing/2014/main" id="{24583FAB-5A45-4739-95F5-A29A355FDB87}"/>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43DF22E6-3D1C-4234-8FAD-EEF6B8886740}"/>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5" name="Freeform: Shape 54">
                <a:extLst>
                  <a:ext uri="{FF2B5EF4-FFF2-40B4-BE49-F238E27FC236}">
                    <a16:creationId xmlns:a16="http://schemas.microsoft.com/office/drawing/2014/main" id="{6B991731-5723-42F6-8DB2-442A21099506}"/>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6" name="Freeform: Shape 55">
                <a:extLst>
                  <a:ext uri="{FF2B5EF4-FFF2-40B4-BE49-F238E27FC236}">
                    <a16:creationId xmlns:a16="http://schemas.microsoft.com/office/drawing/2014/main" id="{245906F1-2762-481A-8819-8D3AC277CF0A}"/>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57" name="Group 56">
              <a:extLst>
                <a:ext uri="{FF2B5EF4-FFF2-40B4-BE49-F238E27FC236}">
                  <a16:creationId xmlns:a16="http://schemas.microsoft.com/office/drawing/2014/main" id="{87D49FA3-8F2E-4F47-A308-B24F2B5DA679}"/>
                </a:ext>
              </a:extLst>
            </p:cNvPr>
            <p:cNvGrpSpPr/>
            <p:nvPr/>
          </p:nvGrpSpPr>
          <p:grpSpPr>
            <a:xfrm>
              <a:off x="497993" y="5278186"/>
              <a:ext cx="616732" cy="402496"/>
              <a:chOff x="7936811" y="4975855"/>
              <a:chExt cx="452438" cy="295275"/>
            </a:xfrm>
          </p:grpSpPr>
          <p:sp>
            <p:nvSpPr>
              <p:cNvPr id="58" name="Freeform: Shape 57">
                <a:extLst>
                  <a:ext uri="{FF2B5EF4-FFF2-40B4-BE49-F238E27FC236}">
                    <a16:creationId xmlns:a16="http://schemas.microsoft.com/office/drawing/2014/main" id="{9422D243-A0B3-4589-A28B-52B95289347A}"/>
                  </a:ext>
                </a:extLst>
              </p:cNvPr>
              <p:cNvSpPr/>
              <p:nvPr/>
            </p:nvSpPr>
            <p:spPr>
              <a:xfrm>
                <a:off x="8016821" y="4975855"/>
                <a:ext cx="285750" cy="295275"/>
              </a:xfrm>
              <a:custGeom>
                <a:avLst/>
                <a:gdLst>
                  <a:gd name="connsiteX0" fmla="*/ 146421 w 285750"/>
                  <a:gd name="connsiteY0" fmla="*/ 7355 h 295275"/>
                  <a:gd name="connsiteX1" fmla="*/ 182615 w 285750"/>
                  <a:gd name="connsiteY1" fmla="*/ 111178 h 295275"/>
                  <a:gd name="connsiteX2" fmla="*/ 286438 w 285750"/>
                  <a:gd name="connsiteY2" fmla="*/ 114035 h 295275"/>
                  <a:gd name="connsiteX3" fmla="*/ 206428 w 285750"/>
                  <a:gd name="connsiteY3" fmla="*/ 182615 h 295275"/>
                  <a:gd name="connsiteX4" fmla="*/ 237860 w 285750"/>
                  <a:gd name="connsiteY4" fmla="*/ 289295 h 295275"/>
                  <a:gd name="connsiteX5" fmla="*/ 147373 w 285750"/>
                  <a:gd name="connsiteY5" fmla="*/ 227383 h 295275"/>
                  <a:gd name="connsiteX6" fmla="*/ 55933 w 285750"/>
                  <a:gd name="connsiteY6" fmla="*/ 289295 h 295275"/>
                  <a:gd name="connsiteX7" fmla="*/ 86413 w 285750"/>
                  <a:gd name="connsiteY7" fmla="*/ 182615 h 295275"/>
                  <a:gd name="connsiteX8" fmla="*/ 7355 w 285750"/>
                  <a:gd name="connsiteY8" fmla="*/ 114035 h 295275"/>
                  <a:gd name="connsiteX9" fmla="*/ 110226 w 285750"/>
                  <a:gd name="connsiteY9" fmla="*/ 1111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0" h="295275">
                    <a:moveTo>
                      <a:pt x="146421" y="7355"/>
                    </a:moveTo>
                    <a:lnTo>
                      <a:pt x="182615" y="111178"/>
                    </a:lnTo>
                    <a:lnTo>
                      <a:pt x="286438" y="114035"/>
                    </a:lnTo>
                    <a:lnTo>
                      <a:pt x="206428" y="182615"/>
                    </a:lnTo>
                    <a:lnTo>
                      <a:pt x="237860" y="289295"/>
                    </a:lnTo>
                    <a:lnTo>
                      <a:pt x="147373" y="227383"/>
                    </a:lnTo>
                    <a:lnTo>
                      <a:pt x="55933" y="289295"/>
                    </a:lnTo>
                    <a:lnTo>
                      <a:pt x="86413" y="182615"/>
                    </a:lnTo>
                    <a:lnTo>
                      <a:pt x="7355" y="114035"/>
                    </a:lnTo>
                    <a:lnTo>
                      <a:pt x="110226" y="1111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9" name="Freeform: Shape 58">
                <a:extLst>
                  <a:ext uri="{FF2B5EF4-FFF2-40B4-BE49-F238E27FC236}">
                    <a16:creationId xmlns:a16="http://schemas.microsoft.com/office/drawing/2014/main" id="{BC07F770-A5D2-4CEE-B045-12D14F71074B}"/>
                  </a:ext>
                </a:extLst>
              </p:cNvPr>
              <p:cNvSpPr/>
              <p:nvPr/>
            </p:nvSpPr>
            <p:spPr>
              <a:xfrm>
                <a:off x="8073019" y="5143495"/>
                <a:ext cx="19050" cy="57150"/>
              </a:xfrm>
              <a:custGeom>
                <a:avLst/>
                <a:gdLst>
                  <a:gd name="connsiteX0" fmla="*/ 17832 w 19050"/>
                  <a:gd name="connsiteY0" fmla="*/ 53075 h 57150"/>
                  <a:gd name="connsiteX1" fmla="*/ 7355 w 19050"/>
                  <a:gd name="connsiteY1" fmla="*/ 16880 h 57150"/>
                  <a:gd name="connsiteX2" fmla="*/ 18785 w 19050"/>
                  <a:gd name="connsiteY2" fmla="*/ 7355 h 57150"/>
                </a:gdLst>
                <a:ahLst/>
                <a:cxnLst>
                  <a:cxn ang="0">
                    <a:pos x="connsiteX0" y="connsiteY0"/>
                  </a:cxn>
                  <a:cxn ang="0">
                    <a:pos x="connsiteX1" y="connsiteY1"/>
                  </a:cxn>
                  <a:cxn ang="0">
                    <a:pos x="connsiteX2" y="connsiteY2"/>
                  </a:cxn>
                </a:cxnLst>
                <a:rect l="l" t="t" r="r" b="b"/>
                <a:pathLst>
                  <a:path w="19050" h="57150">
                    <a:moveTo>
                      <a:pt x="17832" y="53075"/>
                    </a:moveTo>
                    <a:lnTo>
                      <a:pt x="7355" y="16880"/>
                    </a:lnTo>
                    <a:lnTo>
                      <a:pt x="1878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0" name="Freeform: Shape 59">
                <a:extLst>
                  <a:ext uri="{FF2B5EF4-FFF2-40B4-BE49-F238E27FC236}">
                    <a16:creationId xmlns:a16="http://schemas.microsoft.com/office/drawing/2014/main" id="{B99BFC1E-A941-445E-A61D-541803B867B0}"/>
                  </a:ext>
                </a:extLst>
              </p:cNvPr>
              <p:cNvSpPr/>
              <p:nvPr/>
            </p:nvSpPr>
            <p:spPr>
              <a:xfrm>
                <a:off x="8018726" y="5038720"/>
                <a:ext cx="38100" cy="57150"/>
              </a:xfrm>
              <a:custGeom>
                <a:avLst/>
                <a:gdLst>
                  <a:gd name="connsiteX0" fmla="*/ 7355 w 38100"/>
                  <a:gd name="connsiteY0" fmla="*/ 50218 h 57150"/>
                  <a:gd name="connsiteX1" fmla="*/ 22596 w 38100"/>
                  <a:gd name="connsiteY1" fmla="*/ 7355 h 57150"/>
                  <a:gd name="connsiteX2" fmla="*/ 35930 w 38100"/>
                  <a:gd name="connsiteY2" fmla="*/ 47360 h 57150"/>
                </a:gdLst>
                <a:ahLst/>
                <a:cxnLst>
                  <a:cxn ang="0">
                    <a:pos x="connsiteX0" y="connsiteY0"/>
                  </a:cxn>
                  <a:cxn ang="0">
                    <a:pos x="connsiteX1" y="connsiteY1"/>
                  </a:cxn>
                  <a:cxn ang="0">
                    <a:pos x="connsiteX2" y="connsiteY2"/>
                  </a:cxn>
                </a:cxnLst>
                <a:rect l="l" t="t" r="r" b="b"/>
                <a:pathLst>
                  <a:path w="38100" h="57150">
                    <a:moveTo>
                      <a:pt x="7355" y="50218"/>
                    </a:moveTo>
                    <a:lnTo>
                      <a:pt x="22596" y="7355"/>
                    </a:lnTo>
                    <a:lnTo>
                      <a:pt x="35930" y="4736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8A632B9A-D1C0-473E-83F0-7B1C2447CB6E}"/>
                  </a:ext>
                </a:extLst>
              </p:cNvPr>
              <p:cNvSpPr/>
              <p:nvPr/>
            </p:nvSpPr>
            <p:spPr>
              <a:xfrm>
                <a:off x="7936811" y="5088250"/>
                <a:ext cx="152400" cy="142875"/>
              </a:xfrm>
              <a:custGeom>
                <a:avLst/>
                <a:gdLst>
                  <a:gd name="connsiteX0" fmla="*/ 146420 w 152400"/>
                  <a:gd name="connsiteY0" fmla="*/ 131180 h 142875"/>
                  <a:gd name="connsiteX1" fmla="*/ 104510 w 152400"/>
                  <a:gd name="connsiteY1" fmla="*/ 101653 h 142875"/>
                  <a:gd name="connsiteX2" fmla="*/ 44502 w 152400"/>
                  <a:gd name="connsiteY2" fmla="*/ 142610 h 142875"/>
                  <a:gd name="connsiteX3" fmla="*/ 64505 w 152400"/>
                  <a:gd name="connsiteY3" fmla="*/ 72125 h 142875"/>
                  <a:gd name="connsiteX4" fmla="*/ 7355 w 152400"/>
                  <a:gd name="connsiteY4" fmla="*/ 27358 h 142875"/>
                  <a:gd name="connsiteX5" fmla="*/ 80698 w 152400"/>
                  <a:gd name="connsiteY5" fmla="*/ 25453 h 142875"/>
                  <a:gd name="connsiteX6" fmla="*/ 87365 w 152400"/>
                  <a:gd name="connsiteY6" fmla="*/ 735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42875">
                    <a:moveTo>
                      <a:pt x="146420" y="131180"/>
                    </a:moveTo>
                    <a:lnTo>
                      <a:pt x="104510" y="101653"/>
                    </a:lnTo>
                    <a:lnTo>
                      <a:pt x="44502" y="142610"/>
                    </a:lnTo>
                    <a:lnTo>
                      <a:pt x="64505" y="72125"/>
                    </a:lnTo>
                    <a:lnTo>
                      <a:pt x="7355" y="27358"/>
                    </a:lnTo>
                    <a:lnTo>
                      <a:pt x="80698" y="25453"/>
                    </a:lnTo>
                    <a:lnTo>
                      <a:pt x="8736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4" name="Freeform: Shape 63">
                <a:extLst>
                  <a:ext uri="{FF2B5EF4-FFF2-40B4-BE49-F238E27FC236}">
                    <a16:creationId xmlns:a16="http://schemas.microsoft.com/office/drawing/2014/main" id="{F48E12F7-AC1F-4481-92C1-E93DD671A61E}"/>
                  </a:ext>
                </a:extLst>
              </p:cNvPr>
              <p:cNvSpPr/>
              <p:nvPr/>
            </p:nvSpPr>
            <p:spPr>
              <a:xfrm>
                <a:off x="8228276" y="5143495"/>
                <a:ext cx="19050" cy="57150"/>
              </a:xfrm>
              <a:custGeom>
                <a:avLst/>
                <a:gdLst>
                  <a:gd name="connsiteX0" fmla="*/ 9260 w 19050"/>
                  <a:gd name="connsiteY0" fmla="*/ 53075 h 57150"/>
                  <a:gd name="connsiteX1" fmla="*/ 19738 w 19050"/>
                  <a:gd name="connsiteY1" fmla="*/ 16880 h 57150"/>
                  <a:gd name="connsiteX2" fmla="*/ 7355 w 19050"/>
                  <a:gd name="connsiteY2" fmla="*/ 7355 h 57150"/>
                </a:gdLst>
                <a:ahLst/>
                <a:cxnLst>
                  <a:cxn ang="0">
                    <a:pos x="connsiteX0" y="connsiteY0"/>
                  </a:cxn>
                  <a:cxn ang="0">
                    <a:pos x="connsiteX1" y="connsiteY1"/>
                  </a:cxn>
                  <a:cxn ang="0">
                    <a:pos x="connsiteX2" y="connsiteY2"/>
                  </a:cxn>
                </a:cxnLst>
                <a:rect l="l" t="t" r="r" b="b"/>
                <a:pathLst>
                  <a:path w="19050" h="57150">
                    <a:moveTo>
                      <a:pt x="9260" y="53075"/>
                    </a:moveTo>
                    <a:lnTo>
                      <a:pt x="19738" y="16880"/>
                    </a:ln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5" name="Freeform: Shape 64">
                <a:extLst>
                  <a:ext uri="{FF2B5EF4-FFF2-40B4-BE49-F238E27FC236}">
                    <a16:creationId xmlns:a16="http://schemas.microsoft.com/office/drawing/2014/main" id="{04DD64D8-3B61-4FD4-9AFD-AF9AB1A8DBB3}"/>
                  </a:ext>
                </a:extLst>
              </p:cNvPr>
              <p:cNvSpPr/>
              <p:nvPr/>
            </p:nvSpPr>
            <p:spPr>
              <a:xfrm>
                <a:off x="8265424" y="5038720"/>
                <a:ext cx="38100" cy="57150"/>
              </a:xfrm>
              <a:custGeom>
                <a:avLst/>
                <a:gdLst>
                  <a:gd name="connsiteX0" fmla="*/ 36882 w 38100"/>
                  <a:gd name="connsiteY0" fmla="*/ 50218 h 57150"/>
                  <a:gd name="connsiteX1" fmla="*/ 21643 w 38100"/>
                  <a:gd name="connsiteY1" fmla="*/ 7355 h 57150"/>
                  <a:gd name="connsiteX2" fmla="*/ 7355 w 38100"/>
                  <a:gd name="connsiteY2" fmla="*/ 47360 h 57150"/>
                </a:gdLst>
                <a:ahLst/>
                <a:cxnLst>
                  <a:cxn ang="0">
                    <a:pos x="connsiteX0" y="connsiteY0"/>
                  </a:cxn>
                  <a:cxn ang="0">
                    <a:pos x="connsiteX1" y="connsiteY1"/>
                  </a:cxn>
                  <a:cxn ang="0">
                    <a:pos x="connsiteX2" y="connsiteY2"/>
                  </a:cxn>
                </a:cxnLst>
                <a:rect l="l" t="t" r="r" b="b"/>
                <a:pathLst>
                  <a:path w="38100" h="57150">
                    <a:moveTo>
                      <a:pt x="36882" y="50218"/>
                    </a:moveTo>
                    <a:lnTo>
                      <a:pt x="21643" y="7355"/>
                    </a:lnTo>
                    <a:lnTo>
                      <a:pt x="7355" y="4736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6" name="Freeform: Shape 65">
                <a:extLst>
                  <a:ext uri="{FF2B5EF4-FFF2-40B4-BE49-F238E27FC236}">
                    <a16:creationId xmlns:a16="http://schemas.microsoft.com/office/drawing/2014/main" id="{29EE635D-7C17-460B-8BB3-AA15C6F23F6B}"/>
                  </a:ext>
                </a:extLst>
              </p:cNvPr>
              <p:cNvSpPr/>
              <p:nvPr/>
            </p:nvSpPr>
            <p:spPr>
              <a:xfrm>
                <a:off x="8236849" y="5088250"/>
                <a:ext cx="152400" cy="142875"/>
              </a:xfrm>
              <a:custGeom>
                <a:avLst/>
                <a:gdLst>
                  <a:gd name="connsiteX0" fmla="*/ 7355 w 152400"/>
                  <a:gd name="connsiteY0" fmla="*/ 131180 h 142875"/>
                  <a:gd name="connsiteX1" fmla="*/ 50218 w 152400"/>
                  <a:gd name="connsiteY1" fmla="*/ 101653 h 142875"/>
                  <a:gd name="connsiteX2" fmla="*/ 109273 w 152400"/>
                  <a:gd name="connsiteY2" fmla="*/ 142610 h 142875"/>
                  <a:gd name="connsiteX3" fmla="*/ 89270 w 152400"/>
                  <a:gd name="connsiteY3" fmla="*/ 72125 h 142875"/>
                  <a:gd name="connsiteX4" fmla="*/ 147373 w 152400"/>
                  <a:gd name="connsiteY4" fmla="*/ 27358 h 142875"/>
                  <a:gd name="connsiteX5" fmla="*/ 74030 w 152400"/>
                  <a:gd name="connsiteY5" fmla="*/ 25453 h 142875"/>
                  <a:gd name="connsiteX6" fmla="*/ 67363 w 152400"/>
                  <a:gd name="connsiteY6" fmla="*/ 735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42875">
                    <a:moveTo>
                      <a:pt x="7355" y="131180"/>
                    </a:moveTo>
                    <a:lnTo>
                      <a:pt x="50218" y="101653"/>
                    </a:lnTo>
                    <a:lnTo>
                      <a:pt x="109273" y="142610"/>
                    </a:lnTo>
                    <a:lnTo>
                      <a:pt x="89270" y="72125"/>
                    </a:lnTo>
                    <a:lnTo>
                      <a:pt x="147373" y="27358"/>
                    </a:lnTo>
                    <a:lnTo>
                      <a:pt x="74030" y="25453"/>
                    </a:lnTo>
                    <a:lnTo>
                      <a:pt x="67363"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69" name="Group 68">
              <a:extLst>
                <a:ext uri="{FF2B5EF4-FFF2-40B4-BE49-F238E27FC236}">
                  <a16:creationId xmlns:a16="http://schemas.microsoft.com/office/drawing/2014/main" id="{7E15E5F8-4FB7-4A8A-91FF-E1839127D7E3}"/>
                </a:ext>
              </a:extLst>
            </p:cNvPr>
            <p:cNvGrpSpPr/>
            <p:nvPr/>
          </p:nvGrpSpPr>
          <p:grpSpPr>
            <a:xfrm>
              <a:off x="545294" y="3712107"/>
              <a:ext cx="522130" cy="603806"/>
              <a:chOff x="2659360" y="4963480"/>
              <a:chExt cx="268261" cy="310226"/>
            </a:xfrm>
          </p:grpSpPr>
          <p:sp>
            <p:nvSpPr>
              <p:cNvPr id="70" name="Freeform: Shape 69">
                <a:extLst>
                  <a:ext uri="{FF2B5EF4-FFF2-40B4-BE49-F238E27FC236}">
                    <a16:creationId xmlns:a16="http://schemas.microsoft.com/office/drawing/2014/main" id="{CD4D42B8-4E05-4396-89FB-BA137E216C5D}"/>
                  </a:ext>
                </a:extLst>
              </p:cNvPr>
              <p:cNvSpPr/>
              <p:nvPr/>
            </p:nvSpPr>
            <p:spPr>
              <a:xfrm>
                <a:off x="2659360" y="5159406"/>
                <a:ext cx="114300" cy="114300"/>
              </a:xfrm>
              <a:custGeom>
                <a:avLst/>
                <a:gdLst>
                  <a:gd name="connsiteX0" fmla="*/ 105357 w 114300"/>
                  <a:gd name="connsiteY0" fmla="*/ 78416 h 114300"/>
                  <a:gd name="connsiteX1" fmla="*/ 78416 w 114300"/>
                  <a:gd name="connsiteY1" fmla="*/ 105357 h 114300"/>
                  <a:gd name="connsiteX2" fmla="*/ 10392 w 114300"/>
                  <a:gd name="connsiteY2" fmla="*/ 37332 h 114300"/>
                  <a:gd name="connsiteX3" fmla="*/ 37332 w 114300"/>
                  <a:gd name="connsiteY3" fmla="*/ 10392 h 114300"/>
                </a:gdLst>
                <a:ahLst/>
                <a:cxnLst>
                  <a:cxn ang="0">
                    <a:pos x="connsiteX0" y="connsiteY0"/>
                  </a:cxn>
                  <a:cxn ang="0">
                    <a:pos x="connsiteX1" y="connsiteY1"/>
                  </a:cxn>
                  <a:cxn ang="0">
                    <a:pos x="connsiteX2" y="connsiteY2"/>
                  </a:cxn>
                  <a:cxn ang="0">
                    <a:pos x="connsiteX3" y="connsiteY3"/>
                  </a:cxn>
                </a:cxnLst>
                <a:rect l="l" t="t" r="r" b="b"/>
                <a:pathLst>
                  <a:path w="114300" h="114300">
                    <a:moveTo>
                      <a:pt x="105357" y="78416"/>
                    </a:moveTo>
                    <a:lnTo>
                      <a:pt x="78416" y="105357"/>
                    </a:lnTo>
                    <a:lnTo>
                      <a:pt x="10392" y="37332"/>
                    </a:lnTo>
                    <a:lnTo>
                      <a:pt x="37332" y="10392"/>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1" name="Freeform: Shape 70">
                <a:extLst>
                  <a:ext uri="{FF2B5EF4-FFF2-40B4-BE49-F238E27FC236}">
                    <a16:creationId xmlns:a16="http://schemas.microsoft.com/office/drawing/2014/main" id="{C0C08AF9-6096-43E7-AEEA-571DA9011C18}"/>
                  </a:ext>
                </a:extLst>
              </p:cNvPr>
              <p:cNvSpPr/>
              <p:nvPr/>
            </p:nvSpPr>
            <p:spPr>
              <a:xfrm>
                <a:off x="2699021" y="5124092"/>
                <a:ext cx="228600" cy="104775"/>
              </a:xfrm>
              <a:custGeom>
                <a:avLst/>
                <a:gdLst>
                  <a:gd name="connsiteX0" fmla="*/ 7348 w 228600"/>
                  <a:gd name="connsiteY0" fmla="*/ 52476 h 104775"/>
                  <a:gd name="connsiteX1" fmla="*/ 38781 w 228600"/>
                  <a:gd name="connsiteY1" fmla="*/ 21043 h 104775"/>
                  <a:gd name="connsiteX2" fmla="*/ 67356 w 228600"/>
                  <a:gd name="connsiteY2" fmla="*/ 8661 h 104775"/>
                  <a:gd name="connsiteX3" fmla="*/ 140698 w 228600"/>
                  <a:gd name="connsiteY3" fmla="*/ 7708 h 104775"/>
                  <a:gd name="connsiteX4" fmla="*/ 154033 w 228600"/>
                  <a:gd name="connsiteY4" fmla="*/ 18186 h 104775"/>
                  <a:gd name="connsiteX5" fmla="*/ 137841 w 228600"/>
                  <a:gd name="connsiteY5" fmla="*/ 37236 h 104775"/>
                  <a:gd name="connsiteX6" fmla="*/ 93073 w 228600"/>
                  <a:gd name="connsiteY6" fmla="*/ 37236 h 104775"/>
                  <a:gd name="connsiteX7" fmla="*/ 83548 w 228600"/>
                  <a:gd name="connsiteY7" fmla="*/ 45808 h 104775"/>
                  <a:gd name="connsiteX8" fmla="*/ 92121 w 228600"/>
                  <a:gd name="connsiteY8" fmla="*/ 55333 h 104775"/>
                  <a:gd name="connsiteX9" fmla="*/ 141651 w 228600"/>
                  <a:gd name="connsiteY9" fmla="*/ 55333 h 104775"/>
                  <a:gd name="connsiteX10" fmla="*/ 143556 w 228600"/>
                  <a:gd name="connsiteY10" fmla="*/ 55333 h 104775"/>
                  <a:gd name="connsiteX11" fmla="*/ 163558 w 228600"/>
                  <a:gd name="connsiteY11" fmla="*/ 44856 h 104775"/>
                  <a:gd name="connsiteX12" fmla="*/ 192133 w 228600"/>
                  <a:gd name="connsiteY12" fmla="*/ 19138 h 104775"/>
                  <a:gd name="connsiteX13" fmla="*/ 204516 w 228600"/>
                  <a:gd name="connsiteY13" fmla="*/ 8661 h 104775"/>
                  <a:gd name="connsiteX14" fmla="*/ 219756 w 228600"/>
                  <a:gd name="connsiteY14" fmla="*/ 13423 h 104775"/>
                  <a:gd name="connsiteX15" fmla="*/ 216898 w 228600"/>
                  <a:gd name="connsiteY15" fmla="*/ 28663 h 104775"/>
                  <a:gd name="connsiteX16" fmla="*/ 188323 w 228600"/>
                  <a:gd name="connsiteY16" fmla="*/ 57238 h 104775"/>
                  <a:gd name="connsiteX17" fmla="*/ 188323 w 228600"/>
                  <a:gd name="connsiteY17" fmla="*/ 57238 h 104775"/>
                  <a:gd name="connsiteX18" fmla="*/ 162606 w 228600"/>
                  <a:gd name="connsiteY18" fmla="*/ 82956 h 104775"/>
                  <a:gd name="connsiteX19" fmla="*/ 139746 w 228600"/>
                  <a:gd name="connsiteY19" fmla="*/ 94386 h 104775"/>
                  <a:gd name="connsiteX20" fmla="*/ 55926 w 228600"/>
                  <a:gd name="connsiteY20" fmla="*/ 10486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104775">
                    <a:moveTo>
                      <a:pt x="7348" y="52476"/>
                    </a:moveTo>
                    <a:cubicBezTo>
                      <a:pt x="7348" y="52476"/>
                      <a:pt x="29256" y="30568"/>
                      <a:pt x="38781" y="21043"/>
                    </a:cubicBezTo>
                    <a:cubicBezTo>
                      <a:pt x="46401" y="12471"/>
                      <a:pt x="56878" y="8661"/>
                      <a:pt x="67356" y="8661"/>
                    </a:cubicBezTo>
                    <a:cubicBezTo>
                      <a:pt x="92121" y="7708"/>
                      <a:pt x="115933" y="7708"/>
                      <a:pt x="140698" y="7708"/>
                    </a:cubicBezTo>
                    <a:cubicBezTo>
                      <a:pt x="146413" y="7708"/>
                      <a:pt x="153081" y="12471"/>
                      <a:pt x="154033" y="18186"/>
                    </a:cubicBezTo>
                    <a:cubicBezTo>
                      <a:pt x="155938" y="28663"/>
                      <a:pt x="147366" y="37236"/>
                      <a:pt x="137841" y="37236"/>
                    </a:cubicBezTo>
                    <a:cubicBezTo>
                      <a:pt x="123553" y="37236"/>
                      <a:pt x="108313" y="37236"/>
                      <a:pt x="93073" y="37236"/>
                    </a:cubicBezTo>
                    <a:cubicBezTo>
                      <a:pt x="87358" y="37236"/>
                      <a:pt x="83548" y="40093"/>
                      <a:pt x="83548" y="45808"/>
                    </a:cubicBezTo>
                    <a:cubicBezTo>
                      <a:pt x="83548" y="49618"/>
                      <a:pt x="87358" y="55333"/>
                      <a:pt x="92121" y="55333"/>
                    </a:cubicBezTo>
                    <a:cubicBezTo>
                      <a:pt x="108313" y="55333"/>
                      <a:pt x="125458" y="55333"/>
                      <a:pt x="141651" y="55333"/>
                    </a:cubicBezTo>
                    <a:cubicBezTo>
                      <a:pt x="142603" y="55333"/>
                      <a:pt x="142603" y="55333"/>
                      <a:pt x="143556" y="55333"/>
                    </a:cubicBezTo>
                    <a:cubicBezTo>
                      <a:pt x="151176" y="53428"/>
                      <a:pt x="157843" y="50571"/>
                      <a:pt x="163558" y="44856"/>
                    </a:cubicBezTo>
                    <a:cubicBezTo>
                      <a:pt x="173083" y="35331"/>
                      <a:pt x="182608" y="27711"/>
                      <a:pt x="192133" y="19138"/>
                    </a:cubicBezTo>
                    <a:cubicBezTo>
                      <a:pt x="195943" y="15328"/>
                      <a:pt x="199753" y="11518"/>
                      <a:pt x="204516" y="8661"/>
                    </a:cubicBezTo>
                    <a:cubicBezTo>
                      <a:pt x="210231" y="5803"/>
                      <a:pt x="216898" y="7708"/>
                      <a:pt x="219756" y="13423"/>
                    </a:cubicBezTo>
                    <a:cubicBezTo>
                      <a:pt x="222613" y="17233"/>
                      <a:pt x="221661" y="23901"/>
                      <a:pt x="216898" y="28663"/>
                    </a:cubicBezTo>
                    <a:cubicBezTo>
                      <a:pt x="207373" y="38188"/>
                      <a:pt x="197848" y="47713"/>
                      <a:pt x="188323" y="57238"/>
                    </a:cubicBezTo>
                    <a:lnTo>
                      <a:pt x="188323" y="57238"/>
                    </a:lnTo>
                    <a:cubicBezTo>
                      <a:pt x="179750" y="65811"/>
                      <a:pt x="171178" y="74383"/>
                      <a:pt x="162606" y="82956"/>
                    </a:cubicBezTo>
                    <a:cubicBezTo>
                      <a:pt x="155938" y="89623"/>
                      <a:pt x="149271" y="93433"/>
                      <a:pt x="139746" y="94386"/>
                    </a:cubicBezTo>
                    <a:cubicBezTo>
                      <a:pt x="119743" y="96291"/>
                      <a:pt x="55926" y="104863"/>
                      <a:pt x="55926" y="10486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2" name="Freeform: Shape 71">
                <a:extLst>
                  <a:ext uri="{FF2B5EF4-FFF2-40B4-BE49-F238E27FC236}">
                    <a16:creationId xmlns:a16="http://schemas.microsoft.com/office/drawing/2014/main" id="{0E6C0B1D-4E84-4C88-9512-72B5AB76E83C}"/>
                  </a:ext>
                </a:extLst>
              </p:cNvPr>
              <p:cNvSpPr/>
              <p:nvPr/>
            </p:nvSpPr>
            <p:spPr>
              <a:xfrm>
                <a:off x="2734263" y="4963480"/>
                <a:ext cx="152400" cy="180975"/>
              </a:xfrm>
              <a:custGeom>
                <a:avLst/>
                <a:gdLst>
                  <a:gd name="connsiteX0" fmla="*/ 19731 w 152400"/>
                  <a:gd name="connsiteY0" fmla="*/ 169273 h 180975"/>
                  <a:gd name="connsiteX1" fmla="*/ 19731 w 152400"/>
                  <a:gd name="connsiteY1" fmla="*/ 7348 h 180975"/>
                  <a:gd name="connsiteX2" fmla="*/ 151176 w 152400"/>
                  <a:gd name="connsiteY2" fmla="*/ 7348 h 180975"/>
                  <a:gd name="connsiteX3" fmla="*/ 151176 w 152400"/>
                  <a:gd name="connsiteY3" fmla="*/ 178798 h 180975"/>
                  <a:gd name="connsiteX4" fmla="*/ 7348 w 152400"/>
                  <a:gd name="connsiteY4" fmla="*/ 53068 h 180975"/>
                  <a:gd name="connsiteX5" fmla="*/ 31161 w 152400"/>
                  <a:gd name="connsiteY5" fmla="*/ 53068 h 180975"/>
                  <a:gd name="connsiteX6" fmla="*/ 7348 w 152400"/>
                  <a:gd name="connsiteY6" fmla="*/ 123553 h 180975"/>
                  <a:gd name="connsiteX7" fmla="*/ 31161 w 152400"/>
                  <a:gd name="connsiteY7" fmla="*/ 123553 h 180975"/>
                  <a:gd name="connsiteX8" fmla="*/ 48306 w 152400"/>
                  <a:gd name="connsiteY8" fmla="*/ 123553 h 180975"/>
                  <a:gd name="connsiteX9" fmla="*/ 39733 w 152400"/>
                  <a:gd name="connsiteY9" fmla="*/ 114981 h 180975"/>
                  <a:gd name="connsiteX10" fmla="*/ 31161 w 152400"/>
                  <a:gd name="connsiteY10" fmla="*/ 123553 h 180975"/>
                  <a:gd name="connsiteX11" fmla="*/ 39733 w 152400"/>
                  <a:gd name="connsiteY11" fmla="*/ 132126 h 180975"/>
                  <a:gd name="connsiteX12" fmla="*/ 48306 w 152400"/>
                  <a:gd name="connsiteY12" fmla="*/ 123553 h 180975"/>
                  <a:gd name="connsiteX13" fmla="*/ 48306 w 152400"/>
                  <a:gd name="connsiteY13" fmla="*/ 53068 h 180975"/>
                  <a:gd name="connsiteX14" fmla="*/ 39733 w 152400"/>
                  <a:gd name="connsiteY14" fmla="*/ 44496 h 180975"/>
                  <a:gd name="connsiteX15" fmla="*/ 31161 w 152400"/>
                  <a:gd name="connsiteY15" fmla="*/ 53068 h 180975"/>
                  <a:gd name="connsiteX16" fmla="*/ 39733 w 152400"/>
                  <a:gd name="connsiteY16" fmla="*/ 61641 h 180975"/>
                  <a:gd name="connsiteX17" fmla="*/ 48306 w 152400"/>
                  <a:gd name="connsiteY17" fmla="*/ 53068 h 180975"/>
                  <a:gd name="connsiteX18" fmla="*/ 94978 w 152400"/>
                  <a:gd name="connsiteY18" fmla="*/ 44496 h 180975"/>
                  <a:gd name="connsiteX19" fmla="*/ 129268 w 152400"/>
                  <a:gd name="connsiteY19" fmla="*/ 44496 h 180975"/>
                  <a:gd name="connsiteX20" fmla="*/ 94978 w 152400"/>
                  <a:gd name="connsiteY20" fmla="*/ 84501 h 180975"/>
                  <a:gd name="connsiteX21" fmla="*/ 129268 w 152400"/>
                  <a:gd name="connsiteY21" fmla="*/ 84501 h 180975"/>
                  <a:gd name="connsiteX22" fmla="*/ 94978 w 152400"/>
                  <a:gd name="connsiteY22" fmla="*/ 132126 h 180975"/>
                  <a:gd name="connsiteX23" fmla="*/ 129268 w 152400"/>
                  <a:gd name="connsiteY23" fmla="*/ 13212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2400" h="180975">
                    <a:moveTo>
                      <a:pt x="19731" y="169273"/>
                    </a:moveTo>
                    <a:lnTo>
                      <a:pt x="19731" y="7348"/>
                    </a:lnTo>
                    <a:lnTo>
                      <a:pt x="151176" y="7348"/>
                    </a:lnTo>
                    <a:lnTo>
                      <a:pt x="151176" y="178798"/>
                    </a:lnTo>
                    <a:moveTo>
                      <a:pt x="7348" y="53068"/>
                    </a:moveTo>
                    <a:lnTo>
                      <a:pt x="31161" y="53068"/>
                    </a:lnTo>
                    <a:moveTo>
                      <a:pt x="7348" y="123553"/>
                    </a:moveTo>
                    <a:lnTo>
                      <a:pt x="31161" y="123553"/>
                    </a:lnTo>
                    <a:moveTo>
                      <a:pt x="48306" y="123553"/>
                    </a:moveTo>
                    <a:cubicBezTo>
                      <a:pt x="48306" y="118791"/>
                      <a:pt x="44496" y="114981"/>
                      <a:pt x="39733" y="114981"/>
                    </a:cubicBezTo>
                    <a:cubicBezTo>
                      <a:pt x="34971" y="114981"/>
                      <a:pt x="31161" y="118791"/>
                      <a:pt x="31161" y="123553"/>
                    </a:cubicBezTo>
                    <a:cubicBezTo>
                      <a:pt x="31161" y="128316"/>
                      <a:pt x="34971" y="132126"/>
                      <a:pt x="39733" y="132126"/>
                    </a:cubicBezTo>
                    <a:cubicBezTo>
                      <a:pt x="44496" y="132126"/>
                      <a:pt x="48306" y="128316"/>
                      <a:pt x="48306" y="123553"/>
                    </a:cubicBezTo>
                    <a:close/>
                    <a:moveTo>
                      <a:pt x="48306" y="53068"/>
                    </a:moveTo>
                    <a:cubicBezTo>
                      <a:pt x="48306" y="48306"/>
                      <a:pt x="44496" y="44496"/>
                      <a:pt x="39733" y="44496"/>
                    </a:cubicBezTo>
                    <a:cubicBezTo>
                      <a:pt x="34971" y="44496"/>
                      <a:pt x="31161" y="48306"/>
                      <a:pt x="31161" y="53068"/>
                    </a:cubicBezTo>
                    <a:cubicBezTo>
                      <a:pt x="31161" y="57831"/>
                      <a:pt x="34971" y="61641"/>
                      <a:pt x="39733" y="61641"/>
                    </a:cubicBezTo>
                    <a:cubicBezTo>
                      <a:pt x="44496" y="61641"/>
                      <a:pt x="48306" y="56878"/>
                      <a:pt x="48306" y="53068"/>
                    </a:cubicBezTo>
                    <a:close/>
                    <a:moveTo>
                      <a:pt x="94978" y="44496"/>
                    </a:moveTo>
                    <a:lnTo>
                      <a:pt x="129268" y="44496"/>
                    </a:lnTo>
                    <a:moveTo>
                      <a:pt x="94978" y="84501"/>
                    </a:moveTo>
                    <a:lnTo>
                      <a:pt x="129268" y="84501"/>
                    </a:lnTo>
                    <a:moveTo>
                      <a:pt x="94978" y="132126"/>
                    </a:moveTo>
                    <a:lnTo>
                      <a:pt x="129268" y="13212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grpSp>
        <p:nvGrpSpPr>
          <p:cNvPr id="4" name="Group 3">
            <a:extLst>
              <a:ext uri="{FF2B5EF4-FFF2-40B4-BE49-F238E27FC236}">
                <a16:creationId xmlns:a16="http://schemas.microsoft.com/office/drawing/2014/main" id="{2A33FECD-CD58-482C-8226-136F05429D0E}"/>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911B7CE8-B1CA-4000-9F39-B4DC95903C5E}"/>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9" name="Picture 28">
              <a:extLst>
                <a:ext uri="{FF2B5EF4-FFF2-40B4-BE49-F238E27FC236}">
                  <a16:creationId xmlns:a16="http://schemas.microsoft.com/office/drawing/2014/main" id="{F38A8DAB-F4A1-47FA-AD7D-A436DDEA2A4C}"/>
                </a:ext>
              </a:extLst>
            </p:cNvPr>
            <p:cNvPicPr>
              <a:picLocks noChangeAspect="1"/>
            </p:cNvPicPr>
            <p:nvPr/>
          </p:nvPicPr>
          <p:blipFill rotWithShape="1">
            <a:blip r:embed="rId3"/>
            <a:srcRect l="1" t="1" r="453" b="11988"/>
            <a:stretch/>
          </p:blipFill>
          <p:spPr>
            <a:xfrm>
              <a:off x="6371196" y="2381263"/>
              <a:ext cx="5940334" cy="3518474"/>
            </a:xfrm>
            <a:custGeom>
              <a:avLst/>
              <a:gdLst>
                <a:gd name="connsiteX0" fmla="*/ 0 w 5940334"/>
                <a:gd name="connsiteY0" fmla="*/ 0 h 3501475"/>
                <a:gd name="connsiteX1" fmla="*/ 5940334 w 5940334"/>
                <a:gd name="connsiteY1" fmla="*/ 0 h 3501475"/>
                <a:gd name="connsiteX2" fmla="*/ 5940334 w 5940334"/>
                <a:gd name="connsiteY2" fmla="*/ 3501475 h 3501475"/>
                <a:gd name="connsiteX3" fmla="*/ 0 w 5940334"/>
                <a:gd name="connsiteY3" fmla="*/ 3501475 h 3501475"/>
              </a:gdLst>
              <a:ahLst/>
              <a:cxnLst>
                <a:cxn ang="0">
                  <a:pos x="connsiteX0" y="connsiteY0"/>
                </a:cxn>
                <a:cxn ang="0">
                  <a:pos x="connsiteX1" y="connsiteY1"/>
                </a:cxn>
                <a:cxn ang="0">
                  <a:pos x="connsiteX2" y="connsiteY2"/>
                </a:cxn>
                <a:cxn ang="0">
                  <a:pos x="connsiteX3" y="connsiteY3"/>
                </a:cxn>
              </a:cxnLst>
              <a:rect l="l" t="t" r="r" b="b"/>
              <a:pathLst>
                <a:path w="5940334" h="3501475">
                  <a:moveTo>
                    <a:pt x="0" y="0"/>
                  </a:moveTo>
                  <a:lnTo>
                    <a:pt x="5940334" y="0"/>
                  </a:lnTo>
                  <a:lnTo>
                    <a:pt x="5940334" y="3501475"/>
                  </a:lnTo>
                  <a:lnTo>
                    <a:pt x="0" y="3501475"/>
                  </a:lnTo>
                  <a:close/>
                </a:path>
              </a:pathLst>
            </a:custGeom>
          </p:spPr>
        </p:pic>
      </p:grpSp>
    </p:spTree>
    <p:extLst>
      <p:ext uri="{BB962C8B-B14F-4D97-AF65-F5344CB8AC3E}">
        <p14:creationId xmlns:p14="http://schemas.microsoft.com/office/powerpoint/2010/main" val="16599101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2.91667E-6 -2.22222E-6 L -0.03451 -0.00092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a:xfrm>
            <a:off x="455993" y="941692"/>
            <a:ext cx="11014517" cy="5030845"/>
          </a:xfrm>
        </p:spPr>
        <p:txBody>
          <a:bodyPr/>
          <a:lstStyle/>
          <a:p>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br>
              <a:rPr lang="en-US" altLang="zh-CN" sz="2800" dirty="0"/>
            </a:br>
            <a:r>
              <a:rPr lang="en-US" altLang="zh-CN" sz="2800" dirty="0"/>
              <a:t>Lab 03: </a:t>
            </a:r>
            <a:r>
              <a:rPr lang="en-US" sz="2800" b="1" dirty="0"/>
              <a:t>Create topics from existing webpages </a:t>
            </a:r>
            <a:br>
              <a:rPr lang="en-US" sz="2800" b="1" dirty="0"/>
            </a:br>
            <a:br>
              <a:rPr lang="en-US" sz="3200" dirty="0"/>
            </a:br>
            <a:br>
              <a:rPr lang="en-US" dirty="0"/>
            </a:br>
            <a:br>
              <a:rPr lang="en-US" sz="2800" dirty="0"/>
            </a:br>
            <a:br>
              <a:rPr lang="en-US" sz="2800" dirty="0">
                <a:solidFill>
                  <a:schemeClr val="tx1"/>
                </a:solidFill>
              </a:rPr>
            </a:br>
            <a:endParaRPr lang="en-US" sz="2800" dirty="0">
              <a:solidFill>
                <a:schemeClr val="tx1"/>
              </a:solidFill>
            </a:endParaRPr>
          </a:p>
        </p:txBody>
      </p:sp>
    </p:spTree>
    <p:extLst>
      <p:ext uri="{BB962C8B-B14F-4D97-AF65-F5344CB8AC3E}">
        <p14:creationId xmlns:p14="http://schemas.microsoft.com/office/powerpoint/2010/main" val="25419524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Engage customers with Microsoft's Power Virtual Agents">
            <a:hlinkClick r:id="" action="ppaction://media"/>
            <a:extLst>
              <a:ext uri="{FF2B5EF4-FFF2-40B4-BE49-F238E27FC236}">
                <a16:creationId xmlns:a16="http://schemas.microsoft.com/office/drawing/2014/main" id="{C26BB504-A24F-4A49-9C01-CF69FAA40F3E}"/>
              </a:ext>
            </a:extLst>
          </p:cNvPr>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9628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cs typeface="Segoe UI"/>
              </a:rPr>
              <a:t>Enhance Virtual Agent using variables, topic redirections and entities</a:t>
            </a:r>
          </a:p>
        </p:txBody>
      </p:sp>
      <p:grpSp>
        <p:nvGrpSpPr>
          <p:cNvPr id="3" name="Group 2">
            <a:extLst>
              <a:ext uri="{FF2B5EF4-FFF2-40B4-BE49-F238E27FC236}">
                <a16:creationId xmlns:a16="http://schemas.microsoft.com/office/drawing/2014/main" id="{5FCE0998-F236-4A87-B041-F3D91D196506}"/>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AE420541-D370-42B1-9E6C-E6BDA93F440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7AE0191-8D7F-4538-A8C9-D1E44E0CDF9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753F6DB-C6C0-41AB-B422-4A56C47C06B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0BC2A039-63F7-4E73-9DBF-9854F1B0C4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F3C2FE2-5FF5-4018-83EF-64BFB0B14A8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7918671-37FD-488B-98B6-547020FBFC4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1DC8EC96-5C06-4E17-AEE3-59A6EFFBA00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296DC1AA-C851-451F-A87E-DDCF319C437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CA401B31-2A66-4069-8376-875B51AC1A1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2FD70D3-5AE6-4658-B1DF-E6A6323D8B8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0EC0DEDC-72E9-4F30-A97F-3B41DDD2E0F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6A6A9330-9FA5-441C-807B-DD041954FD1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8EA6B76F-98A9-4B24-AF91-11807DD8622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67C317F1-0ACB-4338-90F2-C3655C24658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7049D390-8522-4340-B7B2-5ED4A7EAFE4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12B314D-6C3A-4BF1-B56D-B2CB62A3BA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D3DC1F17-0B61-4C34-BDAD-565704E798E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1366E892-4C8B-4940-971E-444228FB468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3089648A-D652-448A-B249-67703035326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29340EB4-2774-4B55-B27E-037DDCDC55CD}"/>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84771118-8AD5-4FC7-927D-AF537995587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BA9F81A-3B37-46DF-BEF7-866D4115C46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33F25B2F-A395-46E5-9E3A-3D8BBCCFBFDB}"/>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D3E1B4B0-D184-4387-B731-1F2E03455F1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771E6563-8B05-4E2C-B718-02F79BC5566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143C6031-4BF7-4CD1-B9AB-E035CB467230}"/>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C2CE8EB-5D50-4CF6-9918-ACD3C8782499}"/>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62AB2C13-2C76-498B-A1DD-D9CF47311A63}"/>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94C1BD50-D8EC-44F2-9BA6-8A049D66A33C}"/>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23FE98AF-E090-4AC6-AE6C-36AB8371864C}"/>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5F5843FF-3B96-411A-B31C-85F99111C86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5BFF522-B307-4804-A103-553675533F3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D748E1A6-9446-458A-9E21-92739F33D4C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5873CEC-DA31-4F91-B394-D077E942C8B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3781007-0506-4E74-B060-0B1F7B1F1FE3}"/>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9DB8CB08-7FFB-4E33-8717-DCDC9E0001BC}"/>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7621741-D4B4-4C43-874A-293D55D8DAA2}"/>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A71BD316-90A4-4F98-8BB2-65C09577D9BF}"/>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8B16AEC-C292-453E-BCE1-C218EAA84E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6D9DC32-E55E-48DB-A934-F6FAB720F45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507C179-E5B1-4667-8DDE-B638847EE4F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0E4F60EA-C032-49AE-A8B6-B2AB4442464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94E9DDD6-A4B1-48FB-8640-7010B34D234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4DEAF722-0699-4FEF-98DA-DA3290C2346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B2646DE-EB45-420F-A7CA-37000C1C56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F93747BF-0E3A-4288-9674-2E891465F7C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E78F22E5-F294-477C-8FCE-ECE6741B7D1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EF591C0-5CFC-4FDB-B258-B7AF04A8227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6AEABFA-032F-46FA-BC0F-CE1627F51DE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F73847D-2C60-426A-B6A1-FCABFA30BFE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0ED4746D-BB23-4A0C-840D-DF99784F7CF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2F54FFC2-0705-4D58-BA81-E1E136CDDB6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5A7C521-DFB7-4488-826B-1FC8184B39C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82232D04-BA78-489D-A778-03FCBE74A83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9E8B172-998A-4224-A858-BAABBEC765C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79EAF14-FBE6-4C4F-83CA-2A02E8D93E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0080E5A8-952E-43A1-BCB3-B1270C6867E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29EB31B-102C-42D0-A40E-8F3A33C60D6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E7579602-2E4D-44D1-9061-02A315AA7C6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CEA45F36-FC1D-4D4E-811F-CCBEE3D4D76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31353D0-72DB-4D5D-A116-74754D8958A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576A1EA-4201-46A0-A548-2E6C38BD16A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AF1C9A20-F79C-4EB8-8F13-6495D64A92B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9D74A51-9BDD-4CDF-92F7-84B89B2F9D1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1673DD9F-88DF-4141-9BFD-1BB453F6629D}"/>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E822AFA6-2EE9-499B-90FB-79FE7E714E78}"/>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174B9696-E25E-43DD-B67E-1A89CDEBBE8B}"/>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5B3062C-6F06-418D-AB3E-279966F22CA4}"/>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4C67EA46-12DD-4AB0-8BE3-E5BF72649FC9}"/>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C962E80-7AD6-4B9A-A7D2-783A27E9137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20177473-30C4-4429-B356-8B78A5E72C4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27F701F-78C2-4E3D-A5A5-4B57EC9F67F4}"/>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73956B20-912C-4954-99D8-3DACD6929294}"/>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5B30AF0-99D8-421B-94C3-BAA702158DCA}"/>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3E400A2A-A3A0-4E5C-A973-D518E55D90FD}"/>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FA0696B-4C9F-4B7A-B7DF-D891E1D9F350}"/>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A92262B6-4738-4901-B51C-0FABD9458E4D}"/>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A3234E3F-B49D-49B2-95DC-8D7E6F6BECB6}"/>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F0AAA5E-C700-4EAA-ACA5-3EF873E40CF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4307190-AD1F-4777-BFCF-94EF8E50926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26E78DF-4DED-4CF6-A575-C624C96FBDA4}"/>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CF91D786-4A6E-42F6-863E-05D00D929C11}"/>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262AA926-A660-47FF-ABAB-48BE18B187A7}"/>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361525CD-1EEF-4E5F-B5B7-6E9FBC814995}"/>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2FD76BDA-965C-42DF-8F43-7476FC53355C}"/>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C3EAC9D5-6441-4D09-88C8-A1CEE8A0E479}"/>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01D910E0-78B5-4F98-AA04-CF73201328AB}"/>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3BC65027-C352-4B57-9E8C-F2C05C85FDE8}"/>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28C54B54-2033-4DC3-A7EC-B33D8FCFD1D0}"/>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A310BB6A-F433-4756-9FFB-E84FDB31CBD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C71D6D4F-3E12-4105-8A86-4DAB12788D7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3706629-9BA6-4493-BA64-CFCF6280BC8E}"/>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DEC67559-468A-4524-B65A-4F16138082C2}"/>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E96EAD8E-4BB2-4218-B6F6-77199CE05B14}"/>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BB6CC781-EBDA-48FD-BA7B-B74DB2D7FC14}"/>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0B8F0FF0-2063-4453-982F-5DF9483E57C5}"/>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54D7A5D-FD5B-4A17-83FD-FD97EA820D89}"/>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BAA71B54-50C4-47A0-A8F4-AF8B96E31DFD}"/>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9B94AC5-F8CB-47D6-8354-B5701FA00C7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36315140-0804-4191-A1BA-C9F8B8DDC7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66E4D770-E9BB-48DC-9569-2503C66BCD83}"/>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0772F0D-8533-43BF-80FC-458C47690797}"/>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C333059-6C82-4719-91D7-22058B7CCE3A}"/>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9AC17B6-5D9E-487B-AE86-189EABACD816}"/>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E5892CCF-100F-4FD3-AEDC-5B144848CB33}"/>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B6750A5E-D40D-4C01-B06F-4BC15989B43F}"/>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06358082-353C-4E8F-BADC-E182B94913DA}"/>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018F80D0-884C-44FC-A5D2-F7D228046F02}"/>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98B46049-E3CE-4A50-AB01-CEECFD7651E7}"/>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E907951E-34F7-4DB6-984B-48CD40C6574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6F965A12-85AF-43D7-AE1C-A7AB3BBC5A6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641BAF12-200D-487A-ABB5-1D539AD21B3E}"/>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DC7675F1-8402-4B23-BD08-01209A7C4E8E}"/>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22DE53C8-EA71-412F-98C4-2DF4CB4356D9}"/>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7D9D04EF-CA69-4BC0-A4ED-DA619A456F36}"/>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59E1D116-31C5-457B-BF3C-C64F87E2516C}"/>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C52DBE78-D985-47EE-97B4-114823CCC40C}"/>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C377301C-8E92-4FA8-AB84-5A5D6F9591F4}"/>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4FCDAA37-EF32-43F8-8CAD-6032D82D7EBC}"/>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0D8E4E10-5C55-4D42-8F71-0E7DD745D662}"/>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4FE64832-2CE8-4119-A6F5-2C664C0B4E06}"/>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E789AAC-7155-4EAF-A42C-9EF2F4EC991E}"/>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A79E23FD-DAE0-4E59-AEFF-51C1B13FA77D}"/>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8F2454F6-8F5C-4151-9BAA-F1DEA1548A55}"/>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D78F1190-28D8-490B-BF1E-5C39638FE5AF}"/>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D249289-36DC-4F79-9BCF-7FC78A4AC3BA}"/>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F500684A-98CD-47A0-9BAE-DBBF7E07C317}"/>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96D14A27-4058-42B8-9818-6475DEC80288}"/>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5742DB1-AB65-4FE2-9B4C-58658BDDECCF}"/>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CC3A8266-40A3-4ADA-9546-7A602F07EC2F}"/>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A1BA59A5-5DAE-4AD2-ADA6-02B53DEE5E99}"/>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74445F29-225C-4545-9EC8-897A5C2066CC}"/>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B4030A02-F292-4FB2-BF30-2B0E04BFADAE}"/>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19E82B78-B97C-41B7-A27B-F398EE91A9DC}"/>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1E45363-0403-4381-8B55-0DEF247D3C12}"/>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3179CCD-F629-48B1-B987-14B42224E3D7}"/>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ECBF8584-933C-4251-B925-B290308DE961}"/>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B20CABC1-D0EA-4D9C-A5E5-A0A333E539FA}"/>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1436BFAD-6312-4FAD-8C45-B024196BE6DB}"/>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88D4ED5A-3E83-4145-8A78-889A500B86C4}"/>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290B55CE-B3CC-40A3-B937-093524C299D9}"/>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009995F-8CAD-4E3C-B961-8A2E577B67AB}"/>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52D61A87-5684-4DF9-A5C5-3F43AF0F3869}"/>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0DE47E7C-2FB8-494C-ABD5-7A882C3E6E09}"/>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B7CC7BA2-0D0F-4411-A1ED-DBE6F00916C3}"/>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BA3BD1C8-CC36-49C8-8640-8D3CD2EF9824}"/>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E5B3280C-7295-4EAA-A7CD-59BB912F5B33}"/>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239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1141965287"/>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a:solidFill>
                            <a:schemeClr val="bg1"/>
                          </a:solidFill>
                        </a:rPr>
                        <a:t>4</a:t>
                      </a:r>
                    </a:p>
                  </a:txBody>
                  <a:tcPr marL="18180" marR="10908" marT="10908" marB="10908" anchor="ctr">
                    <a:solidFill>
                      <a:srgbClr val="0B556A"/>
                    </a:solidFill>
                  </a:tcPr>
                </a:tc>
                <a:tc>
                  <a:txBody>
                    <a:bodyPr/>
                    <a:lstStyle/>
                    <a:p>
                      <a:r>
                        <a:rPr lang="en-US" sz="1100" b="1">
                          <a:solidFill>
                            <a:schemeClr val="bg1"/>
                          </a:solidFill>
                        </a:rPr>
                        <a:t>Improve your virtual agent using entities, variables and topic redirects</a:t>
                      </a:r>
                    </a:p>
                  </a:txBody>
                  <a:tcPr marL="18180" marR="10908" marT="10908" marB="10908" anchor="ctr">
                    <a:solidFill>
                      <a:srgbClr val="0B556A"/>
                    </a:solidFill>
                  </a:tcPr>
                </a:tc>
                <a:tc>
                  <a:txBody>
                    <a:bodyPr/>
                    <a:lstStyle/>
                    <a:p>
                      <a:r>
                        <a:rPr lang="en-US" sz="1100" b="1">
                          <a:solidFill>
                            <a:schemeClr val="bg1"/>
                          </a:solidFill>
                        </a:rPr>
                        <a:t>45 minutes</a:t>
                      </a:r>
                    </a:p>
                  </a:txBody>
                  <a:tcPr marL="18180" marR="10908" marT="10908" marB="10908" anchor="ctr">
                    <a:solidFill>
                      <a:srgbClr val="0B556A"/>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a:t>5</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Integrate with prebuilt Power Automate flows</a:t>
                      </a:r>
                      <a:endParaRPr lang="en-US" sz="1100">
                        <a:solidFill>
                          <a:schemeClr val="tx1">
                            <a:lumMod val="85000"/>
                            <a:lumOff val="15000"/>
                          </a:schemeClr>
                        </a:solidFill>
                      </a:endParaRPr>
                    </a:p>
                  </a:txBody>
                  <a:tcPr marL="18180" marR="10908" marT="10908" marB="10908" anchor="ctr"/>
                </a:tc>
                <a:tc>
                  <a:txBody>
                    <a:bodyPr/>
                    <a:lstStyle/>
                    <a:p>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13062959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a:t>Easily create an Intelligent Virtual Agent</a:t>
            </a:r>
          </a:p>
        </p:txBody>
      </p:sp>
      <p:sp>
        <p:nvSpPr>
          <p:cNvPr id="9" name="Freeform: Shape 8">
            <a:extLst>
              <a:ext uri="{FF2B5EF4-FFF2-40B4-BE49-F238E27FC236}">
                <a16:creationId xmlns:a16="http://schemas.microsoft.com/office/drawing/2014/main" id="{5CF624B7-5187-48A2-8F81-278E1E2E7AB9}"/>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869C60DF-4CE6-4ACE-9B40-84BBFB90BE3B}"/>
              </a:ext>
            </a:extLst>
          </p:cNvPr>
          <p:cNvGrpSpPr/>
          <p:nvPr/>
        </p:nvGrpSpPr>
        <p:grpSpPr>
          <a:xfrm>
            <a:off x="524087" y="1868943"/>
            <a:ext cx="6543014" cy="4664286"/>
            <a:chOff x="524087" y="1868943"/>
            <a:chExt cx="6543014" cy="4664286"/>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75928" y="3216201"/>
              <a:ext cx="4720072" cy="169277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Extract information from user responses</a:t>
              </a:r>
            </a:p>
            <a:p>
              <a:pPr defTabSz="914367">
                <a:defRPr/>
              </a:pPr>
              <a:r>
                <a:rPr lang="en-US" sz="1800" spc="0">
                  <a:solidFill>
                    <a:schemeClr val="bg1"/>
                  </a:solidFill>
                  <a:latin typeface="+mn-lt"/>
                </a:rPr>
                <a:t>Recognize, extract, and act on dozens of common entities in a user’s responses. For example, colors, currencies, ages, dates and times. Or create your own custom entities,</a:t>
              </a:r>
              <a:br>
                <a:rPr lang="en-US" sz="1800" spc="0">
                  <a:solidFill>
                    <a:schemeClr val="bg1"/>
                  </a:solidFill>
                  <a:latin typeface="+mn-lt"/>
                </a:rPr>
              </a:br>
              <a:r>
                <a:rPr lang="en-US" sz="1800" spc="0">
                  <a:solidFill>
                    <a:schemeClr val="bg1"/>
                  </a:solidFill>
                  <a:latin typeface="+mn-lt"/>
                </a:rPr>
                <a:t>e.g. model numbers</a:t>
              </a:r>
            </a:p>
          </p:txBody>
        </p:sp>
        <p:cxnSp>
          <p:nvCxnSpPr>
            <p:cNvPr id="11" name="Straight Connector 10">
              <a:extLst>
                <a:ext uri="{FF2B5EF4-FFF2-40B4-BE49-F238E27FC236}">
                  <a16:creationId xmlns:a16="http://schemas.microsoft.com/office/drawing/2014/main" id="{48FCBEAA-3269-4420-BD9A-08874C23F22B}"/>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868943"/>
              <a:ext cx="4540885" cy="86177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Simple, graphical bot creation</a:t>
              </a:r>
            </a:p>
            <a:p>
              <a:pPr lvl="0" defTabSz="914367">
                <a:defRPr/>
              </a:pPr>
              <a:r>
                <a:rPr lang="en-US" sz="1800" spc="0">
                  <a:solidFill>
                    <a:schemeClr val="bg1"/>
                  </a:solidFill>
                  <a:latin typeface="+mn-lt"/>
                </a:rPr>
                <a:t>Easily test and maintain bots through a simple, easy to use graphical interface</a:t>
              </a:r>
            </a:p>
          </p:txBody>
        </p:sp>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8" y="5394456"/>
              <a:ext cx="4622716" cy="113877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a:solidFill>
                    <a:schemeClr val="bg1"/>
                  </a:solidFill>
                </a:rPr>
                <a:t>Remember user responses </a:t>
              </a:r>
            </a:p>
            <a:p>
              <a:pPr defTabSz="914367">
                <a:defRPr/>
              </a:pPr>
              <a:r>
                <a:rPr lang="en-US" sz="1800" spc="0">
                  <a:solidFill>
                    <a:schemeClr val="bg1"/>
                  </a:solidFill>
                  <a:latin typeface="+mn-lt"/>
                </a:rPr>
                <a:t>Store user information for use later in variables and use them to branch or create complex conversations</a:t>
              </a:r>
            </a:p>
          </p:txBody>
        </p:sp>
        <p:cxnSp>
          <p:nvCxnSpPr>
            <p:cNvPr id="20" name="Straight Connector 19">
              <a:extLst>
                <a:ext uri="{FF2B5EF4-FFF2-40B4-BE49-F238E27FC236}">
                  <a16:creationId xmlns:a16="http://schemas.microsoft.com/office/drawing/2014/main" id="{D3B6089B-96E7-4922-9C04-681BA7A409C3}"/>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524087" y="2078566"/>
              <a:ext cx="597957" cy="442528"/>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579530" y="3794542"/>
              <a:ext cx="464410" cy="536088"/>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Brain_3">
              <a:extLst>
                <a:ext uri="{FF2B5EF4-FFF2-40B4-BE49-F238E27FC236}">
                  <a16:creationId xmlns:a16="http://schemas.microsoft.com/office/drawing/2014/main" id="{566489D7-7BA7-4C1E-A2F3-45C2D6FA3302}"/>
                </a:ext>
              </a:extLst>
            </p:cNvPr>
            <p:cNvSpPr>
              <a:spLocks noChangeAspect="1" noEditPoints="1"/>
            </p:cNvSpPr>
            <p:nvPr/>
          </p:nvSpPr>
          <p:spPr bwMode="auto">
            <a:xfrm>
              <a:off x="599854" y="573601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05F98A45-74D6-44EF-87FC-8AFF4FB986C7}"/>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633E4E00-E977-444B-8441-5F7A26B9104D}"/>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7" name="Picture 16" descr="A screenshot of a social media post&#10;&#10;Description automatically generated">
              <a:extLst>
                <a:ext uri="{FF2B5EF4-FFF2-40B4-BE49-F238E27FC236}">
                  <a16:creationId xmlns:a16="http://schemas.microsoft.com/office/drawing/2014/main" id="{2DB5072B-9267-4C92-A622-1DD2709B0646}"/>
                </a:ext>
              </a:extLst>
            </p:cNvPr>
            <p:cNvPicPr>
              <a:picLocks noChangeAspect="1"/>
            </p:cNvPicPr>
            <p:nvPr/>
          </p:nvPicPr>
          <p:blipFill rotWithShape="1">
            <a:blip r:embed="rId3"/>
            <a:srcRect l="1412" t="-1" r="4162" b="1081"/>
            <a:stretch/>
          </p:blipFill>
          <p:spPr>
            <a:xfrm>
              <a:off x="6371198" y="2382520"/>
              <a:ext cx="5940333" cy="3517219"/>
            </a:xfrm>
            <a:custGeom>
              <a:avLst/>
              <a:gdLst>
                <a:gd name="connsiteX0" fmla="*/ 0 w 5940333"/>
                <a:gd name="connsiteY0" fmla="*/ 0 h 3501477"/>
                <a:gd name="connsiteX1" fmla="*/ 5940333 w 5940333"/>
                <a:gd name="connsiteY1" fmla="*/ 0 h 3501477"/>
                <a:gd name="connsiteX2" fmla="*/ 5940333 w 5940333"/>
                <a:gd name="connsiteY2" fmla="*/ 3501477 h 3501477"/>
                <a:gd name="connsiteX3" fmla="*/ 0 w 5940333"/>
                <a:gd name="connsiteY3" fmla="*/ 3501477 h 3501477"/>
              </a:gdLst>
              <a:ahLst/>
              <a:cxnLst>
                <a:cxn ang="0">
                  <a:pos x="connsiteX0" y="connsiteY0"/>
                </a:cxn>
                <a:cxn ang="0">
                  <a:pos x="connsiteX1" y="connsiteY1"/>
                </a:cxn>
                <a:cxn ang="0">
                  <a:pos x="connsiteX2" y="connsiteY2"/>
                </a:cxn>
                <a:cxn ang="0">
                  <a:pos x="connsiteX3" y="connsiteY3"/>
                </a:cxn>
              </a:cxnLst>
              <a:rect l="l" t="t" r="r" b="b"/>
              <a:pathLst>
                <a:path w="5940333" h="3501477">
                  <a:moveTo>
                    <a:pt x="0" y="0"/>
                  </a:moveTo>
                  <a:lnTo>
                    <a:pt x="5940333" y="0"/>
                  </a:lnTo>
                  <a:lnTo>
                    <a:pt x="5940333" y="3501477"/>
                  </a:lnTo>
                  <a:lnTo>
                    <a:pt x="0" y="3501477"/>
                  </a:lnTo>
                  <a:close/>
                </a:path>
              </a:pathLst>
            </a:custGeom>
          </p:spPr>
        </p:pic>
      </p:grpSp>
    </p:spTree>
    <p:extLst>
      <p:ext uri="{BB962C8B-B14F-4D97-AF65-F5344CB8AC3E}">
        <p14:creationId xmlns:p14="http://schemas.microsoft.com/office/powerpoint/2010/main" val="74748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3.54167E-6 4.44444E-6 L -0.03451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a:t>Use variables to navigate customers to tailored content</a:t>
            </a:r>
          </a:p>
        </p:txBody>
      </p:sp>
      <p:sp>
        <p:nvSpPr>
          <p:cNvPr id="16" name="Freeform: Shape 15">
            <a:extLst>
              <a:ext uri="{FF2B5EF4-FFF2-40B4-BE49-F238E27FC236}">
                <a16:creationId xmlns:a16="http://schemas.microsoft.com/office/drawing/2014/main" id="{78F38CD4-C222-4EFD-AADF-3855A15D25A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 name="Group 1">
            <a:extLst>
              <a:ext uri="{FF2B5EF4-FFF2-40B4-BE49-F238E27FC236}">
                <a16:creationId xmlns:a16="http://schemas.microsoft.com/office/drawing/2014/main" id="{5722363C-6C3F-4F05-B71C-21B72DDFAB5B}"/>
              </a:ext>
            </a:extLst>
          </p:cNvPr>
          <p:cNvGrpSpPr/>
          <p:nvPr/>
        </p:nvGrpSpPr>
        <p:grpSpPr>
          <a:xfrm>
            <a:off x="468348" y="2695342"/>
            <a:ext cx="6598753" cy="2642195"/>
            <a:chOff x="468348" y="2695342"/>
            <a:chExt cx="6598753" cy="2642195"/>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Direct your customers to content you want them to see</a:t>
              </a:r>
            </a:p>
          </p:txBody>
        </p:sp>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Add variables to keep customer information for later in the conversation</a:t>
              </a:r>
            </a:p>
          </p:txBody>
        </p:sp>
        <p:cxnSp>
          <p:nvCxnSpPr>
            <p:cNvPr id="26" name="Straight Connector 25">
              <a:extLst>
                <a:ext uri="{FF2B5EF4-FFF2-40B4-BE49-F238E27FC236}">
                  <a16:creationId xmlns:a16="http://schemas.microsoft.com/office/drawing/2014/main" id="{D3534CC0-A7B7-4016-ABAA-9AEA18AFB130}"/>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84" name="Group 83">
              <a:extLst>
                <a:ext uri="{FF2B5EF4-FFF2-40B4-BE49-F238E27FC236}">
                  <a16:creationId xmlns:a16="http://schemas.microsoft.com/office/drawing/2014/main" id="{B58FB624-642E-4E44-9272-6A3E4EDF1C2D}"/>
                </a:ext>
              </a:extLst>
            </p:cNvPr>
            <p:cNvGrpSpPr/>
            <p:nvPr/>
          </p:nvGrpSpPr>
          <p:grpSpPr>
            <a:xfrm>
              <a:off x="468348" y="4560735"/>
              <a:ext cx="662621" cy="445609"/>
              <a:chOff x="468348" y="4160849"/>
              <a:chExt cx="605477" cy="407180"/>
            </a:xfrm>
          </p:grpSpPr>
          <p:sp>
            <p:nvSpPr>
              <p:cNvPr id="64" name="Freeform 34">
                <a:extLst>
                  <a:ext uri="{FF2B5EF4-FFF2-40B4-BE49-F238E27FC236}">
                    <a16:creationId xmlns:a16="http://schemas.microsoft.com/office/drawing/2014/main" id="{1A7AD89F-B1D9-47DA-B618-115A518D0B5D}"/>
                  </a:ext>
                </a:extLst>
              </p:cNvPr>
              <p:cNvSpPr>
                <a:spLocks/>
              </p:cNvSpPr>
              <p:nvPr/>
            </p:nvSpPr>
            <p:spPr bwMode="auto">
              <a:xfrm>
                <a:off x="511238" y="4310687"/>
                <a:ext cx="135355" cy="142597"/>
              </a:xfrm>
              <a:custGeom>
                <a:avLst/>
                <a:gdLst>
                  <a:gd name="T0" fmla="*/ 0 w 179"/>
                  <a:gd name="T1" fmla="*/ 94 h 188"/>
                  <a:gd name="T2" fmla="*/ 88 w 179"/>
                  <a:gd name="T3" fmla="*/ 0 h 188"/>
                  <a:gd name="T4" fmla="*/ 179 w 179"/>
                  <a:gd name="T5" fmla="*/ 94 h 188"/>
                  <a:gd name="T6" fmla="*/ 88 w 179"/>
                  <a:gd name="T7" fmla="*/ 188 h 188"/>
                  <a:gd name="T8" fmla="*/ 0 w 179"/>
                  <a:gd name="T9" fmla="*/ 94 h 188"/>
                  <a:gd name="T10" fmla="*/ 0 w 179"/>
                  <a:gd name="T11" fmla="*/ 94 h 188"/>
                  <a:gd name="T12" fmla="*/ 0 w 179"/>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79" h="188">
                    <a:moveTo>
                      <a:pt x="0" y="94"/>
                    </a:moveTo>
                    <a:cubicBezTo>
                      <a:pt x="0" y="42"/>
                      <a:pt x="41" y="0"/>
                      <a:pt x="88" y="0"/>
                    </a:cubicBezTo>
                    <a:cubicBezTo>
                      <a:pt x="136" y="0"/>
                      <a:pt x="179" y="42"/>
                      <a:pt x="179" y="94"/>
                    </a:cubicBezTo>
                    <a:cubicBezTo>
                      <a:pt x="179" y="147"/>
                      <a:pt x="138" y="188"/>
                      <a:pt x="88" y="188"/>
                    </a:cubicBezTo>
                    <a:cubicBezTo>
                      <a:pt x="39" y="188"/>
                      <a:pt x="0" y="145"/>
                      <a:pt x="0" y="94"/>
                    </a:cubicBezTo>
                    <a:cubicBezTo>
                      <a:pt x="0" y="94"/>
                      <a:pt x="0" y="94"/>
                      <a:pt x="0" y="94"/>
                    </a:cubicBezTo>
                    <a:cubicBezTo>
                      <a:pt x="0" y="94"/>
                      <a:pt x="0" y="94"/>
                      <a:pt x="0" y="94"/>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35">
                <a:extLst>
                  <a:ext uri="{FF2B5EF4-FFF2-40B4-BE49-F238E27FC236}">
                    <a16:creationId xmlns:a16="http://schemas.microsoft.com/office/drawing/2014/main" id="{E64C9D9D-6D49-40F3-A41B-0C1E4BE1DAAF}"/>
                  </a:ext>
                </a:extLst>
              </p:cNvPr>
              <p:cNvSpPr>
                <a:spLocks/>
              </p:cNvSpPr>
              <p:nvPr/>
            </p:nvSpPr>
            <p:spPr bwMode="auto">
              <a:xfrm>
                <a:off x="468348" y="4453283"/>
                <a:ext cx="217794" cy="114746"/>
              </a:xfrm>
              <a:custGeom>
                <a:avLst/>
                <a:gdLst>
                  <a:gd name="T0" fmla="*/ 287 w 287"/>
                  <a:gd name="T1" fmla="*/ 151 h 151"/>
                  <a:gd name="T2" fmla="*/ 142 w 287"/>
                  <a:gd name="T3" fmla="*/ 0 h 151"/>
                  <a:gd name="T4" fmla="*/ 0 w 287"/>
                  <a:gd name="T5" fmla="*/ 151 h 151"/>
                </a:gdLst>
                <a:ahLst/>
                <a:cxnLst>
                  <a:cxn ang="0">
                    <a:pos x="T0" y="T1"/>
                  </a:cxn>
                  <a:cxn ang="0">
                    <a:pos x="T2" y="T3"/>
                  </a:cxn>
                  <a:cxn ang="0">
                    <a:pos x="T4" y="T5"/>
                  </a:cxn>
                </a:cxnLst>
                <a:rect l="0" t="0" r="r" b="b"/>
                <a:pathLst>
                  <a:path w="287" h="151">
                    <a:moveTo>
                      <a:pt x="287" y="151"/>
                    </a:moveTo>
                    <a:cubicBezTo>
                      <a:pt x="287" y="68"/>
                      <a:pt x="222" y="0"/>
                      <a:pt x="142" y="0"/>
                    </a:cubicBezTo>
                    <a:cubicBezTo>
                      <a:pt x="62" y="0"/>
                      <a:pt x="0" y="68"/>
                      <a:pt x="0" y="1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36">
                <a:extLst>
                  <a:ext uri="{FF2B5EF4-FFF2-40B4-BE49-F238E27FC236}">
                    <a16:creationId xmlns:a16="http://schemas.microsoft.com/office/drawing/2014/main" id="{9101ECC2-5D1F-49E1-B9C7-4A1F0C369D2F}"/>
                  </a:ext>
                </a:extLst>
              </p:cNvPr>
              <p:cNvSpPr>
                <a:spLocks/>
              </p:cNvSpPr>
              <p:nvPr/>
            </p:nvSpPr>
            <p:spPr bwMode="auto">
              <a:xfrm>
                <a:off x="574738" y="4160849"/>
                <a:ext cx="499087" cy="344237"/>
              </a:xfrm>
              <a:custGeom>
                <a:avLst/>
                <a:gdLst>
                  <a:gd name="T0" fmla="*/ 0 w 896"/>
                  <a:gd name="T1" fmla="*/ 200 h 618"/>
                  <a:gd name="T2" fmla="*/ 0 w 896"/>
                  <a:gd name="T3" fmla="*/ 0 h 618"/>
                  <a:gd name="T4" fmla="*/ 896 w 896"/>
                  <a:gd name="T5" fmla="*/ 0 h 618"/>
                  <a:gd name="T6" fmla="*/ 896 w 896"/>
                  <a:gd name="T7" fmla="*/ 618 h 618"/>
                  <a:gd name="T8" fmla="*/ 240 w 896"/>
                  <a:gd name="T9" fmla="*/ 618 h 618"/>
                </a:gdLst>
                <a:ahLst/>
                <a:cxnLst>
                  <a:cxn ang="0">
                    <a:pos x="T0" y="T1"/>
                  </a:cxn>
                  <a:cxn ang="0">
                    <a:pos x="T2" y="T3"/>
                  </a:cxn>
                  <a:cxn ang="0">
                    <a:pos x="T4" y="T5"/>
                  </a:cxn>
                  <a:cxn ang="0">
                    <a:pos x="T6" y="T7"/>
                  </a:cxn>
                  <a:cxn ang="0">
                    <a:pos x="T8" y="T9"/>
                  </a:cxn>
                </a:cxnLst>
                <a:rect l="0" t="0" r="r" b="b"/>
                <a:pathLst>
                  <a:path w="896" h="618">
                    <a:moveTo>
                      <a:pt x="0" y="200"/>
                    </a:moveTo>
                    <a:lnTo>
                      <a:pt x="0" y="0"/>
                    </a:lnTo>
                    <a:lnTo>
                      <a:pt x="896" y="0"/>
                    </a:lnTo>
                    <a:lnTo>
                      <a:pt x="896" y="618"/>
                    </a:lnTo>
                    <a:lnTo>
                      <a:pt x="240" y="6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7" name="Line 37">
                <a:extLst>
                  <a:ext uri="{FF2B5EF4-FFF2-40B4-BE49-F238E27FC236}">
                    <a16:creationId xmlns:a16="http://schemas.microsoft.com/office/drawing/2014/main" id="{8DD07A3D-0491-4346-84AA-30E281153365}"/>
                  </a:ext>
                </a:extLst>
              </p:cNvPr>
              <p:cNvSpPr>
                <a:spLocks noChangeShapeType="1"/>
              </p:cNvSpPr>
              <p:nvPr/>
            </p:nvSpPr>
            <p:spPr bwMode="auto">
              <a:xfrm>
                <a:off x="646593" y="4192599"/>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8" name="Line 38">
                <a:extLst>
                  <a:ext uri="{FF2B5EF4-FFF2-40B4-BE49-F238E27FC236}">
                    <a16:creationId xmlns:a16="http://schemas.microsoft.com/office/drawing/2014/main" id="{05D88892-89F2-4A8F-B6DC-EB6DDE2B0CEA}"/>
                  </a:ext>
                </a:extLst>
              </p:cNvPr>
              <p:cNvSpPr>
                <a:spLocks noChangeShapeType="1"/>
              </p:cNvSpPr>
              <p:nvPr/>
            </p:nvSpPr>
            <p:spPr bwMode="auto">
              <a:xfrm>
                <a:off x="602589" y="4192599"/>
                <a:ext cx="2785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9" name="Line 39">
                <a:extLst>
                  <a:ext uri="{FF2B5EF4-FFF2-40B4-BE49-F238E27FC236}">
                    <a16:creationId xmlns:a16="http://schemas.microsoft.com/office/drawing/2014/main" id="{607422EA-4B8D-4F90-BFED-3D92970F02AB}"/>
                  </a:ext>
                </a:extLst>
              </p:cNvPr>
              <p:cNvSpPr>
                <a:spLocks noChangeShapeType="1"/>
              </p:cNvSpPr>
              <p:nvPr/>
            </p:nvSpPr>
            <p:spPr bwMode="auto">
              <a:xfrm>
                <a:off x="646593" y="4227247"/>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0" name="Line 40">
                <a:extLst>
                  <a:ext uri="{FF2B5EF4-FFF2-40B4-BE49-F238E27FC236}">
                    <a16:creationId xmlns:a16="http://schemas.microsoft.com/office/drawing/2014/main" id="{D6080751-72B4-4670-B7C9-311E4405084B}"/>
                  </a:ext>
                </a:extLst>
              </p:cNvPr>
              <p:cNvSpPr>
                <a:spLocks noChangeShapeType="1"/>
              </p:cNvSpPr>
              <p:nvPr/>
            </p:nvSpPr>
            <p:spPr bwMode="auto">
              <a:xfrm>
                <a:off x="602589" y="4227247"/>
                <a:ext cx="2785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1" name="Line 41">
                <a:extLst>
                  <a:ext uri="{FF2B5EF4-FFF2-40B4-BE49-F238E27FC236}">
                    <a16:creationId xmlns:a16="http://schemas.microsoft.com/office/drawing/2014/main" id="{14E714BE-9C71-444B-8A6E-A460D5BE2BE5}"/>
                  </a:ext>
                </a:extLst>
              </p:cNvPr>
              <p:cNvSpPr>
                <a:spLocks noChangeShapeType="1"/>
              </p:cNvSpPr>
              <p:nvPr/>
            </p:nvSpPr>
            <p:spPr bwMode="auto">
              <a:xfrm>
                <a:off x="646593" y="4261895"/>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2" name="Line 42">
                <a:extLst>
                  <a:ext uri="{FF2B5EF4-FFF2-40B4-BE49-F238E27FC236}">
                    <a16:creationId xmlns:a16="http://schemas.microsoft.com/office/drawing/2014/main" id="{CBFA377C-2CA1-468C-B7C2-856751D78C06}"/>
                  </a:ext>
                </a:extLst>
              </p:cNvPr>
              <p:cNvSpPr>
                <a:spLocks noChangeShapeType="1"/>
              </p:cNvSpPr>
              <p:nvPr/>
            </p:nvSpPr>
            <p:spPr bwMode="auto">
              <a:xfrm>
                <a:off x="602589" y="4261895"/>
                <a:ext cx="2785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3" name="Line 43">
                <a:extLst>
                  <a:ext uri="{FF2B5EF4-FFF2-40B4-BE49-F238E27FC236}">
                    <a16:creationId xmlns:a16="http://schemas.microsoft.com/office/drawing/2014/main" id="{D333CB05-DD82-49F0-B5B2-EBEB6B2B8474}"/>
                  </a:ext>
                </a:extLst>
              </p:cNvPr>
              <p:cNvSpPr>
                <a:spLocks noChangeShapeType="1"/>
              </p:cNvSpPr>
              <p:nvPr/>
            </p:nvSpPr>
            <p:spPr bwMode="auto">
              <a:xfrm>
                <a:off x="646593" y="4296543"/>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4" name="Line 44">
                <a:extLst>
                  <a:ext uri="{FF2B5EF4-FFF2-40B4-BE49-F238E27FC236}">
                    <a16:creationId xmlns:a16="http://schemas.microsoft.com/office/drawing/2014/main" id="{F9B51895-B952-4A76-855E-55333D1CFB60}"/>
                  </a:ext>
                </a:extLst>
              </p:cNvPr>
              <p:cNvSpPr>
                <a:spLocks noChangeShapeType="1"/>
              </p:cNvSpPr>
              <p:nvPr/>
            </p:nvSpPr>
            <p:spPr bwMode="auto">
              <a:xfrm>
                <a:off x="602589" y="4296543"/>
                <a:ext cx="27851"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6" name="Line 46">
                <a:extLst>
                  <a:ext uri="{FF2B5EF4-FFF2-40B4-BE49-F238E27FC236}">
                    <a16:creationId xmlns:a16="http://schemas.microsoft.com/office/drawing/2014/main" id="{1893E442-D6A4-41A0-B709-612CC583D22C}"/>
                  </a:ext>
                </a:extLst>
              </p:cNvPr>
              <p:cNvSpPr>
                <a:spLocks noChangeShapeType="1"/>
              </p:cNvSpPr>
              <p:nvPr/>
            </p:nvSpPr>
            <p:spPr bwMode="auto">
              <a:xfrm>
                <a:off x="646593" y="4331191"/>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8" name="Line 48">
                <a:extLst>
                  <a:ext uri="{FF2B5EF4-FFF2-40B4-BE49-F238E27FC236}">
                    <a16:creationId xmlns:a16="http://schemas.microsoft.com/office/drawing/2014/main" id="{A00E397E-8EDC-4C73-86C5-4AD0D4581C2B}"/>
                  </a:ext>
                </a:extLst>
              </p:cNvPr>
              <p:cNvSpPr>
                <a:spLocks noChangeShapeType="1"/>
              </p:cNvSpPr>
              <p:nvPr/>
            </p:nvSpPr>
            <p:spPr bwMode="auto">
              <a:xfrm>
                <a:off x="646593" y="4365839"/>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9" name="Line 49">
                <a:extLst>
                  <a:ext uri="{FF2B5EF4-FFF2-40B4-BE49-F238E27FC236}">
                    <a16:creationId xmlns:a16="http://schemas.microsoft.com/office/drawing/2014/main" id="{23CB9118-4552-4D4E-B5E3-D032AD390882}"/>
                  </a:ext>
                </a:extLst>
              </p:cNvPr>
              <p:cNvSpPr>
                <a:spLocks noChangeShapeType="1"/>
              </p:cNvSpPr>
              <p:nvPr/>
            </p:nvSpPr>
            <p:spPr bwMode="auto">
              <a:xfrm>
                <a:off x="646593" y="4400487"/>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0" name="Line 50">
                <a:extLst>
                  <a:ext uri="{FF2B5EF4-FFF2-40B4-BE49-F238E27FC236}">
                    <a16:creationId xmlns:a16="http://schemas.microsoft.com/office/drawing/2014/main" id="{F7E5233D-7517-49BF-B2E4-9865829826F1}"/>
                  </a:ext>
                </a:extLst>
              </p:cNvPr>
              <p:cNvSpPr>
                <a:spLocks noChangeShapeType="1"/>
              </p:cNvSpPr>
              <p:nvPr/>
            </p:nvSpPr>
            <p:spPr bwMode="auto">
              <a:xfrm>
                <a:off x="646593" y="4435135"/>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1" name="Line 51">
                <a:extLst>
                  <a:ext uri="{FF2B5EF4-FFF2-40B4-BE49-F238E27FC236}">
                    <a16:creationId xmlns:a16="http://schemas.microsoft.com/office/drawing/2014/main" id="{A9B75559-EB04-4D75-8157-C4E4571096A5}"/>
                  </a:ext>
                </a:extLst>
              </p:cNvPr>
              <p:cNvSpPr>
                <a:spLocks noChangeShapeType="1"/>
              </p:cNvSpPr>
              <p:nvPr/>
            </p:nvSpPr>
            <p:spPr bwMode="auto">
              <a:xfrm>
                <a:off x="646593" y="4469782"/>
                <a:ext cx="398824"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5D3CBFB3-3618-4158-86DA-5CAA3FB3AF69}"/>
              </a:ext>
            </a:extLst>
          </p:cNvPr>
          <p:cNvGrpSpPr/>
          <p:nvPr/>
        </p:nvGrpSpPr>
        <p:grpSpPr>
          <a:xfrm>
            <a:off x="6345757" y="2205361"/>
            <a:ext cx="5757343" cy="3526776"/>
            <a:chOff x="6193357" y="2205361"/>
            <a:chExt cx="6345836" cy="3887269"/>
          </a:xfrm>
        </p:grpSpPr>
        <p:sp>
          <p:nvSpPr>
            <p:cNvPr id="27" name="Freeform: Shape 26">
              <a:extLst>
                <a:ext uri="{FF2B5EF4-FFF2-40B4-BE49-F238E27FC236}">
                  <a16:creationId xmlns:a16="http://schemas.microsoft.com/office/drawing/2014/main" id="{105031F4-325E-46A3-AE26-2858D875973F}"/>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E1D6A560-92B1-41CC-A380-DB55DA805D2A}"/>
                </a:ext>
              </a:extLst>
            </p:cNvPr>
            <p:cNvGrpSpPr/>
            <p:nvPr/>
          </p:nvGrpSpPr>
          <p:grpSpPr>
            <a:xfrm>
              <a:off x="6371195" y="2382521"/>
              <a:ext cx="5940335" cy="3517213"/>
              <a:chOff x="6371195" y="2398260"/>
              <a:chExt cx="5940335" cy="3501474"/>
            </a:xfrm>
          </p:grpSpPr>
          <p:grpSp>
            <p:nvGrpSpPr>
              <p:cNvPr id="108" name="Group 107">
                <a:extLst>
                  <a:ext uri="{FF2B5EF4-FFF2-40B4-BE49-F238E27FC236}">
                    <a16:creationId xmlns:a16="http://schemas.microsoft.com/office/drawing/2014/main" id="{D89E0A91-1498-4AFE-BC35-C0C5EF61F342}"/>
                  </a:ext>
                </a:extLst>
              </p:cNvPr>
              <p:cNvGrpSpPr/>
              <p:nvPr/>
            </p:nvGrpSpPr>
            <p:grpSpPr>
              <a:xfrm>
                <a:off x="6371195" y="2398260"/>
                <a:ext cx="5940335" cy="3501474"/>
                <a:chOff x="6371195" y="2398260"/>
                <a:chExt cx="5940335" cy="3501474"/>
              </a:xfrm>
            </p:grpSpPr>
            <p:pic>
              <p:nvPicPr>
                <p:cNvPr id="102" name="Picture 101">
                  <a:extLst>
                    <a:ext uri="{FF2B5EF4-FFF2-40B4-BE49-F238E27FC236}">
                      <a16:creationId xmlns:a16="http://schemas.microsoft.com/office/drawing/2014/main" id="{DB0A06F5-5EA2-45B2-AE72-23F4FAA90E4B}"/>
                    </a:ext>
                  </a:extLst>
                </p:cNvPr>
                <p:cNvPicPr>
                  <a:picLocks noChangeAspect="1"/>
                </p:cNvPicPr>
                <p:nvPr/>
              </p:nvPicPr>
              <p:blipFill rotWithShape="1">
                <a:blip r:embed="rId3"/>
                <a:srcRect l="-1" r="550" b="12075"/>
                <a:stretch/>
              </p:blipFill>
              <p:spPr>
                <a:xfrm>
                  <a:off x="6371195" y="2398260"/>
                  <a:ext cx="5940335"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sp>
              <p:nvSpPr>
                <p:cNvPr id="93" name="TextBox 92">
                  <a:extLst>
                    <a:ext uri="{FF2B5EF4-FFF2-40B4-BE49-F238E27FC236}">
                      <a16:creationId xmlns:a16="http://schemas.microsoft.com/office/drawing/2014/main" id="{4A3B6461-E166-4730-9415-3E4CEF6D73E5}"/>
                    </a:ext>
                  </a:extLst>
                </p:cNvPr>
                <p:cNvSpPr txBox="1"/>
                <p:nvPr/>
              </p:nvSpPr>
              <p:spPr>
                <a:xfrm>
                  <a:off x="6541250" y="2694246"/>
                  <a:ext cx="1581669" cy="80530"/>
                </a:xfrm>
                <a:prstGeom prst="rect">
                  <a:avLst/>
                </a:prstGeom>
                <a:solidFill>
                  <a:srgbClr val="002050"/>
                </a:solid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rgbClr val="FFFFFF"/>
                      </a:solidFill>
                      <a:effectLst/>
                      <a:uLnTx/>
                      <a:uFillTx/>
                      <a:latin typeface="Segoe UI"/>
                      <a:ea typeface="+mn-ea"/>
                      <a:cs typeface="+mn-cs"/>
                    </a:rPr>
                    <a:t>Power Virtual Agents</a:t>
                  </a:r>
                </a:p>
              </p:txBody>
            </p:sp>
          </p:grpSp>
          <p:sp>
            <p:nvSpPr>
              <p:cNvPr id="107" name="Freeform: Shape 106">
                <a:extLst>
                  <a:ext uri="{FF2B5EF4-FFF2-40B4-BE49-F238E27FC236}">
                    <a16:creationId xmlns:a16="http://schemas.microsoft.com/office/drawing/2014/main" id="{355F667E-5033-40F5-B486-4AD78734C0E4}"/>
                  </a:ext>
                </a:extLst>
              </p:cNvPr>
              <p:cNvSpPr/>
              <p:nvPr/>
            </p:nvSpPr>
            <p:spPr bwMode="auto">
              <a:xfrm>
                <a:off x="6371195" y="2398260"/>
                <a:ext cx="5940335"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5" name="Picture">
                <a:extLst>
                  <a:ext uri="{FF2B5EF4-FFF2-40B4-BE49-F238E27FC236}">
                    <a16:creationId xmlns:a16="http://schemas.microsoft.com/office/drawing/2014/main" id="{B10B1215-FB82-4500-A504-E7CC67E673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55280" y="3380264"/>
                <a:ext cx="4354709" cy="2414631"/>
              </a:xfrm>
              <a:prstGeom prst="rect">
                <a:avLst/>
              </a:prstGeom>
              <a:ln w="3175">
                <a:solidFill>
                  <a:schemeClr val="bg1">
                    <a:lumMod val="75000"/>
                  </a:schemeClr>
                </a:solidFill>
              </a:ln>
            </p:spPr>
          </p:pic>
        </p:grpSp>
      </p:grpSp>
    </p:spTree>
    <p:extLst>
      <p:ext uri="{BB962C8B-B14F-4D97-AF65-F5344CB8AC3E}">
        <p14:creationId xmlns:p14="http://schemas.microsoft.com/office/powerpoint/2010/main" val="4226857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42" presetClass="path" presetSubtype="0" decel="100000" fill="hold" nodeType="withEffect">
                                  <p:stCondLst>
                                    <p:cond delay="0"/>
                                  </p:stCondLst>
                                  <p:childTnLst>
                                    <p:animMotion origin="layout" path="M 1.875E-6 4.81481E-6 L -0.03451 -0.00093 " pathEditMode="relative" rAng="0" ptsTypes="AA">
                                      <p:cBhvr>
                                        <p:cTn id="17" dur="700" spd="-100000" fill="hold"/>
                                        <p:tgtEl>
                                          <p:spTgt spid="2"/>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Slot-filling capabilities</a:t>
            </a:r>
          </a:p>
        </p:txBody>
      </p:sp>
      <p:sp>
        <p:nvSpPr>
          <p:cNvPr id="27" name="Freeform: Shape 26">
            <a:extLst>
              <a:ext uri="{FF2B5EF4-FFF2-40B4-BE49-F238E27FC236}">
                <a16:creationId xmlns:a16="http://schemas.microsoft.com/office/drawing/2014/main" id="{5BB9C03A-4F8C-466E-8E4D-4750C1823DD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3343740F-4D34-4FC8-B923-4549D616B56E}"/>
              </a:ext>
            </a:extLst>
          </p:cNvPr>
          <p:cNvGrpSpPr/>
          <p:nvPr/>
        </p:nvGrpSpPr>
        <p:grpSpPr>
          <a:xfrm>
            <a:off x="524088" y="2130248"/>
            <a:ext cx="6543013" cy="4323487"/>
            <a:chOff x="524088" y="2130248"/>
            <a:chExt cx="6543013" cy="4323487"/>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Enhances your efficiency as</a:t>
              </a:r>
              <a:br>
                <a:rPr lang="en-US" spc="0">
                  <a:solidFill>
                    <a:schemeClr val="bg1"/>
                  </a:solidFill>
                </a:rPr>
              </a:br>
              <a:r>
                <a:rPr lang="en-US" spc="0">
                  <a:solidFill>
                    <a:schemeClr val="bg1"/>
                  </a:solidFill>
                </a:rPr>
                <a:t>a maker</a:t>
              </a:r>
            </a:p>
          </p:txBody>
        </p:sp>
        <p:cxnSp>
          <p:nvCxnSpPr>
            <p:cNvPr id="29" name="Straight Connector 28">
              <a:extLst>
                <a:ext uri="{FF2B5EF4-FFF2-40B4-BE49-F238E27FC236}">
                  <a16:creationId xmlns:a16="http://schemas.microsoft.com/office/drawing/2014/main" id="{8C61F60F-3720-49DC-AA2A-4E5B6C76CEED}"/>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Power Virtual Agents can intelligently avoid repetitive conversations</a:t>
              </a:r>
            </a:p>
          </p:txBody>
        </p:sp>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Power Virtual Agents can guide you to making the best experience</a:t>
              </a:r>
            </a:p>
          </p:txBody>
        </p:sp>
        <p:cxnSp>
          <p:nvCxnSpPr>
            <p:cNvPr id="37" name="Straight Connector 36">
              <a:extLst>
                <a:ext uri="{FF2B5EF4-FFF2-40B4-BE49-F238E27FC236}">
                  <a16:creationId xmlns:a16="http://schemas.microsoft.com/office/drawing/2014/main" id="{8304431C-CD18-4BE1-BED6-A3AD36E91606}"/>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682B4D2A-5CF3-45E8-9D54-7265076EC734}"/>
              </a:ext>
            </a:extLst>
          </p:cNvPr>
          <p:cNvGrpSpPr/>
          <p:nvPr/>
        </p:nvGrpSpPr>
        <p:grpSpPr>
          <a:xfrm>
            <a:off x="6345757" y="2205361"/>
            <a:ext cx="5757343" cy="3526776"/>
            <a:chOff x="6193357" y="2205361"/>
            <a:chExt cx="6345836" cy="3887269"/>
          </a:xfrm>
        </p:grpSpPr>
        <p:sp>
          <p:nvSpPr>
            <p:cNvPr id="30" name="Freeform: Shape 29">
              <a:extLst>
                <a:ext uri="{FF2B5EF4-FFF2-40B4-BE49-F238E27FC236}">
                  <a16:creationId xmlns:a16="http://schemas.microsoft.com/office/drawing/2014/main" id="{0A1ED8BC-7280-4B82-91D9-9BDF3E550F02}"/>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4" name="Picture 43" descr="A screenshot of a social media post&#10;&#10;Description automatically generated">
              <a:extLst>
                <a:ext uri="{FF2B5EF4-FFF2-40B4-BE49-F238E27FC236}">
                  <a16:creationId xmlns:a16="http://schemas.microsoft.com/office/drawing/2014/main" id="{FB7564E3-5FD5-4795-B318-BBF9B06E56AD}"/>
                </a:ext>
              </a:extLst>
            </p:cNvPr>
            <p:cNvPicPr>
              <a:picLocks noChangeAspect="1"/>
            </p:cNvPicPr>
            <p:nvPr/>
          </p:nvPicPr>
          <p:blipFill rotWithShape="1">
            <a:blip r:embed="rId3"/>
            <a:srcRect l="2" t="2" r="5996" b="1076"/>
            <a:stretch/>
          </p:blipFill>
          <p:spPr>
            <a:xfrm>
              <a:off x="6371198" y="2382522"/>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30368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0-#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2.70833E-6 -1.48148E-6 L -0.03451 -0.00092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5E658-2A26-433B-9FA3-3E6751281898}"/>
              </a:ext>
            </a:extLst>
          </p:cNvPr>
          <p:cNvSpPr>
            <a:spLocks noGrp="1"/>
          </p:cNvSpPr>
          <p:nvPr>
            <p:ph type="title"/>
          </p:nvPr>
        </p:nvSpPr>
        <p:spPr/>
        <p:txBody>
          <a:bodyPr/>
          <a:lstStyle/>
          <a:p>
            <a:r>
              <a:rPr lang="en-US"/>
              <a:t>Easily re-direct users to related topics</a:t>
            </a:r>
          </a:p>
        </p:txBody>
      </p:sp>
      <p:sp>
        <p:nvSpPr>
          <p:cNvPr id="16" name="Freeform: Shape 15">
            <a:extLst>
              <a:ext uri="{FF2B5EF4-FFF2-40B4-BE49-F238E27FC236}">
                <a16:creationId xmlns:a16="http://schemas.microsoft.com/office/drawing/2014/main" id="{7188072E-EA34-4426-A584-DB5D02BBA81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3B3C22A0-FE98-48F2-B0A4-1695D8ACC67C}"/>
              </a:ext>
            </a:extLst>
          </p:cNvPr>
          <p:cNvGrpSpPr/>
          <p:nvPr/>
        </p:nvGrpSpPr>
        <p:grpSpPr>
          <a:xfrm>
            <a:off x="621300" y="2600116"/>
            <a:ext cx="5260799" cy="677108"/>
            <a:chOff x="621300" y="1380916"/>
            <a:chExt cx="5260799" cy="677108"/>
          </a:xfrm>
        </p:grpSpPr>
        <p:sp>
          <p:nvSpPr>
            <p:cNvPr id="17" name="Text Placeholder 1">
              <a:extLst>
                <a:ext uri="{FF2B5EF4-FFF2-40B4-BE49-F238E27FC236}">
                  <a16:creationId xmlns:a16="http://schemas.microsoft.com/office/drawing/2014/main" id="{6B5F52FE-C7AC-43BA-BC6B-AF8F7F811F8E}"/>
                </a:ext>
              </a:extLst>
            </p:cNvPr>
            <p:cNvSpPr txBox="1">
              <a:spLocks/>
            </p:cNvSpPr>
            <p:nvPr/>
          </p:nvSpPr>
          <p:spPr>
            <a:xfrm>
              <a:off x="1341214" y="1380916"/>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Re-direct and connect customers to related topics</a:t>
              </a:r>
            </a:p>
          </p:txBody>
        </p:sp>
        <p:sp>
          <p:nvSpPr>
            <p:cNvPr id="33" name="manager" title="Icon of three people with lines connecting them">
              <a:extLst>
                <a:ext uri="{FF2B5EF4-FFF2-40B4-BE49-F238E27FC236}">
                  <a16:creationId xmlns:a16="http://schemas.microsoft.com/office/drawing/2014/main" id="{32CEB7D3-E4AF-471A-A434-3CDD52CC8D8B}"/>
                </a:ext>
              </a:extLst>
            </p:cNvPr>
            <p:cNvSpPr>
              <a:spLocks noChangeAspect="1" noEditPoints="1"/>
            </p:cNvSpPr>
            <p:nvPr/>
          </p:nvSpPr>
          <p:spPr bwMode="auto">
            <a:xfrm>
              <a:off x="621300" y="1490025"/>
              <a:ext cx="512512" cy="51657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BC911226-97B1-4B74-B387-955C02439B66}"/>
              </a:ext>
            </a:extLst>
          </p:cNvPr>
          <p:cNvGrpSpPr/>
          <p:nvPr/>
        </p:nvGrpSpPr>
        <p:grpSpPr>
          <a:xfrm>
            <a:off x="6345757" y="2205361"/>
            <a:ext cx="5757343" cy="3526776"/>
            <a:chOff x="6193357" y="2205361"/>
            <a:chExt cx="6345836" cy="3887269"/>
          </a:xfrm>
        </p:grpSpPr>
        <p:sp>
          <p:nvSpPr>
            <p:cNvPr id="18" name="Freeform: Shape 17">
              <a:extLst>
                <a:ext uri="{FF2B5EF4-FFF2-40B4-BE49-F238E27FC236}">
                  <a16:creationId xmlns:a16="http://schemas.microsoft.com/office/drawing/2014/main" id="{E77B21D8-08DF-4902-8680-43A280D3AFAD}"/>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35" name="Group 34">
              <a:extLst>
                <a:ext uri="{FF2B5EF4-FFF2-40B4-BE49-F238E27FC236}">
                  <a16:creationId xmlns:a16="http://schemas.microsoft.com/office/drawing/2014/main" id="{C7440AFD-286A-4308-B4BC-FD741C9E9EAC}"/>
                </a:ext>
              </a:extLst>
            </p:cNvPr>
            <p:cNvGrpSpPr/>
            <p:nvPr/>
          </p:nvGrpSpPr>
          <p:grpSpPr>
            <a:xfrm>
              <a:off x="6396106" y="2385542"/>
              <a:ext cx="5940335" cy="3517213"/>
              <a:chOff x="6396106" y="2385542"/>
              <a:chExt cx="5940335" cy="3517213"/>
            </a:xfrm>
          </p:grpSpPr>
          <p:sp>
            <p:nvSpPr>
              <p:cNvPr id="39" name="TextBox 38">
                <a:extLst>
                  <a:ext uri="{FF2B5EF4-FFF2-40B4-BE49-F238E27FC236}">
                    <a16:creationId xmlns:a16="http://schemas.microsoft.com/office/drawing/2014/main" id="{EB2C1758-4C8C-4A87-A0B4-94D755A42CAA}"/>
                  </a:ext>
                </a:extLst>
              </p:cNvPr>
              <p:cNvSpPr txBox="1"/>
              <p:nvPr/>
            </p:nvSpPr>
            <p:spPr>
              <a:xfrm>
                <a:off x="6541250" y="2679836"/>
                <a:ext cx="1581669" cy="80892"/>
              </a:xfrm>
              <a:prstGeom prst="rect">
                <a:avLst/>
              </a:prstGeom>
              <a:solidFill>
                <a:srgbClr val="002050"/>
              </a:solidFill>
            </p:spPr>
            <p:txBody>
              <a:bodyPr wrap="square" lIns="0" tIns="0" rIns="0" bIns="0" rtlCol="0" anchor="ctr">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chemeClr val="bg1"/>
                    </a:solidFill>
                    <a:effectLst/>
                    <a:uLnTx/>
                    <a:uFillTx/>
                    <a:latin typeface="Segoe UI"/>
                    <a:ea typeface="+mn-ea"/>
                    <a:cs typeface="+mn-cs"/>
                  </a:rPr>
                  <a:t>Power Virtual Agents</a:t>
                </a:r>
              </a:p>
            </p:txBody>
          </p:sp>
          <p:sp>
            <p:nvSpPr>
              <p:cNvPr id="37" name="Freeform: Shape 36">
                <a:extLst>
                  <a:ext uri="{FF2B5EF4-FFF2-40B4-BE49-F238E27FC236}">
                    <a16:creationId xmlns:a16="http://schemas.microsoft.com/office/drawing/2014/main" id="{8A015674-8BE6-41C1-974F-030D15DBC2D4}"/>
                  </a:ext>
                </a:extLst>
              </p:cNvPr>
              <p:cNvSpPr/>
              <p:nvPr/>
            </p:nvSpPr>
            <p:spPr bwMode="auto">
              <a:xfrm>
                <a:off x="6396106" y="2385542"/>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Isosceles Triangle 30">
              <a:extLst>
                <a:ext uri="{FF2B5EF4-FFF2-40B4-BE49-F238E27FC236}">
                  <a16:creationId xmlns:a16="http://schemas.microsoft.com/office/drawing/2014/main" id="{9B28F3BD-C5D1-4E80-8C55-F5E4E712E300}"/>
                </a:ext>
              </a:extLst>
            </p:cNvPr>
            <p:cNvSpPr/>
            <p:nvPr/>
          </p:nvSpPr>
          <p:spPr bwMode="auto">
            <a:xfrm rot="16200000">
              <a:off x="9176397" y="4756774"/>
              <a:ext cx="1817256" cy="258987"/>
            </a:xfrm>
            <a:prstGeom prst="triangle">
              <a:avLst>
                <a:gd name="adj" fmla="val 33626"/>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9" name="Rectangle 18">
            <a:extLst>
              <a:ext uri="{FF2B5EF4-FFF2-40B4-BE49-F238E27FC236}">
                <a16:creationId xmlns:a16="http://schemas.microsoft.com/office/drawing/2014/main" id="{2400197B-E0C8-4FEB-96F6-AC2203551242}"/>
              </a:ext>
            </a:extLst>
          </p:cNvPr>
          <p:cNvSpPr/>
          <p:nvPr/>
        </p:nvSpPr>
        <p:spPr>
          <a:xfrm>
            <a:off x="649247" y="3604344"/>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22181">
              <a:lnSpc>
                <a:spcPct val="90000"/>
              </a:lnSpc>
              <a:spcBef>
                <a:spcPct val="0"/>
              </a:spcBef>
              <a:spcAft>
                <a:spcPct val="35000"/>
              </a:spcAft>
            </a:pPr>
            <a:r>
              <a:rPr lang="en-US" sz="1400">
                <a:solidFill>
                  <a:schemeClr val="bg1"/>
                </a:solidFill>
                <a:latin typeface="Segoe UI Semibold"/>
              </a:rPr>
              <a:t>Use it when:</a:t>
            </a:r>
          </a:p>
        </p:txBody>
      </p:sp>
      <p:sp>
        <p:nvSpPr>
          <p:cNvPr id="20" name="Rectangle 19">
            <a:extLst>
              <a:ext uri="{FF2B5EF4-FFF2-40B4-BE49-F238E27FC236}">
                <a16:creationId xmlns:a16="http://schemas.microsoft.com/office/drawing/2014/main" id="{CD98BA6E-0543-4CB1-A308-ED813DAE84FC}"/>
              </a:ext>
            </a:extLst>
          </p:cNvPr>
          <p:cNvSpPr/>
          <p:nvPr/>
        </p:nvSpPr>
        <p:spPr>
          <a:xfrm>
            <a:off x="649247" y="4014491"/>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22181">
              <a:lnSpc>
                <a:spcPct val="90000"/>
              </a:lnSpc>
              <a:spcBef>
                <a:spcPct val="0"/>
              </a:spcBef>
              <a:spcAft>
                <a:spcPct val="35000"/>
              </a:spcAft>
            </a:pPr>
            <a:r>
              <a:rPr lang="en-US" sz="1400">
                <a:solidFill>
                  <a:schemeClr val="bg1"/>
                </a:solidFill>
                <a:latin typeface="Segoe UI"/>
              </a:rPr>
              <a:t>A conversation requires more than one topic, such as when you need to ask a clarifying question to determine which topic the user needs</a:t>
            </a:r>
          </a:p>
        </p:txBody>
      </p:sp>
      <p:pic>
        <p:nvPicPr>
          <p:cNvPr id="21" name="Picture 20">
            <a:extLst>
              <a:ext uri="{FF2B5EF4-FFF2-40B4-BE49-F238E27FC236}">
                <a16:creationId xmlns:a16="http://schemas.microsoft.com/office/drawing/2014/main" id="{6678BE85-FCBD-4C97-B2F6-38398385E873}"/>
              </a:ext>
            </a:extLst>
          </p:cNvPr>
          <p:cNvPicPr>
            <a:picLocks noChangeAspect="1"/>
          </p:cNvPicPr>
          <p:nvPr/>
        </p:nvPicPr>
        <p:blipFill>
          <a:blip r:embed="rId3"/>
          <a:stretch>
            <a:fillRect/>
          </a:stretch>
        </p:blipFill>
        <p:spPr>
          <a:xfrm>
            <a:off x="8051994" y="2600116"/>
            <a:ext cx="3884029" cy="2959754"/>
          </a:xfrm>
          <a:prstGeom prst="rect">
            <a:avLst/>
          </a:prstGeom>
        </p:spPr>
      </p:pic>
    </p:spTree>
    <p:extLst>
      <p:ext uri="{BB962C8B-B14F-4D97-AF65-F5344CB8AC3E}">
        <p14:creationId xmlns:p14="http://schemas.microsoft.com/office/powerpoint/2010/main" val="1873493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0-#ppt_w/2"/>
                                          </p:val>
                                        </p:tav>
                                        <p:tav tm="100000">
                                          <p:val>
                                            <p:strVal val="#ppt_x"/>
                                          </p:val>
                                        </p:tav>
                                      </p:tavLst>
                                    </p:anim>
                                    <p:anim calcmode="lin" valueType="num">
                                      <p:cBhvr additive="base">
                                        <p:cTn id="12" dur="500" fill="hold"/>
                                        <p:tgtEl>
                                          <p:spTgt spid="1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path" presetSubtype="0" decel="100000" fill="hold" nodeType="withEffect">
                                  <p:stCondLst>
                                    <p:cond delay="0"/>
                                  </p:stCondLst>
                                  <p:childTnLst>
                                    <p:animMotion origin="layout" path="M 1.875E-6 3.33333E-6 L -0.03451 -0.00093 " pathEditMode="relative" rAng="0" ptsTypes="AA">
                                      <p:cBhvr>
                                        <p:cTn id="17"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a:xfrm>
            <a:off x="455993" y="941692"/>
            <a:ext cx="11072391" cy="3558191"/>
          </a:xfrm>
        </p:spPr>
        <p:txBody>
          <a:bodyPr/>
          <a:lstStyle/>
          <a:p>
            <a:pPr fontAlgn="base"/>
            <a:br>
              <a:rPr lang="en-US" altLang="zh-CN" sz="3200" dirty="0">
                <a:cs typeface="Segoe UI"/>
              </a:rPr>
            </a:br>
            <a:br>
              <a:rPr lang="en-US" altLang="zh-CN" sz="3200" dirty="0">
                <a:cs typeface="Segoe UI"/>
              </a:rPr>
            </a:br>
            <a:br>
              <a:rPr lang="en-US" altLang="zh-CN" sz="3200" dirty="0">
                <a:cs typeface="Segoe UI"/>
              </a:rPr>
            </a:br>
            <a:br>
              <a:rPr lang="en-US" altLang="zh-CN" sz="3200" dirty="0">
                <a:cs typeface="Segoe UI"/>
              </a:rPr>
            </a:br>
            <a:br>
              <a:rPr lang="en-US" altLang="zh-CN" sz="3200" dirty="0">
                <a:cs typeface="Segoe UI"/>
              </a:rPr>
            </a:br>
            <a:br>
              <a:rPr lang="en-US" altLang="zh-CN" sz="3200" dirty="0">
                <a:cs typeface="Segoe UI"/>
              </a:rPr>
            </a:br>
            <a:br>
              <a:rPr lang="en-US" altLang="zh-CN" sz="3200" dirty="0">
                <a:cs typeface="Segoe UI"/>
              </a:rPr>
            </a:br>
            <a:r>
              <a:rPr lang="en-US" altLang="zh-CN" sz="3200" dirty="0">
                <a:cs typeface="Segoe UI"/>
              </a:rPr>
              <a:t>Lab 04: Use variables, topic redirections and entities</a:t>
            </a:r>
            <a:br>
              <a:rPr lang="en-US" sz="3200" dirty="0">
                <a:cs typeface="Segoe UI"/>
              </a:rPr>
            </a:br>
            <a:br>
              <a:rPr lang="en-US" sz="2800" dirty="0"/>
            </a:br>
            <a:br>
              <a:rPr lang="en-US" sz="2800" dirty="0"/>
            </a:br>
            <a:br>
              <a:rPr lang="en-US" sz="2800" dirty="0"/>
            </a:br>
            <a:endParaRPr lang="en-US" sz="2800" dirty="0">
              <a:cs typeface="Segoe UI"/>
            </a:endParaRPr>
          </a:p>
        </p:txBody>
      </p:sp>
    </p:spTree>
    <p:extLst>
      <p:ext uri="{BB962C8B-B14F-4D97-AF65-F5344CB8AC3E}">
        <p14:creationId xmlns:p14="http://schemas.microsoft.com/office/powerpoint/2010/main" val="417741768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t>Power Virtual Agents + Power Automate</a:t>
            </a:r>
          </a:p>
        </p:txBody>
      </p:sp>
      <p:grpSp>
        <p:nvGrpSpPr>
          <p:cNvPr id="3" name="Group 2">
            <a:extLst>
              <a:ext uri="{FF2B5EF4-FFF2-40B4-BE49-F238E27FC236}">
                <a16:creationId xmlns:a16="http://schemas.microsoft.com/office/drawing/2014/main" id="{6C799B66-259A-4A26-9BB4-C0BE71581CE3}"/>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AA3B2BF5-F191-45EA-867B-A854DD3E3D5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171E39-29DE-4BB5-B8EE-2CDFFDB02D0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273F87E2-CB3C-4C73-B460-17E4822FB30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AF64196A-3D12-4AB7-A79D-69EC00DDAA3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B6E9D4D5-1D29-4368-949B-0231BBA5BDC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BE7EEE2-022F-47F0-9FD2-ACCD5E1AA6F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37174A4E-E116-4500-B3CE-D4575B85939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41A8A96B-4289-4DE1-973C-A15E2F98219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504CCB0-C2D9-4A77-8A41-E09F56307C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7DFC5C20-4A5D-4C5B-8AD6-60A8765A2C7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058BAA7-9F1B-4B9A-8751-888FE7BF632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7974E550-7DB5-4C68-94B7-FB40ACE5C36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C17BD065-89F5-4FC1-9704-C4045C98101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FDCDA-2A89-40A5-8F2D-C71DEE62D0D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83C20A81-DE75-4083-8721-AEA2FE90344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E54928D-27F8-4C82-BFA9-E4F424B41D3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FA3A5A3-D469-4E4E-B849-7DD88E21CAC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1B75733C-DCBE-4B54-BAE0-9172D14918F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7D0D2C34-E23F-4DFF-ACDE-8517CF328E8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98F36DFC-37AA-4CB8-A52E-2B24518AB7A7}"/>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D412ECC-5FF4-4DD7-A015-E7312EE3A0F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75014DD5-060B-4C06-8E91-4B8E33B262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A2209A56-0ADD-470B-95E0-7EE11689C8BE}"/>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01671409-4EC2-426F-8FD8-47C26528EAE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4C8AEDC-0D86-4DA3-955E-73A26CC1AB1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AF472B0C-40E7-40A4-86A2-76BF9E38FD85}"/>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F9F030CF-CE99-4745-84D5-B10632754711}"/>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78411C58-271E-4F7F-A7A4-4974E08066A6}"/>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662B47B-33CB-4A4B-A50E-AFCE899938B0}"/>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358D24C-75D8-4791-BFC5-D4996ECEAA10}"/>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49D2D6F7-F8A5-4FE9-B284-C3B47809731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5B420D2E-AC5B-4D5E-8040-FF150FE6936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F2CDC900-0A30-4994-B685-3B075307A38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1F7A834-6473-482F-A03F-18679B410F4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2E8305CB-CC6D-4671-933A-3855FD91FEC6}"/>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52E5E21B-602E-4F7F-BAE8-2B1D29D8FBD7}"/>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18DC6408-73C7-4AD7-A676-C53B34E694EF}"/>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30C785B-C679-49CC-B874-60D98F7088D8}"/>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7A5F180-BAB3-4327-81DD-AF5851CD9E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B33F12B-A9AB-4F55-84F3-AF2E7AC34D6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FEAB78FC-A148-490D-ABEE-0E0BDE1B47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3616D03F-8D90-4E23-9299-14FA93EB61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5C167EA8-0D7A-464A-A39F-07DF5B43515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0D1365A8-8CCE-49BC-A605-43BDE6814E6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96B7664-BC2E-49BF-9B5B-A12A24CC3CA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17C85D47-D781-4E41-AA0E-FCA6AD529F4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7564CE9D-8FA3-40AE-A643-ACE385D34D9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3C860405-7379-4EED-B01C-1DABD8EADF2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6B0C7C12-BDFD-47C5-AFAF-9D44F130CF7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515A5-FEC8-4CF3-BAEE-07ACE2FE009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8CC8F75-EB42-4684-AE51-AC157A96FB7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FE2CA91-1D77-416B-9818-6ADAD5EE271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E7B3AFD9-BF68-4FB8-84D8-4CF9495BEB1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7E79D02-71EE-4EB7-84A3-DEA57510972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0F6359A1-0477-4551-9931-361D0E9D06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F35FDAD6-9503-42A8-9A99-6B490D69919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EFC42236-37C7-45BE-AEF1-7F3F8A121D7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4877D7E3-CF8F-4788-B5A7-18A9AF1DB19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BBA6519-6F59-42E1-AE0E-62B6EF0AE3A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AB78EEC7-5097-4070-B0F2-D91D71B630F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5FEBA18-5113-4C08-9E4E-4A7E907307A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993281AC-30D4-41CA-83EF-CCB8F66FF9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47495036-9667-4E2A-ACDD-20B99AC1BD3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666D97E0-C3B4-40AD-BD89-7171D59F06C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EFD9FE1-1120-4587-A30D-1E33BFAD2975}"/>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72D9CCE-02A3-4C65-9261-145E65F608E1}"/>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1BB0394-BA0D-4CF5-9C55-84F18E9035ED}"/>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D3B6A00D-FCF8-4E5B-AA41-220C019D08D5}"/>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234282F-EFE4-4440-8BE3-8714C40A92EE}"/>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B96A5A3-C626-46B1-B751-19D3AFA298E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9C981EC-96FA-4FF6-98A1-40C177A5A65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5F59AF3-9478-47BF-AD45-3EC1DED1A522}"/>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7FED95A-CF62-4ABC-BCCC-EE550DF07E5B}"/>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FBA20CB-ED98-4889-96D2-2C0E62CCC78C}"/>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85A812F8-1A26-4A5B-A50A-E4BB596130F1}"/>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5BE577A1-685F-44CA-9F7D-9A51B836F61A}"/>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517ECCAA-BF5E-4884-A4D2-C77CE99DA46F}"/>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0AA4F2FC-711E-4DCF-9857-D4C90E999941}"/>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DBF7284E-150E-4449-82BB-41DFB8FC530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3675EFB8-F34D-46C7-885D-D50BDE13542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5E430222-3F76-4C3D-A48D-EE40726418F4}"/>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9A747E0B-9E14-43FB-81CD-0864EC2CDE83}"/>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F2A1EB41-1726-44C2-AB0A-B2432F9D15DC}"/>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5FC5E57C-E6BF-4EDF-AB8A-60E5FC3B0CE4}"/>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29943C3B-9926-431F-A82F-7375F62FBDFF}"/>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1F31409F-2458-40ED-9ED5-BA8FE09BE882}"/>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F2666A5-901D-4581-830E-64865C4F7ABF}"/>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A3820B5F-5581-4F11-8FDF-89ADF8A1FA81}"/>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C5AA2E7A-6253-4278-81A2-5759EE869F70}"/>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1A266B22-0008-468F-90CD-A33315284BE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F5A6659E-EE5F-483D-89A9-173005795F3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27D084DA-4AFA-4221-868C-27A2282F7F54}"/>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63EBAF7-0649-47C0-850B-3CDACEC10992}"/>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D87D3D9-3EBC-41B4-8945-CB9710190FC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0C17BA7D-4BA9-4E37-8A2B-09A5A72F26CB}"/>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015D2845-DAA2-4F4A-9805-06858DD52356}"/>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27E97A8F-C743-4DBC-B203-46F661AD7B38}"/>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4E9C9312-8DEA-468C-8144-4D5029EF0668}"/>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F698822-B074-49AA-8490-8DDB0C5373E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4524CBE5-8D0B-46BC-B4B4-1C6FC9CA1D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23E98B0-FD72-4B50-BC8F-D7ABDD9A7E0E}"/>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83D0953E-2D8A-4E91-909B-1F4558BB750B}"/>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DDE6B434-FA64-4731-B74D-A079404EFB05}"/>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3CA8B5E-7D14-4D63-858B-EE4E159F837F}"/>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15B83499-BE05-440D-9B7A-944A2B081ABB}"/>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D155A3B-871B-4A1B-B8C6-1E4A5452E978}"/>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4EA25B35-5C57-428B-A48C-2D2A479A0D72}"/>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F9C6BD79-709B-4017-8A00-B90CFEE6B034}"/>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1830F25A-8036-412C-80AD-26F62C32DA4E}"/>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CC3073D5-850E-4C81-8C52-CF879BB627C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3918B9B-4E41-4478-BF1D-5A8538B20D9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8D50E2B6-BE20-43DD-AEDB-92D3B6BFF26A}"/>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C87F0C5D-74C2-4138-918C-AEC9F5B7BD2A}"/>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0BBC39FB-DF94-46CD-A3D2-00DF620CC75B}"/>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80D28091-30EE-4737-B131-475C3F6CA667}"/>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03A76A68-29A6-422A-B533-48B32A844ED4}"/>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168026D3-3734-4F4D-A98C-581E0CB955E6}"/>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9EDF35B7-80AC-4ABA-B366-71CA5DD3A143}"/>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DBDB2FEE-B10A-4C35-9907-3132E6AD4E84}"/>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585B871C-D3AA-4494-BC5D-530B6948FB23}"/>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59951493-5CDC-4254-A19D-ECE012B6F102}"/>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7ABA3DF8-A681-46C3-86B2-D9025416367E}"/>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CC9F9D7B-9E81-42B8-819D-5E371B555513}"/>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900F2CB7-1C82-4CE8-8761-7E162149E131}"/>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A91E9EDC-0F2F-4C72-840C-DF5CE49E6A23}"/>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914F4B86-174B-49A9-A924-F9881409B586}"/>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0A1A0D01-6206-41DE-9D38-D8FAFEE6AFBA}"/>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AB744E5-47DA-4260-A9D8-B20B06973A5C}"/>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B949FF0E-E33C-46C9-A985-19B3666A4176}"/>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C42043B-707D-42F1-A5B8-C410BD9BCB45}"/>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EF489A62-ED39-46BD-933B-A2A70382643E}"/>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4E9564A-F362-4F42-8C2F-137F4635CBCE}"/>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3007959F-07BF-4FF3-9DBF-31D791675390}"/>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A049B68-E66C-46BC-9E8B-B62D8AE778A5}"/>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336CC668-ABE9-4D0A-8DD8-CF9197193A7B}"/>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419E6EF8-B3FE-4031-8087-F0323BD0A8F4}"/>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447555B-492E-40EE-84F9-B7192C5F45AF}"/>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B0240441-E0BD-49BC-A27B-05898F0008A0}"/>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42C4E48-7DD4-4456-9453-70EC28EE617C}"/>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D20E1A61-7F13-4EA7-AEEB-4CA20E9B8802}"/>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DF61E04C-7FB4-45E2-A736-1D16A4449E34}"/>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89A2A17C-BB71-48E8-B20B-E353FE7758B3}"/>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CE4F4A9A-882D-425A-8F95-D2DA15DF2ECD}"/>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476C8690-2B73-458A-A64A-736B9A85DF41}"/>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15B03319-A995-40A8-8C3B-686D28126B2D}"/>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4443F356-A235-4B98-9B55-856DC5508FAE}"/>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A63DF3F3-01E5-4D0D-8151-CF0F4C9AA456}"/>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6982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771094657"/>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4</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Improve your virtual agent using entities, variables and topic redirects</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b="1">
                          <a:solidFill>
                            <a:schemeClr val="bg1"/>
                          </a:solidFill>
                        </a:rPr>
                        <a:t>5</a:t>
                      </a: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rPr>
                        <a:t>Integrate with prebuilt Power Automate flows</a:t>
                      </a:r>
                    </a:p>
                  </a:txBody>
                  <a:tcPr marL="18180" marR="10908" marT="10908" marB="10908" anchor="ctr">
                    <a:solidFill>
                      <a:srgbClr val="0B556A"/>
                    </a:solidFill>
                  </a:tcPr>
                </a:tc>
                <a:tc>
                  <a:txBody>
                    <a:bodyPr/>
                    <a:lstStyle/>
                    <a:p>
                      <a:r>
                        <a:rPr lang="en-US" sz="1100" b="1">
                          <a:solidFill>
                            <a:schemeClr val="bg1"/>
                          </a:solidFill>
                        </a:rPr>
                        <a:t>45 minutes</a:t>
                      </a:r>
                    </a:p>
                  </a:txBody>
                  <a:tcPr marL="18180" marR="10908" marT="10908" marB="10908" anchor="ctr">
                    <a:solidFill>
                      <a:srgbClr val="0B556A"/>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 </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 </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7218658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3B83EE51-C890-42A9-B416-7A08CD01D91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72612" y="2824766"/>
            <a:ext cx="4962188" cy="3715734"/>
          </a:xfrm>
          <a:prstGeom prst="rect">
            <a:avLst/>
          </a:prstGeom>
        </p:spPr>
      </p:pic>
      <p:pic>
        <p:nvPicPr>
          <p:cNvPr id="49" name="Picture 48">
            <a:extLst>
              <a:ext uri="{FF2B5EF4-FFF2-40B4-BE49-F238E27FC236}">
                <a16:creationId xmlns:a16="http://schemas.microsoft.com/office/drawing/2014/main" id="{387BA50B-B9BD-4BE9-8946-F28F8F63BCEF}"/>
              </a:ext>
            </a:extLst>
          </p:cNvPr>
          <p:cNvPicPr>
            <a:picLocks noChangeAspect="1"/>
          </p:cNvPicPr>
          <p:nvPr/>
        </p:nvPicPr>
        <p:blipFill rotWithShape="1">
          <a:blip r:embed="rId4">
            <a:extLst>
              <a:ext uri="{28A0092B-C50C-407E-A947-70E740481C1C}">
                <a14:useLocalDpi xmlns:a14="http://schemas.microsoft.com/office/drawing/2010/main"/>
              </a:ext>
            </a:extLst>
          </a:blip>
          <a:srcRect l="52155" t="52152" r="4696" b="133"/>
          <a:stretch/>
        </p:blipFill>
        <p:spPr>
          <a:xfrm>
            <a:off x="2425700" y="4990220"/>
            <a:ext cx="5186409" cy="1550280"/>
          </a:xfrm>
          <a:prstGeom prst="round2SameRect">
            <a:avLst>
              <a:gd name="adj1" fmla="val 7724"/>
              <a:gd name="adj2" fmla="val 0"/>
            </a:avLst>
          </a:prstGeom>
        </p:spPr>
      </p:pic>
      <p:sp>
        <p:nvSpPr>
          <p:cNvPr id="2" name="Title 1">
            <a:extLst>
              <a:ext uri="{FF2B5EF4-FFF2-40B4-BE49-F238E27FC236}">
                <a16:creationId xmlns:a16="http://schemas.microsoft.com/office/drawing/2014/main" id="{2CE45B70-29E0-4E32-80F1-11E7DD79F78E}"/>
              </a:ext>
            </a:extLst>
          </p:cNvPr>
          <p:cNvSpPr>
            <a:spLocks noGrp="1"/>
          </p:cNvSpPr>
          <p:nvPr>
            <p:ph type="title" idx="4294967295"/>
          </p:nvPr>
        </p:nvSpPr>
        <p:spPr>
          <a:xfrm>
            <a:off x="1078264" y="1679376"/>
            <a:ext cx="4702174" cy="1988085"/>
          </a:xfrm>
        </p:spPr>
        <p:txBody>
          <a:bodyPr tIns="0" rIns="0" bIns="0"/>
          <a:lstStyle/>
          <a:p>
            <a:pPr>
              <a:lnSpc>
                <a:spcPct val="100000"/>
              </a:lnSpc>
            </a:pPr>
            <a:r>
              <a:rPr lang="en-US" sz="3200" spc="0">
                <a:solidFill>
                  <a:schemeClr val="tx2"/>
                </a:solidFill>
              </a:rPr>
              <a:t>Power Automate </a:t>
            </a:r>
            <a:r>
              <a:rPr lang="en-US" sz="3200" spc="0">
                <a:latin typeface="+mn-lt"/>
              </a:rPr>
              <a:t>is an online workflow service that</a:t>
            </a:r>
            <a:r>
              <a:rPr lang="en-US" sz="3200" spc="0"/>
              <a:t> automates actions </a:t>
            </a:r>
            <a:r>
              <a:rPr lang="en-US" sz="3200" spc="0">
                <a:latin typeface="+mn-lt"/>
              </a:rPr>
              <a:t>across apps and services</a:t>
            </a:r>
            <a:endParaRPr lang="en-IN" sz="3200" spc="0">
              <a:latin typeface="+mn-lt"/>
            </a:endParaRPr>
          </a:p>
        </p:txBody>
      </p:sp>
      <p:grpSp>
        <p:nvGrpSpPr>
          <p:cNvPr id="8" name="Group 7">
            <a:extLst>
              <a:ext uri="{FF2B5EF4-FFF2-40B4-BE49-F238E27FC236}">
                <a16:creationId xmlns:a16="http://schemas.microsoft.com/office/drawing/2014/main" id="{7C71E319-FCB0-4A34-A8C4-500CF1C59E2B}"/>
              </a:ext>
            </a:extLst>
          </p:cNvPr>
          <p:cNvGrpSpPr/>
          <p:nvPr/>
        </p:nvGrpSpPr>
        <p:grpSpPr>
          <a:xfrm>
            <a:off x="457200" y="449263"/>
            <a:ext cx="11277600" cy="6091238"/>
            <a:chOff x="457200" y="449263"/>
            <a:chExt cx="11277600" cy="6091238"/>
          </a:xfrm>
        </p:grpSpPr>
        <p:sp>
          <p:nvSpPr>
            <p:cNvPr id="9" name="Rectangle 8">
              <a:extLst>
                <a:ext uri="{FF2B5EF4-FFF2-40B4-BE49-F238E27FC236}">
                  <a16:creationId xmlns:a16="http://schemas.microsoft.com/office/drawing/2014/main" id="{70B1FA7F-4CC5-4751-AB12-B971175B2871}"/>
                </a:ext>
              </a:extLst>
            </p:cNvPr>
            <p:cNvSpPr/>
            <p:nvPr/>
          </p:nvSpPr>
          <p:spPr bwMode="auto">
            <a:xfrm>
              <a:off x="457200" y="449263"/>
              <a:ext cx="11277600" cy="609123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6">
              <a:extLst>
                <a:ext uri="{FF2B5EF4-FFF2-40B4-BE49-F238E27FC236}">
                  <a16:creationId xmlns:a16="http://schemas.microsoft.com/office/drawing/2014/main" id="{398B6BAA-A4DE-4D0F-8E30-11069C87B66F}"/>
                </a:ext>
              </a:extLst>
            </p:cNvPr>
            <p:cNvSpPr/>
            <p:nvPr/>
          </p:nvSpPr>
          <p:spPr bwMode="auto">
            <a:xfrm>
              <a:off x="457200" y="449263"/>
              <a:ext cx="621064" cy="554837"/>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ooter Placeholder 1">
            <a:extLst>
              <a:ext uri="{FF2B5EF4-FFF2-40B4-BE49-F238E27FC236}">
                <a16:creationId xmlns:a16="http://schemas.microsoft.com/office/drawing/2014/main" id="{6400DF61-FC7A-4983-B934-D1ADFD45AB2E}"/>
              </a:ext>
            </a:extLst>
          </p:cNvPr>
          <p:cNvSpPr txBox="1">
            <a:spLocks/>
          </p:cNvSpPr>
          <p:nvPr/>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Power Virtual Agents</a:t>
            </a:r>
          </a:p>
        </p:txBody>
      </p:sp>
    </p:spTree>
    <p:extLst>
      <p:ext uri="{BB962C8B-B14F-4D97-AF65-F5344CB8AC3E}">
        <p14:creationId xmlns:p14="http://schemas.microsoft.com/office/powerpoint/2010/main" val="162037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23D8CD5-5869-4476-9D9A-61F2BEC98D1B}"/>
              </a:ext>
            </a:extLst>
          </p:cNvPr>
          <p:cNvSpPr/>
          <p:nvPr/>
        </p:nvSpPr>
        <p:spPr bwMode="auto">
          <a:xfrm>
            <a:off x="0" y="2046515"/>
            <a:ext cx="12192000" cy="27649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Object 12" hidden="1">
            <a:extLst>
              <a:ext uri="{FF2B5EF4-FFF2-40B4-BE49-F238E27FC236}">
                <a16:creationId xmlns:a16="http://schemas.microsoft.com/office/drawing/2014/main" id="{7BEB54DC-B5B8-4396-9AB6-85237B86E9E6}"/>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7BEB54DC-B5B8-4396-9AB6-85237B86E9E6}"/>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68C3B068-7463-4761-8437-9300EF583EF1}"/>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392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4" name="Freeform: Shape 43">
            <a:extLst>
              <a:ext uri="{FF2B5EF4-FFF2-40B4-BE49-F238E27FC236}">
                <a16:creationId xmlns:a16="http://schemas.microsoft.com/office/drawing/2014/main" id="{7E2740C4-2DE5-4128-A4A0-8A0CA814298E}"/>
              </a:ext>
            </a:extLst>
          </p:cNvPr>
          <p:cNvSpPr/>
          <p:nvPr/>
        </p:nvSpPr>
        <p:spPr bwMode="auto">
          <a:xfrm>
            <a:off x="-1" y="0"/>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1">
            <a:extLst>
              <a:ext uri="{FF2B5EF4-FFF2-40B4-BE49-F238E27FC236}">
                <a16:creationId xmlns:a16="http://schemas.microsoft.com/office/drawing/2014/main" id="{10858F7E-8DA4-4B13-BAC1-167506DA81FC}"/>
              </a:ext>
            </a:extLst>
          </p:cNvPr>
          <p:cNvSpPr>
            <a:spLocks noGrp="1"/>
          </p:cNvSpPr>
          <p:nvPr>
            <p:ph type="title"/>
          </p:nvPr>
        </p:nvSpPr>
        <p:spPr>
          <a:xfrm>
            <a:off x="5962335" y="2828836"/>
            <a:ext cx="5772466" cy="1200329"/>
          </a:xfrm>
        </p:spPr>
        <p:txBody>
          <a:bodyPr anchor="ctr"/>
          <a:lstStyle/>
          <a:p>
            <a:pPr>
              <a:lnSpc>
                <a:spcPct val="100000"/>
              </a:lnSpc>
            </a:pPr>
            <a:r>
              <a:rPr lang="en-US" sz="2600">
                <a:solidFill>
                  <a:srgbClr val="0B556A"/>
                </a:solidFill>
                <a:cs typeface="Adobe Arabic" panose="02040503050201020203" pitchFamily="18" charset="-78"/>
              </a:rPr>
              <a:t>Empower your people to drive more business value </a:t>
            </a:r>
            <a:r>
              <a:rPr lang="en-US" sz="2600">
                <a:solidFill>
                  <a:schemeClr val="tx1"/>
                </a:solidFill>
                <a:cs typeface="Adobe Arabic" panose="02040503050201020203" pitchFamily="18" charset="-78"/>
              </a:rPr>
              <a:t>through easy to create natural, conversational AI</a:t>
            </a:r>
          </a:p>
        </p:txBody>
      </p:sp>
      <p:sp>
        <p:nvSpPr>
          <p:cNvPr id="8" name="Rectangle 7">
            <a:extLst>
              <a:ext uri="{FF2B5EF4-FFF2-40B4-BE49-F238E27FC236}">
                <a16:creationId xmlns:a16="http://schemas.microsoft.com/office/drawing/2014/main" id="{7F58B0F1-E444-4721-84CE-2DD589999E3A}"/>
              </a:ext>
            </a:extLst>
          </p:cNvPr>
          <p:cNvSpPr/>
          <p:nvPr/>
        </p:nvSpPr>
        <p:spPr bwMode="auto">
          <a:xfrm>
            <a:off x="9540340" y="3846634"/>
            <a:ext cx="1309867" cy="914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52C41DAD-500A-4D6B-97F7-69376BD15509}"/>
              </a:ext>
            </a:extLst>
          </p:cNvPr>
          <p:cNvGrpSpPr/>
          <p:nvPr/>
        </p:nvGrpSpPr>
        <p:grpSpPr>
          <a:xfrm>
            <a:off x="457199" y="2566049"/>
            <a:ext cx="3906922" cy="1788808"/>
            <a:chOff x="457199" y="2703701"/>
            <a:chExt cx="3906922" cy="1788808"/>
          </a:xfrm>
        </p:grpSpPr>
        <p:sp>
          <p:nvSpPr>
            <p:cNvPr id="12" name="Rectangle 11">
              <a:extLst>
                <a:ext uri="{FF2B5EF4-FFF2-40B4-BE49-F238E27FC236}">
                  <a16:creationId xmlns:a16="http://schemas.microsoft.com/office/drawing/2014/main" id="{B1CE4B26-339E-4843-A498-64E977FE3D6B}"/>
                </a:ext>
              </a:extLst>
            </p:cNvPr>
            <p:cNvSpPr/>
            <p:nvPr/>
          </p:nvSpPr>
          <p:spPr bwMode="auto">
            <a:xfrm>
              <a:off x="457199" y="3649663"/>
              <a:ext cx="3906922" cy="8428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31935" fontAlgn="base">
                <a:spcBef>
                  <a:spcPct val="0"/>
                </a:spcBef>
                <a:spcAft>
                  <a:spcPts val="600"/>
                </a:spcAft>
                <a:defRPr/>
              </a:pPr>
              <a:r>
                <a:rPr lang="en-US" sz="2600" b="1">
                  <a:solidFill>
                    <a:schemeClr val="bg1"/>
                  </a:solidFill>
                  <a:latin typeface="+mj-lt"/>
                  <a:cs typeface="Segoe UI" pitchFamily="34" charset="0"/>
                </a:rPr>
                <a:t>POWER VIRTUAL AGENTS</a:t>
              </a:r>
            </a:p>
            <a:p>
              <a:pPr defTabSz="931935" fontAlgn="base">
                <a:spcBef>
                  <a:spcPct val="0"/>
                </a:spcBef>
                <a:spcAft>
                  <a:spcPts val="600"/>
                </a:spcAft>
                <a:defRPr/>
              </a:pPr>
              <a:r>
                <a:rPr lang="en-US" sz="2000">
                  <a:solidFill>
                    <a:schemeClr val="bg1"/>
                  </a:solidFill>
                  <a:latin typeface="+mj-lt"/>
                  <a:cs typeface="Segoe UI" pitchFamily="34" charset="0"/>
                </a:rPr>
                <a:t>Intelligent virtual agents</a:t>
              </a:r>
            </a:p>
          </p:txBody>
        </p:sp>
        <p:sp>
          <p:nvSpPr>
            <p:cNvPr id="22" name="Freeform 5">
              <a:extLst>
                <a:ext uri="{FF2B5EF4-FFF2-40B4-BE49-F238E27FC236}">
                  <a16:creationId xmlns:a16="http://schemas.microsoft.com/office/drawing/2014/main" id="{D38374AA-D6AA-48B9-989F-3DBF04C5AA53}"/>
                </a:ext>
              </a:extLst>
            </p:cNvPr>
            <p:cNvSpPr>
              <a:spLocks noEditPoints="1"/>
            </p:cNvSpPr>
            <p:nvPr/>
          </p:nvSpPr>
          <p:spPr bwMode="auto">
            <a:xfrm>
              <a:off x="457199" y="2703701"/>
              <a:ext cx="1071910" cy="782424"/>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6684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grpId="1" nodeType="withEffect">
                                  <p:stCondLst>
                                    <p:cond delay="0"/>
                                  </p:stCondLst>
                                  <p:childTnLst>
                                    <p:animMotion origin="layout" path="M -2.5E-6 -3.33333E-6 L -2.5E-6 0.03542 " pathEditMode="relative" rAng="0" ptsTypes="AA">
                                      <p:cBhvr>
                                        <p:cTn id="13" dur="700" spd="-100000" fill="hold"/>
                                        <p:tgtEl>
                                          <p:spTgt spid="5"/>
                                        </p:tgtEl>
                                        <p:attrNameLst>
                                          <p:attrName>ppt_x</p:attrName>
                                          <p:attrName>ppt_y</p:attrName>
                                        </p:attrNameLst>
                                      </p:cBhvr>
                                      <p:rCtr x="0" y="1759"/>
                                    </p:animMotion>
                                  </p:childTnLst>
                                </p:cTn>
                              </p:par>
                              <p:par>
                                <p:cTn id="14" presetID="10" presetClass="entr" presetSubtype="0" fill="hold" nodeType="withEffect">
                                  <p:stCondLst>
                                    <p:cond delay="25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par>
                                <p:cTn id="17" presetID="42" presetClass="path" presetSubtype="0" decel="100000" fill="hold" nodeType="withEffect">
                                  <p:stCondLst>
                                    <p:cond delay="0"/>
                                  </p:stCondLst>
                                  <p:childTnLst>
                                    <p:animMotion origin="layout" path="M 3.75E-6 1.85185E-6 L -0.02813 0.00116 " pathEditMode="relative" rAng="0" ptsTypes="AA">
                                      <p:cBhvr>
                                        <p:cTn id="18" dur="700" spd="-100000" fill="hold"/>
                                        <p:tgtEl>
                                          <p:spTgt spid="55"/>
                                        </p:tgtEl>
                                        <p:attrNameLst>
                                          <p:attrName>ppt_x</p:attrName>
                                          <p:attrName>ppt_y</p:attrName>
                                        </p:attrNameLst>
                                      </p:cBhvr>
                                      <p:rCtr x="-1406"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 grpId="0"/>
      <p:bldP spid="5"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C4B4-F76B-430F-A59F-AA737BA6BE57}"/>
              </a:ext>
            </a:extLst>
          </p:cNvPr>
          <p:cNvSpPr>
            <a:spLocks noGrp="1"/>
          </p:cNvSpPr>
          <p:nvPr>
            <p:ph type="title"/>
          </p:nvPr>
        </p:nvSpPr>
        <p:spPr/>
        <p:txBody>
          <a:bodyPr/>
          <a:lstStyle/>
          <a:p>
            <a:r>
              <a:rPr lang="en-US"/>
              <a:t>A service for automating workflows across apps</a:t>
            </a:r>
            <a:br>
              <a:rPr lang="en-US"/>
            </a:br>
            <a:r>
              <a:rPr lang="en-US"/>
              <a:t>and services</a:t>
            </a:r>
            <a:endParaRPr lang="en-IN"/>
          </a:p>
        </p:txBody>
      </p:sp>
      <p:sp>
        <p:nvSpPr>
          <p:cNvPr id="46" name="Rectangle 45">
            <a:extLst>
              <a:ext uri="{FF2B5EF4-FFF2-40B4-BE49-F238E27FC236}">
                <a16:creationId xmlns:a16="http://schemas.microsoft.com/office/drawing/2014/main" id="{2F21BE18-1589-4ADB-8CFA-FC00232F7EB9}"/>
              </a:ext>
            </a:extLst>
          </p:cNvPr>
          <p:cNvSpPr/>
          <p:nvPr/>
        </p:nvSpPr>
        <p:spPr bwMode="auto">
          <a:xfrm>
            <a:off x="459581" y="2949769"/>
            <a:ext cx="2651760" cy="30239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46304" numCol="1" spcCol="0" rtlCol="0" fromWordArt="0" anchor="t" anchorCtr="0" forceAA="0" compatLnSpc="1">
            <a:prstTxWarp prst="textNoShape">
              <a:avLst/>
            </a:prstTxWarp>
            <a:noAutofit/>
          </a:bodyPr>
          <a:lstStyle/>
          <a:p>
            <a:pPr>
              <a:spcAft>
                <a:spcPts val="400"/>
              </a:spcAft>
            </a:pPr>
            <a:r>
              <a:rPr lang="en-US" sz="2000">
                <a:solidFill>
                  <a:schemeClr val="tx2"/>
                </a:solidFill>
                <a:latin typeface="+mj-lt"/>
                <a:cs typeface="Segoe UI Semilight"/>
              </a:rPr>
              <a:t>Connect</a:t>
            </a:r>
          </a:p>
          <a:p>
            <a:pPr>
              <a:spcAft>
                <a:spcPts val="400"/>
              </a:spcAft>
            </a:pPr>
            <a:r>
              <a:rPr lang="en-US" sz="2000">
                <a:solidFill>
                  <a:schemeClr val="tx1"/>
                </a:solidFill>
                <a:cs typeface="Segoe UI Semilight"/>
              </a:rPr>
              <a:t>to data &amp; systems you’re already using, and create the data you need</a:t>
            </a:r>
          </a:p>
        </p:txBody>
      </p:sp>
      <p:sp>
        <p:nvSpPr>
          <p:cNvPr id="52" name="Rectangle 51">
            <a:extLst>
              <a:ext uri="{FF2B5EF4-FFF2-40B4-BE49-F238E27FC236}">
                <a16:creationId xmlns:a16="http://schemas.microsoft.com/office/drawing/2014/main" id="{9E6A6631-F275-4104-B00C-33FFD3CC0860}"/>
              </a:ext>
            </a:extLst>
          </p:cNvPr>
          <p:cNvSpPr/>
          <p:nvPr/>
        </p:nvSpPr>
        <p:spPr bwMode="auto">
          <a:xfrm>
            <a:off x="3333763" y="2949769"/>
            <a:ext cx="2651760" cy="30239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46304" numCol="1" spcCol="0" rtlCol="0" fromWordArt="0" anchor="t" anchorCtr="0" forceAA="0" compatLnSpc="1">
            <a:prstTxWarp prst="textNoShape">
              <a:avLst/>
            </a:prstTxWarp>
            <a:noAutofit/>
          </a:bodyPr>
          <a:lstStyle/>
          <a:p>
            <a:pPr>
              <a:spcAft>
                <a:spcPts val="400"/>
              </a:spcAft>
            </a:pPr>
            <a:r>
              <a:rPr lang="en-US" sz="2000">
                <a:solidFill>
                  <a:schemeClr val="tx2"/>
                </a:solidFill>
                <a:latin typeface="+mj-lt"/>
                <a:cs typeface="Segoe UI Semilight" panose="020B0402040204020203" pitchFamily="34" charset="0"/>
              </a:rPr>
              <a:t>Create</a:t>
            </a:r>
          </a:p>
          <a:p>
            <a:pPr>
              <a:spcAft>
                <a:spcPts val="400"/>
              </a:spcAft>
            </a:pPr>
            <a:r>
              <a:rPr lang="en-US" sz="2000">
                <a:solidFill>
                  <a:schemeClr val="tx1"/>
                </a:solidFill>
                <a:cs typeface="Segoe UI Semilight" panose="020B0402040204020203" pitchFamily="34" charset="0"/>
              </a:rPr>
              <a:t>workflows using triggers &amp; actions without code </a:t>
            </a:r>
            <a:br>
              <a:rPr lang="en-US" sz="2000">
                <a:solidFill>
                  <a:schemeClr val="tx1"/>
                </a:solidFill>
                <a:cs typeface="Segoe UI Semilight" panose="020B0402040204020203" pitchFamily="34" charset="0"/>
              </a:rPr>
            </a:br>
            <a:r>
              <a:rPr lang="en-US" sz="2000">
                <a:solidFill>
                  <a:schemeClr val="tx1"/>
                </a:solidFill>
                <a:cs typeface="Segoe UI Semilight" panose="020B0402040204020203" pitchFamily="34" charset="0"/>
              </a:rPr>
              <a:t>or scripts</a:t>
            </a:r>
          </a:p>
        </p:txBody>
      </p:sp>
      <p:sp>
        <p:nvSpPr>
          <p:cNvPr id="53" name="Rectangle 52">
            <a:extLst>
              <a:ext uri="{FF2B5EF4-FFF2-40B4-BE49-F238E27FC236}">
                <a16:creationId xmlns:a16="http://schemas.microsoft.com/office/drawing/2014/main" id="{174C12C4-FC02-479D-9BF8-EB92D5849827}"/>
              </a:ext>
            </a:extLst>
          </p:cNvPr>
          <p:cNvSpPr/>
          <p:nvPr/>
        </p:nvSpPr>
        <p:spPr bwMode="auto">
          <a:xfrm>
            <a:off x="6207945" y="2949769"/>
            <a:ext cx="2651760" cy="30239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46304" numCol="1" spcCol="0" rtlCol="0" fromWordArt="0" anchor="t" anchorCtr="0" forceAA="0" compatLnSpc="1">
            <a:prstTxWarp prst="textNoShape">
              <a:avLst/>
            </a:prstTxWarp>
            <a:noAutofit/>
          </a:bodyPr>
          <a:lstStyle/>
          <a:p>
            <a:pPr>
              <a:spcAft>
                <a:spcPts val="400"/>
              </a:spcAft>
            </a:pPr>
            <a:r>
              <a:rPr lang="en-US" sz="2000">
                <a:solidFill>
                  <a:schemeClr val="tx2"/>
                </a:solidFill>
                <a:latin typeface="+mj-lt"/>
                <a:cs typeface="Segoe UI Semilight" panose="020B0402040204020203" pitchFamily="34" charset="0"/>
              </a:rPr>
              <a:t>Edit</a:t>
            </a:r>
          </a:p>
          <a:p>
            <a:pPr>
              <a:spcAft>
                <a:spcPts val="400"/>
              </a:spcAft>
            </a:pPr>
            <a:r>
              <a:rPr lang="en-US" sz="2000">
                <a:solidFill>
                  <a:schemeClr val="tx1"/>
                </a:solidFill>
                <a:cs typeface="Segoe UI Semilight" panose="020B0402040204020203" pitchFamily="34" charset="0"/>
              </a:rPr>
              <a:t>flows on web and mobile</a:t>
            </a:r>
          </a:p>
        </p:txBody>
      </p:sp>
      <p:sp>
        <p:nvSpPr>
          <p:cNvPr id="54" name="Rectangle 53">
            <a:extLst>
              <a:ext uri="{FF2B5EF4-FFF2-40B4-BE49-F238E27FC236}">
                <a16:creationId xmlns:a16="http://schemas.microsoft.com/office/drawing/2014/main" id="{365D1680-B881-46C0-ACFE-E17CF9232851}"/>
              </a:ext>
            </a:extLst>
          </p:cNvPr>
          <p:cNvSpPr/>
          <p:nvPr/>
        </p:nvSpPr>
        <p:spPr bwMode="auto">
          <a:xfrm>
            <a:off x="9082126" y="2949769"/>
            <a:ext cx="2651760" cy="30239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46304" numCol="1" spcCol="0" rtlCol="0" fromWordArt="0" anchor="t" anchorCtr="0" forceAA="0" compatLnSpc="1">
            <a:prstTxWarp prst="textNoShape">
              <a:avLst/>
            </a:prstTxWarp>
            <a:noAutofit/>
          </a:bodyPr>
          <a:lstStyle/>
          <a:p>
            <a:pPr>
              <a:spcAft>
                <a:spcPts val="400"/>
              </a:spcAft>
            </a:pPr>
            <a:r>
              <a:rPr lang="en-US" sz="2000">
                <a:solidFill>
                  <a:schemeClr val="tx2"/>
                </a:solidFill>
                <a:latin typeface="+mj-lt"/>
                <a:cs typeface="Segoe UI Semilight" panose="020B0402040204020203" pitchFamily="34" charset="0"/>
              </a:rPr>
              <a:t>Approve</a:t>
            </a:r>
          </a:p>
          <a:p>
            <a:pPr>
              <a:spcAft>
                <a:spcPts val="400"/>
              </a:spcAft>
            </a:pPr>
            <a:r>
              <a:rPr lang="en-US" sz="2000">
                <a:solidFill>
                  <a:schemeClr val="tx1"/>
                </a:solidFill>
                <a:cs typeface="Segoe UI Semilight" panose="020B0402040204020203" pitchFamily="34" charset="0"/>
              </a:rPr>
              <a:t>requests or manage them on web</a:t>
            </a:r>
            <a:br>
              <a:rPr lang="en-US" sz="2000">
                <a:solidFill>
                  <a:schemeClr val="tx1"/>
                </a:solidFill>
                <a:cs typeface="Segoe UI Semilight" panose="020B0402040204020203" pitchFamily="34" charset="0"/>
              </a:rPr>
            </a:br>
            <a:r>
              <a:rPr lang="en-US" sz="2000">
                <a:solidFill>
                  <a:schemeClr val="tx1"/>
                </a:solidFill>
                <a:cs typeface="Segoe UI Semilight" panose="020B0402040204020203" pitchFamily="34" charset="0"/>
              </a:rPr>
              <a:t>and mobile</a:t>
            </a:r>
          </a:p>
        </p:txBody>
      </p:sp>
      <p:sp>
        <p:nvSpPr>
          <p:cNvPr id="30" name="Oval 29">
            <a:extLst>
              <a:ext uri="{FF2B5EF4-FFF2-40B4-BE49-F238E27FC236}">
                <a16:creationId xmlns:a16="http://schemas.microsoft.com/office/drawing/2014/main" id="{8E3CD843-36A2-417B-9DBB-1B35351D8A2E}"/>
              </a:ext>
            </a:extLst>
          </p:cNvPr>
          <p:cNvSpPr/>
          <p:nvPr/>
        </p:nvSpPr>
        <p:spPr bwMode="auto">
          <a:xfrm>
            <a:off x="10561856" y="2446348"/>
            <a:ext cx="941832" cy="941832"/>
          </a:xfrm>
          <a:prstGeom prst="ellipse">
            <a:avLst/>
          </a:prstGeom>
          <a:solidFill>
            <a:schemeClr val="bg1"/>
          </a:solidFill>
          <a:ln w="10795" cap="flat" cmpd="sng" algn="ctr">
            <a:noFill/>
            <a:prstDash val="solid"/>
          </a:ln>
          <a:effectLst>
            <a:outerShdw blurRad="292100" dist="38100" dir="3600000" sx="86000" sy="86000" algn="tl" rotWithShape="0">
              <a:prstClr val="black">
                <a:alpha val="30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030068B2-F8DD-49B3-9671-AAB2C287434B}"/>
              </a:ext>
            </a:extLst>
          </p:cNvPr>
          <p:cNvGrpSpPr/>
          <p:nvPr/>
        </p:nvGrpSpPr>
        <p:grpSpPr>
          <a:xfrm>
            <a:off x="7654555" y="2446349"/>
            <a:ext cx="940146" cy="938222"/>
            <a:chOff x="8741551" y="-1342965"/>
            <a:chExt cx="940146" cy="938222"/>
          </a:xfrm>
        </p:grpSpPr>
        <p:sp>
          <p:nvSpPr>
            <p:cNvPr id="13" name="Oval 12">
              <a:extLst>
                <a:ext uri="{FF2B5EF4-FFF2-40B4-BE49-F238E27FC236}">
                  <a16:creationId xmlns:a16="http://schemas.microsoft.com/office/drawing/2014/main" id="{835654DF-360B-418F-8656-D3D1783FFFF1}"/>
                </a:ext>
              </a:extLst>
            </p:cNvPr>
            <p:cNvSpPr/>
            <p:nvPr/>
          </p:nvSpPr>
          <p:spPr bwMode="auto">
            <a:xfrm>
              <a:off x="8741551" y="-1342965"/>
              <a:ext cx="940146" cy="938222"/>
            </a:xfrm>
            <a:prstGeom prst="ellipse">
              <a:avLst/>
            </a:prstGeom>
            <a:solidFill>
              <a:schemeClr val="bg1"/>
            </a:solidFill>
            <a:ln w="10795" cap="flat" cmpd="sng" algn="ctr">
              <a:noFill/>
              <a:prstDash val="solid"/>
            </a:ln>
            <a:effectLst>
              <a:outerShdw blurRad="292100" dist="38100" dir="3600000" sx="86000" sy="86000" algn="tl" rotWithShape="0">
                <a:prstClr val="black">
                  <a:alpha val="30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pic>
          <p:nvPicPr>
            <p:cNvPr id="28" name="Picture 27">
              <a:extLst>
                <a:ext uri="{FF2B5EF4-FFF2-40B4-BE49-F238E27FC236}">
                  <a16:creationId xmlns:a16="http://schemas.microsoft.com/office/drawing/2014/main" id="{97D58C56-5E64-4408-98DB-BDE8FFA5E3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5950" y="-1060252"/>
              <a:ext cx="610649" cy="492604"/>
            </a:xfrm>
            <a:prstGeom prst="rect">
              <a:avLst/>
            </a:prstGeom>
          </p:spPr>
        </p:pic>
      </p:grpSp>
      <p:grpSp>
        <p:nvGrpSpPr>
          <p:cNvPr id="37" name="Group 36">
            <a:extLst>
              <a:ext uri="{FF2B5EF4-FFF2-40B4-BE49-F238E27FC236}">
                <a16:creationId xmlns:a16="http://schemas.microsoft.com/office/drawing/2014/main" id="{50A694F7-15BE-47C1-8ABA-2C39FD6B9D98}"/>
              </a:ext>
            </a:extLst>
          </p:cNvPr>
          <p:cNvGrpSpPr/>
          <p:nvPr/>
        </p:nvGrpSpPr>
        <p:grpSpPr>
          <a:xfrm>
            <a:off x="10739258" y="2662866"/>
            <a:ext cx="587028" cy="508796"/>
            <a:chOff x="6455407" y="1490666"/>
            <a:chExt cx="900112" cy="780158"/>
          </a:xfrm>
        </p:grpSpPr>
        <p:sp>
          <p:nvSpPr>
            <p:cNvPr id="38" name="Freeform: Shape 37">
              <a:extLst>
                <a:ext uri="{FF2B5EF4-FFF2-40B4-BE49-F238E27FC236}">
                  <a16:creationId xmlns:a16="http://schemas.microsoft.com/office/drawing/2014/main" id="{7C466D1A-2762-422C-9F54-E15BDD129529}"/>
                </a:ext>
              </a:extLst>
            </p:cNvPr>
            <p:cNvSpPr/>
            <p:nvPr/>
          </p:nvSpPr>
          <p:spPr>
            <a:xfrm>
              <a:off x="6955469" y="1490666"/>
              <a:ext cx="400050" cy="400050"/>
            </a:xfrm>
            <a:custGeom>
              <a:avLst/>
              <a:gdLst>
                <a:gd name="connsiteX0" fmla="*/ 202883 w 400050"/>
                <a:gd name="connsiteY0" fmla="*/ 0 h 400050"/>
                <a:gd name="connsiteX1" fmla="*/ 0 w 400050"/>
                <a:gd name="connsiteY1" fmla="*/ 201930 h 400050"/>
                <a:gd name="connsiteX2" fmla="*/ 201930 w 400050"/>
                <a:gd name="connsiteY2" fmla="*/ 403860 h 400050"/>
                <a:gd name="connsiteX3" fmla="*/ 403860 w 400050"/>
                <a:gd name="connsiteY3" fmla="*/ 201930 h 400050"/>
                <a:gd name="connsiteX4" fmla="*/ 202883 w 400050"/>
                <a:gd name="connsiteY4" fmla="*/ 0 h 400050"/>
                <a:gd name="connsiteX5" fmla="*/ 267653 w 400050"/>
                <a:gd name="connsiteY5" fmla="*/ 228600 h 400050"/>
                <a:gd name="connsiteX6" fmla="*/ 229552 w 400050"/>
                <a:gd name="connsiteY6" fmla="*/ 228600 h 400050"/>
                <a:gd name="connsiteX7" fmla="*/ 229552 w 400050"/>
                <a:gd name="connsiteY7" fmla="*/ 266700 h 400050"/>
                <a:gd name="connsiteX8" fmla="*/ 202883 w 400050"/>
                <a:gd name="connsiteY8" fmla="*/ 293370 h 400050"/>
                <a:gd name="connsiteX9" fmla="*/ 176213 w 400050"/>
                <a:gd name="connsiteY9" fmla="*/ 266700 h 400050"/>
                <a:gd name="connsiteX10" fmla="*/ 176213 w 400050"/>
                <a:gd name="connsiteY10" fmla="*/ 228600 h 400050"/>
                <a:gd name="connsiteX11" fmla="*/ 138113 w 400050"/>
                <a:gd name="connsiteY11" fmla="*/ 228600 h 400050"/>
                <a:gd name="connsiteX12" fmla="*/ 111442 w 400050"/>
                <a:gd name="connsiteY12" fmla="*/ 201930 h 400050"/>
                <a:gd name="connsiteX13" fmla="*/ 138113 w 400050"/>
                <a:gd name="connsiteY13" fmla="*/ 175260 h 400050"/>
                <a:gd name="connsiteX14" fmla="*/ 176213 w 400050"/>
                <a:gd name="connsiteY14" fmla="*/ 175260 h 400050"/>
                <a:gd name="connsiteX15" fmla="*/ 176213 w 400050"/>
                <a:gd name="connsiteY15" fmla="*/ 137160 h 400050"/>
                <a:gd name="connsiteX16" fmla="*/ 202883 w 400050"/>
                <a:gd name="connsiteY16" fmla="*/ 110490 h 400050"/>
                <a:gd name="connsiteX17" fmla="*/ 229552 w 400050"/>
                <a:gd name="connsiteY17" fmla="*/ 137160 h 400050"/>
                <a:gd name="connsiteX18" fmla="*/ 229552 w 400050"/>
                <a:gd name="connsiteY18" fmla="*/ 175260 h 400050"/>
                <a:gd name="connsiteX19" fmla="*/ 267653 w 400050"/>
                <a:gd name="connsiteY19" fmla="*/ 175260 h 400050"/>
                <a:gd name="connsiteX20" fmla="*/ 294323 w 400050"/>
                <a:gd name="connsiteY20" fmla="*/ 201930 h 400050"/>
                <a:gd name="connsiteX21" fmla="*/ 267653 w 400050"/>
                <a:gd name="connsiteY21" fmla="*/ 22860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050" h="400050">
                  <a:moveTo>
                    <a:pt x="202883" y="0"/>
                  </a:moveTo>
                  <a:cubicBezTo>
                    <a:pt x="91440" y="0"/>
                    <a:pt x="0" y="90487"/>
                    <a:pt x="0" y="201930"/>
                  </a:cubicBezTo>
                  <a:cubicBezTo>
                    <a:pt x="0" y="313373"/>
                    <a:pt x="90488" y="403860"/>
                    <a:pt x="201930" y="403860"/>
                  </a:cubicBezTo>
                  <a:cubicBezTo>
                    <a:pt x="313373" y="403860"/>
                    <a:pt x="403860" y="313373"/>
                    <a:pt x="403860" y="201930"/>
                  </a:cubicBezTo>
                  <a:cubicBezTo>
                    <a:pt x="404813" y="90487"/>
                    <a:pt x="314325" y="0"/>
                    <a:pt x="202883" y="0"/>
                  </a:cubicBezTo>
                  <a:close/>
                  <a:moveTo>
                    <a:pt x="267653" y="228600"/>
                  </a:moveTo>
                  <a:lnTo>
                    <a:pt x="229552" y="228600"/>
                  </a:lnTo>
                  <a:lnTo>
                    <a:pt x="229552" y="266700"/>
                  </a:lnTo>
                  <a:cubicBezTo>
                    <a:pt x="229552" y="280988"/>
                    <a:pt x="217170" y="293370"/>
                    <a:pt x="202883" y="293370"/>
                  </a:cubicBezTo>
                  <a:cubicBezTo>
                    <a:pt x="188595" y="293370"/>
                    <a:pt x="176213" y="280988"/>
                    <a:pt x="176213" y="266700"/>
                  </a:cubicBezTo>
                  <a:lnTo>
                    <a:pt x="176213" y="228600"/>
                  </a:lnTo>
                  <a:lnTo>
                    <a:pt x="138113" y="228600"/>
                  </a:lnTo>
                  <a:cubicBezTo>
                    <a:pt x="123825" y="228600"/>
                    <a:pt x="111442" y="216218"/>
                    <a:pt x="111442" y="201930"/>
                  </a:cubicBezTo>
                  <a:cubicBezTo>
                    <a:pt x="111442" y="187643"/>
                    <a:pt x="123825" y="175260"/>
                    <a:pt x="138113" y="175260"/>
                  </a:cubicBezTo>
                  <a:lnTo>
                    <a:pt x="176213" y="175260"/>
                  </a:lnTo>
                  <a:lnTo>
                    <a:pt x="176213" y="137160"/>
                  </a:lnTo>
                  <a:cubicBezTo>
                    <a:pt x="176213" y="122873"/>
                    <a:pt x="188595" y="110490"/>
                    <a:pt x="202883" y="110490"/>
                  </a:cubicBezTo>
                  <a:cubicBezTo>
                    <a:pt x="217170" y="110490"/>
                    <a:pt x="229552" y="122873"/>
                    <a:pt x="229552" y="137160"/>
                  </a:cubicBezTo>
                  <a:lnTo>
                    <a:pt x="229552" y="175260"/>
                  </a:lnTo>
                  <a:lnTo>
                    <a:pt x="267653" y="175260"/>
                  </a:lnTo>
                  <a:cubicBezTo>
                    <a:pt x="281940" y="175260"/>
                    <a:pt x="294323" y="187643"/>
                    <a:pt x="294323" y="201930"/>
                  </a:cubicBezTo>
                  <a:cubicBezTo>
                    <a:pt x="294323" y="217170"/>
                    <a:pt x="282892" y="228600"/>
                    <a:pt x="267653" y="228600"/>
                  </a:cubicBez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14225"/>
              <a:endParaRPr lang="en-IN" sz="1836">
                <a:solidFill>
                  <a:srgbClr val="3C3C41"/>
                </a:solidFill>
                <a:latin typeface="Segoe UI"/>
              </a:endParaRPr>
            </a:p>
          </p:txBody>
        </p:sp>
        <p:sp>
          <p:nvSpPr>
            <p:cNvPr id="39" name="Freeform: Shape 38">
              <a:extLst>
                <a:ext uri="{FF2B5EF4-FFF2-40B4-BE49-F238E27FC236}">
                  <a16:creationId xmlns:a16="http://schemas.microsoft.com/office/drawing/2014/main" id="{FFD1B7AD-E2A9-4C30-8F73-E3393B8C4036}"/>
                </a:ext>
              </a:extLst>
            </p:cNvPr>
            <p:cNvSpPr/>
            <p:nvPr/>
          </p:nvSpPr>
          <p:spPr>
            <a:xfrm>
              <a:off x="6646859" y="1718374"/>
              <a:ext cx="400050" cy="552450"/>
            </a:xfrm>
            <a:custGeom>
              <a:avLst/>
              <a:gdLst>
                <a:gd name="connsiteX0" fmla="*/ 403860 w 400050"/>
                <a:gd name="connsiteY0" fmla="*/ 252352 h 552450"/>
                <a:gd name="connsiteX1" fmla="*/ 360045 w 400050"/>
                <a:gd name="connsiteY1" fmla="*/ 208537 h 552450"/>
                <a:gd name="connsiteX2" fmla="*/ 221933 w 400050"/>
                <a:gd name="connsiteY2" fmla="*/ 208537 h 552450"/>
                <a:gd name="connsiteX3" fmla="*/ 209550 w 400050"/>
                <a:gd name="connsiteY3" fmla="*/ 194250 h 552450"/>
                <a:gd name="connsiteX4" fmla="*/ 237173 w 400050"/>
                <a:gd name="connsiteY4" fmla="*/ 51375 h 552450"/>
                <a:gd name="connsiteX5" fmla="*/ 145733 w 400050"/>
                <a:gd name="connsiteY5" fmla="*/ 36135 h 552450"/>
                <a:gd name="connsiteX6" fmla="*/ 9525 w 400050"/>
                <a:gd name="connsiteY6" fmla="*/ 229492 h 552450"/>
                <a:gd name="connsiteX7" fmla="*/ 0 w 400050"/>
                <a:gd name="connsiteY7" fmla="*/ 247590 h 552450"/>
                <a:gd name="connsiteX8" fmla="*/ 0 w 400050"/>
                <a:gd name="connsiteY8" fmla="*/ 495240 h 552450"/>
                <a:gd name="connsiteX9" fmla="*/ 13335 w 400050"/>
                <a:gd name="connsiteY9" fmla="*/ 515242 h 552450"/>
                <a:gd name="connsiteX10" fmla="*/ 180023 w 400050"/>
                <a:gd name="connsiteY10" fmla="*/ 557152 h 552450"/>
                <a:gd name="connsiteX11" fmla="*/ 339090 w 400050"/>
                <a:gd name="connsiteY11" fmla="*/ 557152 h 552450"/>
                <a:gd name="connsiteX12" fmla="*/ 382905 w 400050"/>
                <a:gd name="connsiteY12" fmla="*/ 513337 h 552450"/>
                <a:gd name="connsiteX13" fmla="*/ 339090 w 400050"/>
                <a:gd name="connsiteY13" fmla="*/ 469522 h 552450"/>
                <a:gd name="connsiteX14" fmla="*/ 343853 w 400050"/>
                <a:gd name="connsiteY14" fmla="*/ 469522 h 552450"/>
                <a:gd name="connsiteX15" fmla="*/ 388620 w 400050"/>
                <a:gd name="connsiteY15" fmla="*/ 431422 h 552450"/>
                <a:gd name="connsiteX16" fmla="*/ 345758 w 400050"/>
                <a:gd name="connsiteY16" fmla="*/ 381892 h 552450"/>
                <a:gd name="connsiteX17" fmla="*/ 350520 w 400050"/>
                <a:gd name="connsiteY17" fmla="*/ 381892 h 552450"/>
                <a:gd name="connsiteX18" fmla="*/ 395287 w 400050"/>
                <a:gd name="connsiteY18" fmla="*/ 343792 h 552450"/>
                <a:gd name="connsiteX19" fmla="*/ 352425 w 400050"/>
                <a:gd name="connsiteY19" fmla="*/ 294262 h 552450"/>
                <a:gd name="connsiteX20" fmla="*/ 359093 w 400050"/>
                <a:gd name="connsiteY20" fmla="*/ 294262 h 552450"/>
                <a:gd name="connsiteX21" fmla="*/ 403860 w 400050"/>
                <a:gd name="connsiteY21" fmla="*/ 252352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050" h="552450">
                  <a:moveTo>
                    <a:pt x="403860" y="252352"/>
                  </a:moveTo>
                  <a:cubicBezTo>
                    <a:pt x="403860" y="228540"/>
                    <a:pt x="383858" y="208537"/>
                    <a:pt x="360045" y="208537"/>
                  </a:cubicBezTo>
                  <a:lnTo>
                    <a:pt x="221933" y="208537"/>
                  </a:lnTo>
                  <a:cubicBezTo>
                    <a:pt x="213360" y="208537"/>
                    <a:pt x="208598" y="201870"/>
                    <a:pt x="209550" y="194250"/>
                  </a:cubicBezTo>
                  <a:cubicBezTo>
                    <a:pt x="219075" y="134242"/>
                    <a:pt x="231458" y="114240"/>
                    <a:pt x="237173" y="51375"/>
                  </a:cubicBezTo>
                  <a:cubicBezTo>
                    <a:pt x="242887" y="-8633"/>
                    <a:pt x="158115" y="-19110"/>
                    <a:pt x="145733" y="36135"/>
                  </a:cubicBezTo>
                  <a:cubicBezTo>
                    <a:pt x="122873" y="139005"/>
                    <a:pt x="37147" y="208537"/>
                    <a:pt x="9525" y="229492"/>
                  </a:cubicBezTo>
                  <a:cubicBezTo>
                    <a:pt x="3810" y="233302"/>
                    <a:pt x="0" y="239970"/>
                    <a:pt x="0" y="247590"/>
                  </a:cubicBezTo>
                  <a:lnTo>
                    <a:pt x="0" y="495240"/>
                  </a:lnTo>
                  <a:cubicBezTo>
                    <a:pt x="0" y="503812"/>
                    <a:pt x="5715" y="512385"/>
                    <a:pt x="13335" y="515242"/>
                  </a:cubicBezTo>
                  <a:cubicBezTo>
                    <a:pt x="43815" y="528577"/>
                    <a:pt x="78105" y="557152"/>
                    <a:pt x="180023" y="557152"/>
                  </a:cubicBezTo>
                  <a:cubicBezTo>
                    <a:pt x="242887" y="557152"/>
                    <a:pt x="339090" y="557152"/>
                    <a:pt x="339090" y="557152"/>
                  </a:cubicBezTo>
                  <a:cubicBezTo>
                    <a:pt x="362903" y="557152"/>
                    <a:pt x="382905" y="537150"/>
                    <a:pt x="382905" y="513337"/>
                  </a:cubicBezTo>
                  <a:cubicBezTo>
                    <a:pt x="382905" y="489525"/>
                    <a:pt x="362903" y="469522"/>
                    <a:pt x="339090" y="469522"/>
                  </a:cubicBezTo>
                  <a:lnTo>
                    <a:pt x="343853" y="469522"/>
                  </a:lnTo>
                  <a:cubicBezTo>
                    <a:pt x="365760" y="469522"/>
                    <a:pt x="385762" y="453330"/>
                    <a:pt x="388620" y="431422"/>
                  </a:cubicBezTo>
                  <a:cubicBezTo>
                    <a:pt x="392430" y="404752"/>
                    <a:pt x="371475" y="381892"/>
                    <a:pt x="345758" y="381892"/>
                  </a:cubicBezTo>
                  <a:lnTo>
                    <a:pt x="350520" y="381892"/>
                  </a:lnTo>
                  <a:cubicBezTo>
                    <a:pt x="372428" y="381892"/>
                    <a:pt x="392430" y="365700"/>
                    <a:pt x="395287" y="343792"/>
                  </a:cubicBezTo>
                  <a:cubicBezTo>
                    <a:pt x="399098" y="317122"/>
                    <a:pt x="378143" y="294262"/>
                    <a:pt x="352425" y="294262"/>
                  </a:cubicBezTo>
                  <a:lnTo>
                    <a:pt x="359093" y="294262"/>
                  </a:lnTo>
                  <a:cubicBezTo>
                    <a:pt x="383858" y="296167"/>
                    <a:pt x="403860" y="277117"/>
                    <a:pt x="403860" y="252352"/>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14225"/>
              <a:endParaRPr lang="en-IN" sz="1836">
                <a:solidFill>
                  <a:srgbClr val="3C3C41"/>
                </a:solidFill>
                <a:latin typeface="Segoe UI"/>
              </a:endParaRPr>
            </a:p>
          </p:txBody>
        </p:sp>
        <p:sp>
          <p:nvSpPr>
            <p:cNvPr id="40" name="Freeform: Shape 39">
              <a:extLst>
                <a:ext uri="{FF2B5EF4-FFF2-40B4-BE49-F238E27FC236}">
                  <a16:creationId xmlns:a16="http://schemas.microsoft.com/office/drawing/2014/main" id="{4F6F7D12-71A8-4F18-B560-DD160B0BAFBA}"/>
                </a:ext>
              </a:extLst>
            </p:cNvPr>
            <p:cNvSpPr/>
            <p:nvPr/>
          </p:nvSpPr>
          <p:spPr>
            <a:xfrm>
              <a:off x="6455407" y="1954534"/>
              <a:ext cx="142875" cy="266700"/>
            </a:xfrm>
            <a:custGeom>
              <a:avLst/>
              <a:gdLst>
                <a:gd name="connsiteX0" fmla="*/ 128588 w 142875"/>
                <a:gd name="connsiteY0" fmla="*/ 0 h 266700"/>
                <a:gd name="connsiteX1" fmla="*/ 21908 w 142875"/>
                <a:gd name="connsiteY1" fmla="*/ 0 h 266700"/>
                <a:gd name="connsiteX2" fmla="*/ 0 w 142875"/>
                <a:gd name="connsiteY2" fmla="*/ 21907 h 266700"/>
                <a:gd name="connsiteX3" fmla="*/ 0 w 142875"/>
                <a:gd name="connsiteY3" fmla="*/ 251460 h 266700"/>
                <a:gd name="connsiteX4" fmla="*/ 21908 w 142875"/>
                <a:gd name="connsiteY4" fmla="*/ 273367 h 266700"/>
                <a:gd name="connsiteX5" fmla="*/ 128588 w 142875"/>
                <a:gd name="connsiteY5" fmla="*/ 273367 h 266700"/>
                <a:gd name="connsiteX6" fmla="*/ 150495 w 142875"/>
                <a:gd name="connsiteY6" fmla="*/ 251460 h 266700"/>
                <a:gd name="connsiteX7" fmla="*/ 150495 w 142875"/>
                <a:gd name="connsiteY7" fmla="*/ 21907 h 266700"/>
                <a:gd name="connsiteX8" fmla="*/ 128588 w 142875"/>
                <a:gd name="connsiteY8"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266700">
                  <a:moveTo>
                    <a:pt x="128588" y="0"/>
                  </a:moveTo>
                  <a:lnTo>
                    <a:pt x="21908" y="0"/>
                  </a:lnTo>
                  <a:cubicBezTo>
                    <a:pt x="9525" y="0"/>
                    <a:pt x="0" y="9525"/>
                    <a:pt x="0" y="21907"/>
                  </a:cubicBezTo>
                  <a:lnTo>
                    <a:pt x="0" y="251460"/>
                  </a:lnTo>
                  <a:cubicBezTo>
                    <a:pt x="0" y="263842"/>
                    <a:pt x="9525" y="273367"/>
                    <a:pt x="21908" y="273367"/>
                  </a:cubicBezTo>
                  <a:lnTo>
                    <a:pt x="128588" y="273367"/>
                  </a:lnTo>
                  <a:cubicBezTo>
                    <a:pt x="140970" y="273367"/>
                    <a:pt x="150495" y="263842"/>
                    <a:pt x="150495" y="251460"/>
                  </a:cubicBezTo>
                  <a:lnTo>
                    <a:pt x="150495" y="21907"/>
                  </a:lnTo>
                  <a:cubicBezTo>
                    <a:pt x="151448" y="9525"/>
                    <a:pt x="140970" y="0"/>
                    <a:pt x="128588"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14225"/>
              <a:endParaRPr lang="en-IN" sz="1836">
                <a:solidFill>
                  <a:srgbClr val="3C3C41"/>
                </a:solidFill>
                <a:latin typeface="Segoe UI"/>
              </a:endParaRPr>
            </a:p>
          </p:txBody>
        </p:sp>
      </p:grpSp>
      <p:grpSp>
        <p:nvGrpSpPr>
          <p:cNvPr id="4" name="Group 3">
            <a:extLst>
              <a:ext uri="{FF2B5EF4-FFF2-40B4-BE49-F238E27FC236}">
                <a16:creationId xmlns:a16="http://schemas.microsoft.com/office/drawing/2014/main" id="{E5D0A18F-575C-4175-BB1A-9892F1B72C4A}"/>
              </a:ext>
            </a:extLst>
          </p:cNvPr>
          <p:cNvGrpSpPr/>
          <p:nvPr/>
        </p:nvGrpSpPr>
        <p:grpSpPr>
          <a:xfrm>
            <a:off x="1901206" y="2446349"/>
            <a:ext cx="940146" cy="938222"/>
            <a:chOff x="5155854" y="-1342965"/>
            <a:chExt cx="940146" cy="938222"/>
          </a:xfrm>
        </p:grpSpPr>
        <p:sp>
          <p:nvSpPr>
            <p:cNvPr id="41" name="Oval 40">
              <a:extLst>
                <a:ext uri="{FF2B5EF4-FFF2-40B4-BE49-F238E27FC236}">
                  <a16:creationId xmlns:a16="http://schemas.microsoft.com/office/drawing/2014/main" id="{49341DB3-279E-452F-A1E7-3EA23E3E6352}"/>
                </a:ext>
              </a:extLst>
            </p:cNvPr>
            <p:cNvSpPr/>
            <p:nvPr/>
          </p:nvSpPr>
          <p:spPr bwMode="auto">
            <a:xfrm>
              <a:off x="5155854" y="-1342965"/>
              <a:ext cx="940146" cy="938222"/>
            </a:xfrm>
            <a:prstGeom prst="ellipse">
              <a:avLst/>
            </a:prstGeom>
            <a:solidFill>
              <a:schemeClr val="bg1"/>
            </a:solidFill>
            <a:ln w="10795" cap="flat" cmpd="sng" algn="ctr">
              <a:noFill/>
              <a:prstDash val="solid"/>
            </a:ln>
            <a:effectLst>
              <a:outerShdw blurRad="292100" dist="38100" dir="3600000" sx="86000" sy="86000" algn="tl" rotWithShape="0">
                <a:prstClr val="black">
                  <a:alpha val="30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pic>
          <p:nvPicPr>
            <p:cNvPr id="25" name="Picture 24">
              <a:extLst>
                <a:ext uri="{FF2B5EF4-FFF2-40B4-BE49-F238E27FC236}">
                  <a16:creationId xmlns:a16="http://schemas.microsoft.com/office/drawing/2014/main" id="{CFEB0C88-8581-453B-BAAE-C2AEA97C9C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9413" y="-1165118"/>
              <a:ext cx="573028" cy="582529"/>
            </a:xfrm>
            <a:prstGeom prst="rect">
              <a:avLst/>
            </a:prstGeom>
          </p:spPr>
        </p:pic>
      </p:grpSp>
      <p:sp>
        <p:nvSpPr>
          <p:cNvPr id="36" name="Oval 35">
            <a:extLst>
              <a:ext uri="{FF2B5EF4-FFF2-40B4-BE49-F238E27FC236}">
                <a16:creationId xmlns:a16="http://schemas.microsoft.com/office/drawing/2014/main" id="{54E25E61-DFC2-4D42-AE0B-BD0CF5F964C2}"/>
              </a:ext>
            </a:extLst>
          </p:cNvPr>
          <p:cNvSpPr/>
          <p:nvPr/>
        </p:nvSpPr>
        <p:spPr bwMode="auto">
          <a:xfrm>
            <a:off x="4782221" y="2446349"/>
            <a:ext cx="940146" cy="938222"/>
          </a:xfrm>
          <a:prstGeom prst="ellipse">
            <a:avLst/>
          </a:prstGeom>
          <a:solidFill>
            <a:schemeClr val="bg1"/>
          </a:solidFill>
          <a:ln w="10795" cap="flat" cmpd="sng" algn="ctr">
            <a:noFill/>
            <a:prstDash val="solid"/>
          </a:ln>
          <a:effectLst>
            <a:outerShdw blurRad="292100" dist="38100" dir="3600000" sx="86000" sy="86000" algn="tl" rotWithShape="0">
              <a:prstClr val="black">
                <a:alpha val="30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ECA971A6-F9DC-4BE4-B098-8A3D01A95313}"/>
              </a:ext>
            </a:extLst>
          </p:cNvPr>
          <p:cNvGrpSpPr/>
          <p:nvPr/>
        </p:nvGrpSpPr>
        <p:grpSpPr>
          <a:xfrm>
            <a:off x="4981636" y="2646988"/>
            <a:ext cx="541316" cy="539131"/>
            <a:chOff x="4981636" y="2646988"/>
            <a:chExt cx="541316" cy="539131"/>
          </a:xfrm>
        </p:grpSpPr>
        <p:sp>
          <p:nvSpPr>
            <p:cNvPr id="73" name="Freeform: Shape 72">
              <a:extLst>
                <a:ext uri="{FF2B5EF4-FFF2-40B4-BE49-F238E27FC236}">
                  <a16:creationId xmlns:a16="http://schemas.microsoft.com/office/drawing/2014/main" id="{8CA8CC05-6FFA-40E1-B9BF-057D0E8FA931}"/>
                </a:ext>
              </a:extLst>
            </p:cNvPr>
            <p:cNvSpPr/>
            <p:nvPr/>
          </p:nvSpPr>
          <p:spPr>
            <a:xfrm>
              <a:off x="4981636" y="2997545"/>
              <a:ext cx="463986" cy="183661"/>
            </a:xfrm>
            <a:custGeom>
              <a:avLst/>
              <a:gdLst>
                <a:gd name="connsiteX0" fmla="*/ 299380 w 457200"/>
                <a:gd name="connsiteY0" fmla="*/ 22319 h 180975"/>
                <a:gd name="connsiteX1" fmla="*/ 294132 w 457200"/>
                <a:gd name="connsiteY1" fmla="*/ 23891 h 180975"/>
                <a:gd name="connsiteX2" fmla="*/ 219075 w 457200"/>
                <a:gd name="connsiteY2" fmla="*/ 23891 h 180975"/>
                <a:gd name="connsiteX3" fmla="*/ 190500 w 457200"/>
                <a:gd name="connsiteY3" fmla="*/ 52466 h 180975"/>
                <a:gd name="connsiteX4" fmla="*/ 219075 w 457200"/>
                <a:gd name="connsiteY4" fmla="*/ 81041 h 180975"/>
                <a:gd name="connsiteX5" fmla="*/ 342900 w 457200"/>
                <a:gd name="connsiteY5" fmla="*/ 81041 h 180975"/>
                <a:gd name="connsiteX6" fmla="*/ 342900 w 457200"/>
                <a:gd name="connsiteY6" fmla="*/ 100091 h 180975"/>
                <a:gd name="connsiteX7" fmla="*/ 200025 w 457200"/>
                <a:gd name="connsiteY7" fmla="*/ 100091 h 180975"/>
                <a:gd name="connsiteX8" fmla="*/ 195767 w 457200"/>
                <a:gd name="connsiteY8" fmla="*/ 99081 h 180975"/>
                <a:gd name="connsiteX9" fmla="*/ 47358 w 457200"/>
                <a:gd name="connsiteY9" fmla="*/ 24786 h 180975"/>
                <a:gd name="connsiteX10" fmla="*/ 13802 w 457200"/>
                <a:gd name="connsiteY10" fmla="*/ 27796 h 180975"/>
                <a:gd name="connsiteX11" fmla="*/ 0 w 457200"/>
                <a:gd name="connsiteY11" fmla="*/ 54752 h 180975"/>
                <a:gd name="connsiteX12" fmla="*/ 0 w 457200"/>
                <a:gd name="connsiteY12" fmla="*/ 55799 h 180975"/>
                <a:gd name="connsiteX13" fmla="*/ 17202 w 457200"/>
                <a:gd name="connsiteY13" fmla="*/ 84765 h 180975"/>
                <a:gd name="connsiteX14" fmla="*/ 178956 w 457200"/>
                <a:gd name="connsiteY14" fmla="*/ 172976 h 180975"/>
                <a:gd name="connsiteX15" fmla="*/ 229172 w 457200"/>
                <a:gd name="connsiteY15" fmla="*/ 185816 h 180975"/>
                <a:gd name="connsiteX16" fmla="*/ 457200 w 457200"/>
                <a:gd name="connsiteY16" fmla="*/ 185816 h 180975"/>
                <a:gd name="connsiteX17" fmla="*/ 457200 w 457200"/>
                <a:gd name="connsiteY17" fmla="*/ 28510 h 180975"/>
                <a:gd name="connsiteX18" fmla="*/ 425101 w 457200"/>
                <a:gd name="connsiteY18" fmla="*/ 10070 h 180975"/>
                <a:gd name="connsiteX19" fmla="*/ 299380 w 457200"/>
                <a:gd name="connsiteY19" fmla="*/ 2231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180975">
                  <a:moveTo>
                    <a:pt x="299380" y="22319"/>
                  </a:moveTo>
                  <a:cubicBezTo>
                    <a:pt x="297821" y="23341"/>
                    <a:pt x="295997" y="23888"/>
                    <a:pt x="294132" y="23891"/>
                  </a:cubicBezTo>
                  <a:lnTo>
                    <a:pt x="219075" y="23891"/>
                  </a:lnTo>
                  <a:cubicBezTo>
                    <a:pt x="203293" y="23891"/>
                    <a:pt x="190500" y="36684"/>
                    <a:pt x="190500" y="52466"/>
                  </a:cubicBezTo>
                  <a:cubicBezTo>
                    <a:pt x="190500" y="68247"/>
                    <a:pt x="203293" y="81041"/>
                    <a:pt x="219075" y="81041"/>
                  </a:cubicBezTo>
                  <a:lnTo>
                    <a:pt x="342900" y="81041"/>
                  </a:lnTo>
                  <a:lnTo>
                    <a:pt x="342900" y="100091"/>
                  </a:lnTo>
                  <a:lnTo>
                    <a:pt x="200025" y="100091"/>
                  </a:lnTo>
                  <a:cubicBezTo>
                    <a:pt x="198546" y="100092"/>
                    <a:pt x="197088" y="99747"/>
                    <a:pt x="195767" y="99081"/>
                  </a:cubicBezTo>
                  <a:lnTo>
                    <a:pt x="47358" y="24786"/>
                  </a:lnTo>
                  <a:cubicBezTo>
                    <a:pt x="36513" y="19312"/>
                    <a:pt x="23499" y="20479"/>
                    <a:pt x="13802" y="27796"/>
                  </a:cubicBezTo>
                  <a:cubicBezTo>
                    <a:pt x="5191" y="34087"/>
                    <a:pt x="71" y="44087"/>
                    <a:pt x="0" y="54752"/>
                  </a:cubicBezTo>
                  <a:lnTo>
                    <a:pt x="0" y="55799"/>
                  </a:lnTo>
                  <a:cubicBezTo>
                    <a:pt x="-25" y="67883"/>
                    <a:pt x="6580" y="79005"/>
                    <a:pt x="17202" y="84765"/>
                  </a:cubicBezTo>
                  <a:lnTo>
                    <a:pt x="178956" y="172976"/>
                  </a:lnTo>
                  <a:cubicBezTo>
                    <a:pt x="194355" y="181394"/>
                    <a:pt x="211622" y="185809"/>
                    <a:pt x="229172" y="185816"/>
                  </a:cubicBezTo>
                  <a:lnTo>
                    <a:pt x="457200" y="185816"/>
                  </a:lnTo>
                  <a:lnTo>
                    <a:pt x="457200" y="28510"/>
                  </a:lnTo>
                  <a:cubicBezTo>
                    <a:pt x="447419" y="20887"/>
                    <a:pt x="436613" y="14680"/>
                    <a:pt x="425101" y="10070"/>
                  </a:cubicBezTo>
                  <a:cubicBezTo>
                    <a:pt x="383739" y="-6838"/>
                    <a:pt x="336700" y="-2255"/>
                    <a:pt x="299380" y="22319"/>
                  </a:cubicBezTo>
                  <a:close/>
                </a:path>
              </a:pathLst>
            </a:custGeom>
            <a:solidFill>
              <a:schemeClr val="accent3"/>
            </a:solidFill>
            <a:ln w="95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D11EE25-6C76-47C3-B9EF-2E5ADE04F0E6}"/>
                </a:ext>
              </a:extLst>
            </p:cNvPr>
            <p:cNvSpPr/>
            <p:nvPr/>
          </p:nvSpPr>
          <p:spPr>
            <a:xfrm>
              <a:off x="5464954" y="3031457"/>
              <a:ext cx="57998" cy="154662"/>
            </a:xfrm>
            <a:custGeom>
              <a:avLst/>
              <a:gdLst>
                <a:gd name="connsiteX0" fmla="*/ 0 w 57150"/>
                <a:gd name="connsiteY0" fmla="*/ 0 h 152400"/>
                <a:gd name="connsiteX1" fmla="*/ 0 w 57150"/>
                <a:gd name="connsiteY1" fmla="*/ 152400 h 152400"/>
                <a:gd name="connsiteX2" fmla="*/ 57150 w 57150"/>
                <a:gd name="connsiteY2" fmla="*/ 152400 h 152400"/>
                <a:gd name="connsiteX3" fmla="*/ 57150 w 57150"/>
                <a:gd name="connsiteY3" fmla="*/ 0 h 152400"/>
                <a:gd name="connsiteX4" fmla="*/ 38100 w 57150"/>
                <a:gd name="connsiteY4" fmla="*/ 123825 h 152400"/>
                <a:gd name="connsiteX5" fmla="*/ 19050 w 57150"/>
                <a:gd name="connsiteY5" fmla="*/ 123825 h 152400"/>
                <a:gd name="connsiteX6" fmla="*/ 19050 w 57150"/>
                <a:gd name="connsiteY6" fmla="*/ 104775 h 152400"/>
                <a:gd name="connsiteX7" fmla="*/ 38100 w 57150"/>
                <a:gd name="connsiteY7" fmla="*/ 1047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152400">
                  <a:moveTo>
                    <a:pt x="0" y="0"/>
                  </a:moveTo>
                  <a:lnTo>
                    <a:pt x="0" y="152400"/>
                  </a:lnTo>
                  <a:lnTo>
                    <a:pt x="57150" y="152400"/>
                  </a:lnTo>
                  <a:lnTo>
                    <a:pt x="57150" y="0"/>
                  </a:lnTo>
                  <a:close/>
                  <a:moveTo>
                    <a:pt x="38100" y="123825"/>
                  </a:moveTo>
                  <a:lnTo>
                    <a:pt x="19050" y="123825"/>
                  </a:lnTo>
                  <a:lnTo>
                    <a:pt x="19050" y="104775"/>
                  </a:lnTo>
                  <a:lnTo>
                    <a:pt x="38100" y="104775"/>
                  </a:lnTo>
                  <a:close/>
                </a:path>
              </a:pathLst>
            </a:custGeom>
            <a:solidFill>
              <a:schemeClr val="accent5"/>
            </a:solidFill>
            <a:ln w="9525" cap="flat">
              <a:noFill/>
              <a:prstDash val="solid"/>
              <a:miter/>
            </a:ln>
          </p:spPr>
          <p:txBody>
            <a:bodyPr rtlCol="0" anchor="ctr"/>
            <a:lstStyle/>
            <a:p>
              <a:endParaRPr lang="en-US"/>
            </a:p>
          </p:txBody>
        </p:sp>
        <p:grpSp>
          <p:nvGrpSpPr>
            <p:cNvPr id="76" name="Graphic 28" descr="Stars">
              <a:extLst>
                <a:ext uri="{FF2B5EF4-FFF2-40B4-BE49-F238E27FC236}">
                  <a16:creationId xmlns:a16="http://schemas.microsoft.com/office/drawing/2014/main" id="{68BEE5B2-E8A8-4A7E-ACF8-48267C3C072A}"/>
                </a:ext>
              </a:extLst>
            </p:cNvPr>
            <p:cNvGrpSpPr/>
            <p:nvPr/>
          </p:nvGrpSpPr>
          <p:grpSpPr>
            <a:xfrm>
              <a:off x="5000497" y="2646988"/>
              <a:ext cx="384469" cy="384469"/>
              <a:chOff x="10769037" y="3099178"/>
              <a:chExt cx="914400" cy="914400"/>
            </a:xfrm>
          </p:grpSpPr>
          <p:sp>
            <p:nvSpPr>
              <p:cNvPr id="77" name="Freeform: Shape 76">
                <a:extLst>
                  <a:ext uri="{FF2B5EF4-FFF2-40B4-BE49-F238E27FC236}">
                    <a16:creationId xmlns:a16="http://schemas.microsoft.com/office/drawing/2014/main" id="{78A089A5-8940-43CD-BD5A-C7663E69A835}"/>
                  </a:ext>
                </a:extLst>
              </p:cNvPr>
              <p:cNvSpPr/>
              <p:nvPr/>
            </p:nvSpPr>
            <p:spPr>
              <a:xfrm>
                <a:off x="10873109" y="3203953"/>
                <a:ext cx="381000" cy="371475"/>
              </a:xfrm>
              <a:custGeom>
                <a:avLst/>
                <a:gdLst>
                  <a:gd name="connsiteX0" fmla="*/ 373131 w 381000"/>
                  <a:gd name="connsiteY0" fmla="*/ 167640 h 371475"/>
                  <a:gd name="connsiteX1" fmla="*/ 380751 w 381000"/>
                  <a:gd name="connsiteY1" fmla="*/ 138113 h 371475"/>
                  <a:gd name="connsiteX2" fmla="*/ 355986 w 381000"/>
                  <a:gd name="connsiteY2" fmla="*/ 120968 h 371475"/>
                  <a:gd name="connsiteX3" fmla="*/ 268356 w 381000"/>
                  <a:gd name="connsiteY3" fmla="*/ 120968 h 371475"/>
                  <a:gd name="connsiteX4" fmla="*/ 243591 w 381000"/>
                  <a:gd name="connsiteY4" fmla="*/ 102870 h 371475"/>
                  <a:gd name="connsiteX5" fmla="*/ 215968 w 381000"/>
                  <a:gd name="connsiteY5" fmla="*/ 18097 h 371475"/>
                  <a:gd name="connsiteX6" fmla="*/ 191203 w 381000"/>
                  <a:gd name="connsiteY6" fmla="*/ 0 h 371475"/>
                  <a:gd name="connsiteX7" fmla="*/ 166438 w 381000"/>
                  <a:gd name="connsiteY7" fmla="*/ 18097 h 371475"/>
                  <a:gd name="connsiteX8" fmla="*/ 138816 w 381000"/>
                  <a:gd name="connsiteY8" fmla="*/ 102870 h 371475"/>
                  <a:gd name="connsiteX9" fmla="*/ 114051 w 381000"/>
                  <a:gd name="connsiteY9" fmla="*/ 120968 h 371475"/>
                  <a:gd name="connsiteX10" fmla="*/ 26421 w 381000"/>
                  <a:gd name="connsiteY10" fmla="*/ 120968 h 371475"/>
                  <a:gd name="connsiteX11" fmla="*/ 1656 w 381000"/>
                  <a:gd name="connsiteY11" fmla="*/ 138113 h 371475"/>
                  <a:gd name="connsiteX12" fmla="*/ 9276 w 381000"/>
                  <a:gd name="connsiteY12" fmla="*/ 167640 h 371475"/>
                  <a:gd name="connsiteX13" fmla="*/ 39756 w 381000"/>
                  <a:gd name="connsiteY13" fmla="*/ 195263 h 371475"/>
                  <a:gd name="connsiteX14" fmla="*/ 78808 w 381000"/>
                  <a:gd name="connsiteY14" fmla="*/ 229552 h 371475"/>
                  <a:gd name="connsiteX15" fmla="*/ 86428 w 381000"/>
                  <a:gd name="connsiteY15" fmla="*/ 241935 h 371475"/>
                  <a:gd name="connsiteX16" fmla="*/ 86428 w 381000"/>
                  <a:gd name="connsiteY16" fmla="*/ 257175 h 371475"/>
                  <a:gd name="connsiteX17" fmla="*/ 59758 w 381000"/>
                  <a:gd name="connsiteY17" fmla="*/ 346710 h 371475"/>
                  <a:gd name="connsiteX18" fmla="*/ 69283 w 381000"/>
                  <a:gd name="connsiteY18" fmla="*/ 375285 h 371475"/>
                  <a:gd name="connsiteX19" fmla="*/ 99763 w 381000"/>
                  <a:gd name="connsiteY19" fmla="*/ 376238 h 371475"/>
                  <a:gd name="connsiteX20" fmla="*/ 175963 w 381000"/>
                  <a:gd name="connsiteY20" fmla="*/ 322898 h 371475"/>
                  <a:gd name="connsiteX21" fmla="*/ 205491 w 381000"/>
                  <a:gd name="connsiteY21" fmla="*/ 322898 h 371475"/>
                  <a:gd name="connsiteX22" fmla="*/ 281691 w 381000"/>
                  <a:gd name="connsiteY22" fmla="*/ 376238 h 371475"/>
                  <a:gd name="connsiteX23" fmla="*/ 312171 w 381000"/>
                  <a:gd name="connsiteY23" fmla="*/ 375285 h 371475"/>
                  <a:gd name="connsiteX24" fmla="*/ 321696 w 381000"/>
                  <a:gd name="connsiteY24" fmla="*/ 346710 h 371475"/>
                  <a:gd name="connsiteX25" fmla="*/ 295978 w 381000"/>
                  <a:gd name="connsiteY25" fmla="*/ 257175 h 371475"/>
                  <a:gd name="connsiteX26" fmla="*/ 303598 w 381000"/>
                  <a:gd name="connsiteY26" fmla="*/ 229552 h 371475"/>
                  <a:gd name="connsiteX27" fmla="*/ 373131 w 381000"/>
                  <a:gd name="connsiteY27" fmla="*/ 16764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0" h="371475">
                    <a:moveTo>
                      <a:pt x="373131" y="167640"/>
                    </a:moveTo>
                    <a:cubicBezTo>
                      <a:pt x="381703" y="160020"/>
                      <a:pt x="384561" y="148590"/>
                      <a:pt x="380751" y="138113"/>
                    </a:cubicBezTo>
                    <a:cubicBezTo>
                      <a:pt x="376941" y="127635"/>
                      <a:pt x="367416" y="120968"/>
                      <a:pt x="355986" y="120968"/>
                    </a:cubicBezTo>
                    <a:lnTo>
                      <a:pt x="268356" y="120968"/>
                    </a:lnTo>
                    <a:cubicBezTo>
                      <a:pt x="256926" y="120968"/>
                      <a:pt x="247401" y="113348"/>
                      <a:pt x="243591" y="102870"/>
                    </a:cubicBezTo>
                    <a:lnTo>
                      <a:pt x="215968" y="18097"/>
                    </a:lnTo>
                    <a:cubicBezTo>
                      <a:pt x="212158" y="7620"/>
                      <a:pt x="202633" y="0"/>
                      <a:pt x="191203" y="0"/>
                    </a:cubicBezTo>
                    <a:cubicBezTo>
                      <a:pt x="179773" y="0"/>
                      <a:pt x="170248" y="7620"/>
                      <a:pt x="166438" y="18097"/>
                    </a:cubicBezTo>
                    <a:lnTo>
                      <a:pt x="138816" y="102870"/>
                    </a:lnTo>
                    <a:cubicBezTo>
                      <a:pt x="135006" y="113348"/>
                      <a:pt x="125481" y="120968"/>
                      <a:pt x="114051" y="120968"/>
                    </a:cubicBezTo>
                    <a:lnTo>
                      <a:pt x="26421" y="120968"/>
                    </a:lnTo>
                    <a:cubicBezTo>
                      <a:pt x="15943" y="120968"/>
                      <a:pt x="5466" y="127635"/>
                      <a:pt x="1656" y="138113"/>
                    </a:cubicBezTo>
                    <a:cubicBezTo>
                      <a:pt x="-2154" y="148590"/>
                      <a:pt x="703" y="160020"/>
                      <a:pt x="9276" y="167640"/>
                    </a:cubicBezTo>
                    <a:lnTo>
                      <a:pt x="39756" y="195263"/>
                    </a:lnTo>
                    <a:lnTo>
                      <a:pt x="78808" y="229552"/>
                    </a:lnTo>
                    <a:cubicBezTo>
                      <a:pt x="82618" y="233363"/>
                      <a:pt x="85476" y="237173"/>
                      <a:pt x="86428" y="241935"/>
                    </a:cubicBezTo>
                    <a:cubicBezTo>
                      <a:pt x="87381" y="246698"/>
                      <a:pt x="87381" y="252413"/>
                      <a:pt x="86428" y="257175"/>
                    </a:cubicBezTo>
                    <a:lnTo>
                      <a:pt x="59758" y="346710"/>
                    </a:lnTo>
                    <a:cubicBezTo>
                      <a:pt x="55948" y="357188"/>
                      <a:pt x="59758" y="368618"/>
                      <a:pt x="69283" y="375285"/>
                    </a:cubicBezTo>
                    <a:cubicBezTo>
                      <a:pt x="77856" y="381953"/>
                      <a:pt x="90238" y="381953"/>
                      <a:pt x="99763" y="376238"/>
                    </a:cubicBezTo>
                    <a:lnTo>
                      <a:pt x="175963" y="322898"/>
                    </a:lnTo>
                    <a:cubicBezTo>
                      <a:pt x="184536" y="316230"/>
                      <a:pt x="196918" y="316230"/>
                      <a:pt x="205491" y="322898"/>
                    </a:cubicBezTo>
                    <a:lnTo>
                      <a:pt x="281691" y="376238"/>
                    </a:lnTo>
                    <a:cubicBezTo>
                      <a:pt x="291216" y="382905"/>
                      <a:pt x="302646" y="381953"/>
                      <a:pt x="312171" y="375285"/>
                    </a:cubicBezTo>
                    <a:cubicBezTo>
                      <a:pt x="320743" y="368618"/>
                      <a:pt x="324553" y="357188"/>
                      <a:pt x="321696" y="346710"/>
                    </a:cubicBezTo>
                    <a:lnTo>
                      <a:pt x="295978" y="257175"/>
                    </a:lnTo>
                    <a:cubicBezTo>
                      <a:pt x="293121" y="247650"/>
                      <a:pt x="295978" y="236220"/>
                      <a:pt x="303598" y="229552"/>
                    </a:cubicBezTo>
                    <a:lnTo>
                      <a:pt x="373131" y="167640"/>
                    </a:lnTo>
                    <a:close/>
                  </a:path>
                </a:pathLst>
              </a:custGeom>
              <a:solidFill>
                <a:schemeClr val="tx2"/>
              </a:solid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0D2CC9FC-5F1F-46B9-9721-08A73AA4E60E}"/>
                  </a:ext>
                </a:extLst>
              </p:cNvPr>
              <p:cNvSpPr/>
              <p:nvPr/>
            </p:nvSpPr>
            <p:spPr>
              <a:xfrm>
                <a:off x="11274481" y="3375403"/>
                <a:ext cx="295275" cy="295275"/>
              </a:xfrm>
              <a:custGeom>
                <a:avLst/>
                <a:gdLst>
                  <a:gd name="connsiteX0" fmla="*/ 296561 w 295275"/>
                  <a:gd name="connsiteY0" fmla="*/ 134302 h 295275"/>
                  <a:gd name="connsiteX1" fmla="*/ 302276 w 295275"/>
                  <a:gd name="connsiteY1" fmla="*/ 111443 h 295275"/>
                  <a:gd name="connsiteX2" fmla="*/ 283226 w 295275"/>
                  <a:gd name="connsiteY2" fmla="*/ 97155 h 295275"/>
                  <a:gd name="connsiteX3" fmla="*/ 213693 w 295275"/>
                  <a:gd name="connsiteY3" fmla="*/ 97155 h 295275"/>
                  <a:gd name="connsiteX4" fmla="*/ 193691 w 295275"/>
                  <a:gd name="connsiteY4" fmla="*/ 82868 h 295275"/>
                  <a:gd name="connsiteX5" fmla="*/ 171783 w 295275"/>
                  <a:gd name="connsiteY5" fmla="*/ 14288 h 295275"/>
                  <a:gd name="connsiteX6" fmla="*/ 151781 w 295275"/>
                  <a:gd name="connsiteY6" fmla="*/ 0 h 295275"/>
                  <a:gd name="connsiteX7" fmla="*/ 131778 w 295275"/>
                  <a:gd name="connsiteY7" fmla="*/ 14288 h 295275"/>
                  <a:gd name="connsiteX8" fmla="*/ 109871 w 295275"/>
                  <a:gd name="connsiteY8" fmla="*/ 82868 h 295275"/>
                  <a:gd name="connsiteX9" fmla="*/ 89868 w 295275"/>
                  <a:gd name="connsiteY9" fmla="*/ 97155 h 295275"/>
                  <a:gd name="connsiteX10" fmla="*/ 20336 w 295275"/>
                  <a:gd name="connsiteY10" fmla="*/ 97155 h 295275"/>
                  <a:gd name="connsiteX11" fmla="*/ 1286 w 295275"/>
                  <a:gd name="connsiteY11" fmla="*/ 111443 h 295275"/>
                  <a:gd name="connsiteX12" fmla="*/ 7001 w 295275"/>
                  <a:gd name="connsiteY12" fmla="*/ 134302 h 295275"/>
                  <a:gd name="connsiteX13" fmla="*/ 31766 w 295275"/>
                  <a:gd name="connsiteY13" fmla="*/ 156210 h 295275"/>
                  <a:gd name="connsiteX14" fmla="*/ 63198 w 295275"/>
                  <a:gd name="connsiteY14" fmla="*/ 183833 h 295275"/>
                  <a:gd name="connsiteX15" fmla="*/ 69866 w 295275"/>
                  <a:gd name="connsiteY15" fmla="*/ 194310 h 295275"/>
                  <a:gd name="connsiteX16" fmla="*/ 69866 w 295275"/>
                  <a:gd name="connsiteY16" fmla="*/ 206693 h 295275"/>
                  <a:gd name="connsiteX17" fmla="*/ 47006 w 295275"/>
                  <a:gd name="connsiteY17" fmla="*/ 277178 h 295275"/>
                  <a:gd name="connsiteX18" fmla="*/ 54626 w 295275"/>
                  <a:gd name="connsiteY18" fmla="*/ 300038 h 295275"/>
                  <a:gd name="connsiteX19" fmla="*/ 78438 w 295275"/>
                  <a:gd name="connsiteY19" fmla="*/ 300038 h 295275"/>
                  <a:gd name="connsiteX20" fmla="*/ 139398 w 295275"/>
                  <a:gd name="connsiteY20" fmla="*/ 257175 h 295275"/>
                  <a:gd name="connsiteX21" fmla="*/ 163211 w 295275"/>
                  <a:gd name="connsiteY21" fmla="*/ 257175 h 295275"/>
                  <a:gd name="connsiteX22" fmla="*/ 224171 w 295275"/>
                  <a:gd name="connsiteY22" fmla="*/ 300038 h 295275"/>
                  <a:gd name="connsiteX23" fmla="*/ 248936 w 295275"/>
                  <a:gd name="connsiteY23" fmla="*/ 300038 h 295275"/>
                  <a:gd name="connsiteX24" fmla="*/ 256556 w 295275"/>
                  <a:gd name="connsiteY24" fmla="*/ 276225 h 295275"/>
                  <a:gd name="connsiteX25" fmla="*/ 235601 w 295275"/>
                  <a:gd name="connsiteY25" fmla="*/ 204788 h 295275"/>
                  <a:gd name="connsiteX26" fmla="*/ 242268 w 295275"/>
                  <a:gd name="connsiteY26" fmla="*/ 182880 h 295275"/>
                  <a:gd name="connsiteX27" fmla="*/ 296561 w 295275"/>
                  <a:gd name="connsiteY27" fmla="*/ 13430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275" h="295275">
                    <a:moveTo>
                      <a:pt x="296561" y="134302"/>
                    </a:moveTo>
                    <a:cubicBezTo>
                      <a:pt x="303228" y="128588"/>
                      <a:pt x="305133" y="119063"/>
                      <a:pt x="302276" y="111443"/>
                    </a:cubicBezTo>
                    <a:cubicBezTo>
                      <a:pt x="299418" y="102870"/>
                      <a:pt x="291798" y="98107"/>
                      <a:pt x="283226" y="97155"/>
                    </a:cubicBezTo>
                    <a:lnTo>
                      <a:pt x="213693" y="97155"/>
                    </a:lnTo>
                    <a:cubicBezTo>
                      <a:pt x="205121" y="97155"/>
                      <a:pt x="196548" y="91440"/>
                      <a:pt x="193691" y="82868"/>
                    </a:cubicBezTo>
                    <a:lnTo>
                      <a:pt x="171783" y="14288"/>
                    </a:lnTo>
                    <a:cubicBezTo>
                      <a:pt x="168926" y="5715"/>
                      <a:pt x="161306" y="0"/>
                      <a:pt x="151781" y="0"/>
                    </a:cubicBezTo>
                    <a:cubicBezTo>
                      <a:pt x="143208" y="0"/>
                      <a:pt x="134636" y="5715"/>
                      <a:pt x="131778" y="14288"/>
                    </a:cubicBezTo>
                    <a:lnTo>
                      <a:pt x="109871" y="82868"/>
                    </a:lnTo>
                    <a:cubicBezTo>
                      <a:pt x="107013" y="91440"/>
                      <a:pt x="99393" y="97155"/>
                      <a:pt x="89868" y="97155"/>
                    </a:cubicBezTo>
                    <a:lnTo>
                      <a:pt x="20336" y="97155"/>
                    </a:lnTo>
                    <a:cubicBezTo>
                      <a:pt x="11763" y="97155"/>
                      <a:pt x="4143" y="102870"/>
                      <a:pt x="1286" y="111443"/>
                    </a:cubicBezTo>
                    <a:cubicBezTo>
                      <a:pt x="-1572" y="120015"/>
                      <a:pt x="333" y="128588"/>
                      <a:pt x="7001" y="134302"/>
                    </a:cubicBezTo>
                    <a:lnTo>
                      <a:pt x="31766" y="156210"/>
                    </a:lnTo>
                    <a:lnTo>
                      <a:pt x="63198" y="183833"/>
                    </a:lnTo>
                    <a:cubicBezTo>
                      <a:pt x="66056" y="186690"/>
                      <a:pt x="67961" y="190500"/>
                      <a:pt x="69866" y="194310"/>
                    </a:cubicBezTo>
                    <a:cubicBezTo>
                      <a:pt x="70818" y="198120"/>
                      <a:pt x="70818" y="201930"/>
                      <a:pt x="69866" y="206693"/>
                    </a:cubicBezTo>
                    <a:lnTo>
                      <a:pt x="47006" y="277178"/>
                    </a:lnTo>
                    <a:cubicBezTo>
                      <a:pt x="44148" y="285750"/>
                      <a:pt x="47006" y="295275"/>
                      <a:pt x="54626" y="300038"/>
                    </a:cubicBezTo>
                    <a:cubicBezTo>
                      <a:pt x="62246" y="305753"/>
                      <a:pt x="71771" y="305753"/>
                      <a:pt x="78438" y="300038"/>
                    </a:cubicBezTo>
                    <a:lnTo>
                      <a:pt x="139398" y="257175"/>
                    </a:lnTo>
                    <a:cubicBezTo>
                      <a:pt x="146066" y="252413"/>
                      <a:pt x="155591" y="252413"/>
                      <a:pt x="163211" y="257175"/>
                    </a:cubicBezTo>
                    <a:lnTo>
                      <a:pt x="224171" y="300038"/>
                    </a:lnTo>
                    <a:cubicBezTo>
                      <a:pt x="231791" y="305753"/>
                      <a:pt x="241316" y="305753"/>
                      <a:pt x="248936" y="300038"/>
                    </a:cubicBezTo>
                    <a:cubicBezTo>
                      <a:pt x="256556" y="294323"/>
                      <a:pt x="259413" y="284798"/>
                      <a:pt x="256556" y="276225"/>
                    </a:cubicBezTo>
                    <a:lnTo>
                      <a:pt x="235601" y="204788"/>
                    </a:lnTo>
                    <a:cubicBezTo>
                      <a:pt x="233696" y="197168"/>
                      <a:pt x="235601" y="188595"/>
                      <a:pt x="242268" y="182880"/>
                    </a:cubicBezTo>
                    <a:lnTo>
                      <a:pt x="296561" y="134302"/>
                    </a:lnTo>
                    <a:close/>
                  </a:path>
                </a:pathLst>
              </a:custGeom>
              <a:solidFill>
                <a:schemeClr val="accent5"/>
              </a:solid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9F3944B1-8541-4B9B-9A4D-DAAD7D6379E8}"/>
                  </a:ext>
                </a:extLst>
              </p:cNvPr>
              <p:cNvSpPr/>
              <p:nvPr/>
            </p:nvSpPr>
            <p:spPr>
              <a:xfrm>
                <a:off x="11083584" y="3680203"/>
                <a:ext cx="219075" cy="219075"/>
              </a:xfrm>
              <a:custGeom>
                <a:avLst/>
                <a:gdLst>
                  <a:gd name="connsiteX0" fmla="*/ 222663 w 219075"/>
                  <a:gd name="connsiteY0" fmla="*/ 100965 h 219075"/>
                  <a:gd name="connsiteX1" fmla="*/ 227425 w 219075"/>
                  <a:gd name="connsiteY1" fmla="*/ 83820 h 219075"/>
                  <a:gd name="connsiteX2" fmla="*/ 213138 w 219075"/>
                  <a:gd name="connsiteY2" fmla="*/ 73342 h 219075"/>
                  <a:gd name="connsiteX3" fmla="*/ 160750 w 219075"/>
                  <a:gd name="connsiteY3" fmla="*/ 73342 h 219075"/>
                  <a:gd name="connsiteX4" fmla="*/ 146463 w 219075"/>
                  <a:gd name="connsiteY4" fmla="*/ 62865 h 219075"/>
                  <a:gd name="connsiteX5" fmla="*/ 129317 w 219075"/>
                  <a:gd name="connsiteY5" fmla="*/ 11430 h 219075"/>
                  <a:gd name="connsiteX6" fmla="*/ 114078 w 219075"/>
                  <a:gd name="connsiteY6" fmla="*/ 0 h 219075"/>
                  <a:gd name="connsiteX7" fmla="*/ 98838 w 219075"/>
                  <a:gd name="connsiteY7" fmla="*/ 10477 h 219075"/>
                  <a:gd name="connsiteX8" fmla="*/ 81692 w 219075"/>
                  <a:gd name="connsiteY8" fmla="*/ 61913 h 219075"/>
                  <a:gd name="connsiteX9" fmla="*/ 67405 w 219075"/>
                  <a:gd name="connsiteY9" fmla="*/ 72390 h 219075"/>
                  <a:gd name="connsiteX10" fmla="*/ 15017 w 219075"/>
                  <a:gd name="connsiteY10" fmla="*/ 72390 h 219075"/>
                  <a:gd name="connsiteX11" fmla="*/ 730 w 219075"/>
                  <a:gd name="connsiteY11" fmla="*/ 82867 h 219075"/>
                  <a:gd name="connsiteX12" fmla="*/ 5492 w 219075"/>
                  <a:gd name="connsiteY12" fmla="*/ 100013 h 219075"/>
                  <a:gd name="connsiteX13" fmla="*/ 23590 w 219075"/>
                  <a:gd name="connsiteY13" fmla="*/ 116205 h 219075"/>
                  <a:gd name="connsiteX14" fmla="*/ 46450 w 219075"/>
                  <a:gd name="connsiteY14" fmla="*/ 137160 h 219075"/>
                  <a:gd name="connsiteX15" fmla="*/ 51213 w 219075"/>
                  <a:gd name="connsiteY15" fmla="*/ 144780 h 219075"/>
                  <a:gd name="connsiteX16" fmla="*/ 51213 w 219075"/>
                  <a:gd name="connsiteY16" fmla="*/ 153352 h 219075"/>
                  <a:gd name="connsiteX17" fmla="*/ 35020 w 219075"/>
                  <a:gd name="connsiteY17" fmla="*/ 207645 h 219075"/>
                  <a:gd name="connsiteX18" fmla="*/ 40735 w 219075"/>
                  <a:gd name="connsiteY18" fmla="*/ 224790 h 219075"/>
                  <a:gd name="connsiteX19" fmla="*/ 58833 w 219075"/>
                  <a:gd name="connsiteY19" fmla="*/ 224790 h 219075"/>
                  <a:gd name="connsiteX20" fmla="*/ 104553 w 219075"/>
                  <a:gd name="connsiteY20" fmla="*/ 192405 h 219075"/>
                  <a:gd name="connsiteX21" fmla="*/ 122650 w 219075"/>
                  <a:gd name="connsiteY21" fmla="*/ 192405 h 219075"/>
                  <a:gd name="connsiteX22" fmla="*/ 168370 w 219075"/>
                  <a:gd name="connsiteY22" fmla="*/ 224790 h 219075"/>
                  <a:gd name="connsiteX23" fmla="*/ 186467 w 219075"/>
                  <a:gd name="connsiteY23" fmla="*/ 224790 h 219075"/>
                  <a:gd name="connsiteX24" fmla="*/ 192183 w 219075"/>
                  <a:gd name="connsiteY24" fmla="*/ 207645 h 219075"/>
                  <a:gd name="connsiteX25" fmla="*/ 175990 w 219075"/>
                  <a:gd name="connsiteY25" fmla="*/ 153352 h 219075"/>
                  <a:gd name="connsiteX26" fmla="*/ 180753 w 219075"/>
                  <a:gd name="connsiteY26" fmla="*/ 137160 h 219075"/>
                  <a:gd name="connsiteX27" fmla="*/ 222663 w 219075"/>
                  <a:gd name="connsiteY27" fmla="*/ 100965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9075" h="219075">
                    <a:moveTo>
                      <a:pt x="222663" y="100965"/>
                    </a:moveTo>
                    <a:cubicBezTo>
                      <a:pt x="227425" y="96202"/>
                      <a:pt x="229330" y="89535"/>
                      <a:pt x="227425" y="83820"/>
                    </a:cubicBezTo>
                    <a:cubicBezTo>
                      <a:pt x="225520" y="78105"/>
                      <a:pt x="218853" y="73342"/>
                      <a:pt x="213138" y="73342"/>
                    </a:cubicBezTo>
                    <a:lnTo>
                      <a:pt x="160750" y="73342"/>
                    </a:lnTo>
                    <a:cubicBezTo>
                      <a:pt x="154083" y="73342"/>
                      <a:pt x="148367" y="68580"/>
                      <a:pt x="146463" y="62865"/>
                    </a:cubicBezTo>
                    <a:lnTo>
                      <a:pt x="129317" y="11430"/>
                    </a:lnTo>
                    <a:cubicBezTo>
                      <a:pt x="126460" y="4763"/>
                      <a:pt x="120745" y="0"/>
                      <a:pt x="114078" y="0"/>
                    </a:cubicBezTo>
                    <a:cubicBezTo>
                      <a:pt x="107410" y="0"/>
                      <a:pt x="101695" y="4763"/>
                      <a:pt x="98838" y="10477"/>
                    </a:cubicBezTo>
                    <a:lnTo>
                      <a:pt x="81692" y="61913"/>
                    </a:lnTo>
                    <a:cubicBezTo>
                      <a:pt x="79788" y="68580"/>
                      <a:pt x="74073" y="72390"/>
                      <a:pt x="67405" y="72390"/>
                    </a:cubicBezTo>
                    <a:lnTo>
                      <a:pt x="15017" y="72390"/>
                    </a:lnTo>
                    <a:cubicBezTo>
                      <a:pt x="8350" y="72390"/>
                      <a:pt x="2635" y="76200"/>
                      <a:pt x="730" y="82867"/>
                    </a:cubicBezTo>
                    <a:cubicBezTo>
                      <a:pt x="-1175" y="88583"/>
                      <a:pt x="730" y="96202"/>
                      <a:pt x="5492" y="100013"/>
                    </a:cubicBezTo>
                    <a:lnTo>
                      <a:pt x="23590" y="116205"/>
                    </a:lnTo>
                    <a:lnTo>
                      <a:pt x="46450" y="137160"/>
                    </a:lnTo>
                    <a:cubicBezTo>
                      <a:pt x="48355" y="139065"/>
                      <a:pt x="50260" y="141923"/>
                      <a:pt x="51213" y="144780"/>
                    </a:cubicBezTo>
                    <a:cubicBezTo>
                      <a:pt x="52165" y="147638"/>
                      <a:pt x="52165" y="150495"/>
                      <a:pt x="51213" y="153352"/>
                    </a:cubicBezTo>
                    <a:lnTo>
                      <a:pt x="35020" y="207645"/>
                    </a:lnTo>
                    <a:cubicBezTo>
                      <a:pt x="33115" y="214313"/>
                      <a:pt x="35020" y="220980"/>
                      <a:pt x="40735" y="224790"/>
                    </a:cubicBezTo>
                    <a:cubicBezTo>
                      <a:pt x="46450" y="228600"/>
                      <a:pt x="53117" y="228600"/>
                      <a:pt x="58833" y="224790"/>
                    </a:cubicBezTo>
                    <a:lnTo>
                      <a:pt x="104553" y="192405"/>
                    </a:lnTo>
                    <a:cubicBezTo>
                      <a:pt x="110267" y="188595"/>
                      <a:pt x="116935" y="188595"/>
                      <a:pt x="122650" y="192405"/>
                    </a:cubicBezTo>
                    <a:lnTo>
                      <a:pt x="168370" y="224790"/>
                    </a:lnTo>
                    <a:cubicBezTo>
                      <a:pt x="174085" y="228600"/>
                      <a:pt x="180753" y="228600"/>
                      <a:pt x="186467" y="224790"/>
                    </a:cubicBezTo>
                    <a:cubicBezTo>
                      <a:pt x="192183" y="220980"/>
                      <a:pt x="194088" y="213360"/>
                      <a:pt x="192183" y="207645"/>
                    </a:cubicBezTo>
                    <a:lnTo>
                      <a:pt x="175990" y="153352"/>
                    </a:lnTo>
                    <a:cubicBezTo>
                      <a:pt x="174085" y="147638"/>
                      <a:pt x="175990" y="140970"/>
                      <a:pt x="180753" y="137160"/>
                    </a:cubicBezTo>
                    <a:lnTo>
                      <a:pt x="222663" y="100965"/>
                    </a:lnTo>
                    <a:close/>
                  </a:path>
                </a:pathLst>
              </a:custGeom>
              <a:solidFill>
                <a:schemeClr val="accent3"/>
              </a:solidFill>
              <a:ln w="9525" cap="flat">
                <a:noFill/>
                <a:prstDash val="solid"/>
                <a:miter/>
              </a:ln>
            </p:spPr>
            <p:txBody>
              <a:bodyPr rtlCol="0" anchor="ctr"/>
              <a:lstStyle/>
              <a:p>
                <a:endParaRPr lang="en-US"/>
              </a:p>
            </p:txBody>
          </p:sp>
        </p:grpSp>
      </p:grpSp>
      <p:sp>
        <p:nvSpPr>
          <p:cNvPr id="27" name="Footer Placeholder 1">
            <a:extLst>
              <a:ext uri="{FF2B5EF4-FFF2-40B4-BE49-F238E27FC236}">
                <a16:creationId xmlns:a16="http://schemas.microsoft.com/office/drawing/2014/main" id="{C3377B6C-CADE-41CE-BB8D-14A1D4ADB9D4}"/>
              </a:ext>
            </a:extLst>
          </p:cNvPr>
          <p:cNvSpPr txBox="1">
            <a:spLocks/>
          </p:cNvSpPr>
          <p:nvPr/>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Power Virtual Agents</a:t>
            </a:r>
          </a:p>
        </p:txBody>
      </p:sp>
    </p:spTree>
    <p:extLst>
      <p:ext uri="{BB962C8B-B14F-4D97-AF65-F5344CB8AC3E}">
        <p14:creationId xmlns:p14="http://schemas.microsoft.com/office/powerpoint/2010/main" val="405949505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p:txBody>
          <a:bodyPr/>
          <a:lstStyle/>
          <a:p>
            <a:r>
              <a:rPr lang="en-US"/>
              <a:t>Get started with a growing library of templates</a:t>
            </a:r>
          </a:p>
        </p:txBody>
      </p:sp>
      <p:sp>
        <p:nvSpPr>
          <p:cNvPr id="15" name="Rectangle 14">
            <a:extLst>
              <a:ext uri="{FF2B5EF4-FFF2-40B4-BE49-F238E27FC236}">
                <a16:creationId xmlns:a16="http://schemas.microsoft.com/office/drawing/2014/main" id="{506604BF-20F9-46FC-9619-8270451E9B59}"/>
              </a:ext>
            </a:extLst>
          </p:cNvPr>
          <p:cNvSpPr/>
          <p:nvPr/>
        </p:nvSpPr>
        <p:spPr bwMode="auto">
          <a:xfrm>
            <a:off x="457200" y="1480457"/>
            <a:ext cx="11277600" cy="476794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6">
            <a:extLst>
              <a:ext uri="{FF2B5EF4-FFF2-40B4-BE49-F238E27FC236}">
                <a16:creationId xmlns:a16="http://schemas.microsoft.com/office/drawing/2014/main" id="{0827B7C7-9854-4DB9-9957-02043AADF1CE}"/>
              </a:ext>
            </a:extLst>
          </p:cNvPr>
          <p:cNvSpPr/>
          <p:nvPr/>
        </p:nvSpPr>
        <p:spPr bwMode="auto">
          <a:xfrm>
            <a:off x="457200" y="1480457"/>
            <a:ext cx="621064" cy="62179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383E59FD-B20F-4AEC-A683-B6F6DE5072C5}"/>
              </a:ext>
            </a:extLst>
          </p:cNvPr>
          <p:cNvGrpSpPr/>
          <p:nvPr/>
        </p:nvGrpSpPr>
        <p:grpSpPr>
          <a:xfrm>
            <a:off x="6435635" y="2040397"/>
            <a:ext cx="4929052" cy="3648062"/>
            <a:chOff x="6717873" y="2251214"/>
            <a:chExt cx="4364575" cy="3230286"/>
          </a:xfrm>
        </p:grpSpPr>
        <p:pic>
          <p:nvPicPr>
            <p:cNvPr id="10" name="Picture 9" descr="A picture containing electronics, display, monitor, screenshot&#10;&#10;Description generated with high confidence">
              <a:extLst>
                <a:ext uri="{FF2B5EF4-FFF2-40B4-BE49-F238E27FC236}">
                  <a16:creationId xmlns:a16="http://schemas.microsoft.com/office/drawing/2014/main" id="{923E8E54-FBE7-42A1-98EE-BA4B5C9F31AA}"/>
                </a:ext>
              </a:extLst>
            </p:cNvPr>
            <p:cNvPicPr>
              <a:picLocks noChangeAspect="1"/>
            </p:cNvPicPr>
            <p:nvPr/>
          </p:nvPicPr>
          <p:blipFill rotWithShape="1">
            <a:blip r:embed="rId3">
              <a:extLst>
                <a:ext uri="{28A0092B-C50C-407E-A947-70E740481C1C}">
                  <a14:useLocalDpi xmlns:a14="http://schemas.microsoft.com/office/drawing/2010/main" val="0"/>
                </a:ext>
              </a:extLst>
            </a:blip>
            <a:srcRect b="23226"/>
            <a:stretch/>
          </p:blipFill>
          <p:spPr>
            <a:xfrm>
              <a:off x="6717873" y="2251214"/>
              <a:ext cx="4364575" cy="3042112"/>
            </a:xfrm>
            <a:prstGeom prst="rect">
              <a:avLst/>
            </a:prstGeom>
            <a:effectLst/>
          </p:spPr>
        </p:pic>
        <p:pic>
          <p:nvPicPr>
            <p:cNvPr id="3" name="Picture 2">
              <a:extLst>
                <a:ext uri="{FF2B5EF4-FFF2-40B4-BE49-F238E27FC236}">
                  <a16:creationId xmlns:a16="http://schemas.microsoft.com/office/drawing/2014/main" id="{E06C4368-F99F-4B29-9B81-984844ABBEA2}"/>
                </a:ext>
              </a:extLst>
            </p:cNvPr>
            <p:cNvPicPr>
              <a:picLocks noChangeAspect="1"/>
            </p:cNvPicPr>
            <p:nvPr/>
          </p:nvPicPr>
          <p:blipFill rotWithShape="1">
            <a:blip r:embed="rId4"/>
            <a:srcRect l="-4659" t="-1370" r="13099" b="1370"/>
            <a:stretch/>
          </p:blipFill>
          <p:spPr>
            <a:xfrm>
              <a:off x="6717873" y="2526407"/>
              <a:ext cx="4181249" cy="2676572"/>
            </a:xfrm>
            <a:prstGeom prst="rect">
              <a:avLst/>
            </a:prstGeom>
          </p:spPr>
        </p:pic>
        <p:pic>
          <p:nvPicPr>
            <p:cNvPr id="8" name="Picture 7">
              <a:extLst>
                <a:ext uri="{FF2B5EF4-FFF2-40B4-BE49-F238E27FC236}">
                  <a16:creationId xmlns:a16="http://schemas.microsoft.com/office/drawing/2014/main" id="{DE6083CF-C5A6-454B-BE13-9F1211D80DB3}"/>
                </a:ext>
              </a:extLst>
            </p:cNvPr>
            <p:cNvPicPr>
              <a:picLocks noChangeAspect="1"/>
            </p:cNvPicPr>
            <p:nvPr/>
          </p:nvPicPr>
          <p:blipFill rotWithShape="1">
            <a:blip r:embed="rId5"/>
            <a:srcRect l="11825" t="6796" r="5145" b="3506"/>
            <a:stretch/>
          </p:blipFill>
          <p:spPr>
            <a:xfrm>
              <a:off x="7433105" y="3675971"/>
              <a:ext cx="1415789" cy="1404941"/>
            </a:xfrm>
            <a:prstGeom prst="rect">
              <a:avLst/>
            </a:prstGeom>
          </p:spPr>
        </p:pic>
        <p:sp>
          <p:nvSpPr>
            <p:cNvPr id="24" name="Graphic 22" descr="Magnifying glass">
              <a:extLst>
                <a:ext uri="{FF2B5EF4-FFF2-40B4-BE49-F238E27FC236}">
                  <a16:creationId xmlns:a16="http://schemas.microsoft.com/office/drawing/2014/main" id="{E88CE2DC-A8BD-43FD-A1CF-F76EC593472D}"/>
                </a:ext>
              </a:extLst>
            </p:cNvPr>
            <p:cNvSpPr/>
            <p:nvPr/>
          </p:nvSpPr>
          <p:spPr>
            <a:xfrm>
              <a:off x="7544071" y="3440302"/>
              <a:ext cx="1980580" cy="2041198"/>
            </a:xfrm>
            <a:custGeom>
              <a:avLst/>
              <a:gdLst>
                <a:gd name="connsiteX0" fmla="*/ 3788864 w 3843060"/>
                <a:gd name="connsiteY0" fmla="*/ 3301057 h 3843021"/>
                <a:gd name="connsiteX1" fmla="*/ 3172989 w 3843060"/>
                <a:gd name="connsiteY1" fmla="*/ 2685188 h 3843021"/>
                <a:gd name="connsiteX2" fmla="*/ 2867515 w 3843060"/>
                <a:gd name="connsiteY2" fmla="*/ 2591576 h 3843021"/>
                <a:gd name="connsiteX3" fmla="*/ 2650727 w 3843060"/>
                <a:gd name="connsiteY3" fmla="*/ 2374790 h 3843021"/>
                <a:gd name="connsiteX4" fmla="*/ 2956200 w 3843060"/>
                <a:gd name="connsiteY4" fmla="*/ 1478085 h 3843021"/>
                <a:gd name="connsiteX5" fmla="*/ 1478100 w 3843060"/>
                <a:gd name="connsiteY5" fmla="*/ 0 h 3843021"/>
                <a:gd name="connsiteX6" fmla="*/ 0 w 3843060"/>
                <a:gd name="connsiteY6" fmla="*/ 1478085 h 3843021"/>
                <a:gd name="connsiteX7" fmla="*/ 1478100 w 3843060"/>
                <a:gd name="connsiteY7" fmla="*/ 2956170 h 3843021"/>
                <a:gd name="connsiteX8" fmla="*/ 2374814 w 3843060"/>
                <a:gd name="connsiteY8" fmla="*/ 2650700 h 3843021"/>
                <a:gd name="connsiteX9" fmla="*/ 2591603 w 3843060"/>
                <a:gd name="connsiteY9" fmla="*/ 2867486 h 3843021"/>
                <a:gd name="connsiteX10" fmla="*/ 2685215 w 3843060"/>
                <a:gd name="connsiteY10" fmla="*/ 3172956 h 3843021"/>
                <a:gd name="connsiteX11" fmla="*/ 3301090 w 3843060"/>
                <a:gd name="connsiteY11" fmla="*/ 3788825 h 3843021"/>
                <a:gd name="connsiteX12" fmla="*/ 3547441 w 3843060"/>
                <a:gd name="connsiteY12" fmla="*/ 3892291 h 3843021"/>
                <a:gd name="connsiteX13" fmla="*/ 3793791 w 3843060"/>
                <a:gd name="connsiteY13" fmla="*/ 3788825 h 3843021"/>
                <a:gd name="connsiteX14" fmla="*/ 3788864 w 3843060"/>
                <a:gd name="connsiteY14" fmla="*/ 3301057 h 3843021"/>
                <a:gd name="connsiteX15" fmla="*/ 1473173 w 3843060"/>
                <a:gd name="connsiteY15" fmla="*/ 2655627 h 3843021"/>
                <a:gd name="connsiteX16" fmla="*/ 290693 w 3843060"/>
                <a:gd name="connsiteY16" fmla="*/ 1473158 h 3843021"/>
                <a:gd name="connsiteX17" fmla="*/ 1473173 w 3843060"/>
                <a:gd name="connsiteY17" fmla="*/ 290690 h 3843021"/>
                <a:gd name="connsiteX18" fmla="*/ 2655653 w 3843060"/>
                <a:gd name="connsiteY18" fmla="*/ 1473158 h 3843021"/>
                <a:gd name="connsiteX19" fmla="*/ 1473173 w 3843060"/>
                <a:gd name="connsiteY19" fmla="*/ 2655627 h 384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43060" h="3843021">
                  <a:moveTo>
                    <a:pt x="3788864" y="3301057"/>
                  </a:moveTo>
                  <a:lnTo>
                    <a:pt x="3172989" y="2685188"/>
                  </a:lnTo>
                  <a:cubicBezTo>
                    <a:pt x="3089230" y="2601430"/>
                    <a:pt x="2975909" y="2571868"/>
                    <a:pt x="2867515" y="2591576"/>
                  </a:cubicBezTo>
                  <a:lnTo>
                    <a:pt x="2650727" y="2374790"/>
                  </a:lnTo>
                  <a:cubicBezTo>
                    <a:pt x="2842880" y="2128443"/>
                    <a:pt x="2956200" y="1813118"/>
                    <a:pt x="2956200" y="1478085"/>
                  </a:cubicBezTo>
                  <a:cubicBezTo>
                    <a:pt x="2956200" y="665138"/>
                    <a:pt x="2291055" y="0"/>
                    <a:pt x="1478100" y="0"/>
                  </a:cubicBezTo>
                  <a:cubicBezTo>
                    <a:pt x="665145" y="0"/>
                    <a:pt x="0" y="665138"/>
                    <a:pt x="0" y="1478085"/>
                  </a:cubicBezTo>
                  <a:cubicBezTo>
                    <a:pt x="0" y="2291032"/>
                    <a:pt x="665145" y="2956170"/>
                    <a:pt x="1478100" y="2956170"/>
                  </a:cubicBezTo>
                  <a:cubicBezTo>
                    <a:pt x="1813136" y="2956170"/>
                    <a:pt x="2123537" y="2842851"/>
                    <a:pt x="2374814" y="2650700"/>
                  </a:cubicBezTo>
                  <a:lnTo>
                    <a:pt x="2591603" y="2867486"/>
                  </a:lnTo>
                  <a:cubicBezTo>
                    <a:pt x="2571894" y="2975878"/>
                    <a:pt x="2601457" y="3089198"/>
                    <a:pt x="2685215" y="3172956"/>
                  </a:cubicBezTo>
                  <a:lnTo>
                    <a:pt x="3301090" y="3788825"/>
                  </a:lnTo>
                  <a:cubicBezTo>
                    <a:pt x="3370069" y="3857803"/>
                    <a:pt x="3458755" y="3892291"/>
                    <a:pt x="3547441" y="3892291"/>
                  </a:cubicBezTo>
                  <a:cubicBezTo>
                    <a:pt x="3636127" y="3892291"/>
                    <a:pt x="3724812" y="3857803"/>
                    <a:pt x="3793791" y="3788825"/>
                  </a:cubicBezTo>
                  <a:cubicBezTo>
                    <a:pt x="3921892" y="3650870"/>
                    <a:pt x="3921892" y="3434085"/>
                    <a:pt x="3788864" y="3301057"/>
                  </a:cubicBezTo>
                  <a:close/>
                  <a:moveTo>
                    <a:pt x="1473173" y="2655627"/>
                  </a:moveTo>
                  <a:cubicBezTo>
                    <a:pt x="822809" y="2655627"/>
                    <a:pt x="290693" y="2123516"/>
                    <a:pt x="290693" y="1473158"/>
                  </a:cubicBezTo>
                  <a:cubicBezTo>
                    <a:pt x="290693" y="822801"/>
                    <a:pt x="822809" y="290690"/>
                    <a:pt x="1473173" y="290690"/>
                  </a:cubicBezTo>
                  <a:cubicBezTo>
                    <a:pt x="2123537" y="290690"/>
                    <a:pt x="2655653" y="822801"/>
                    <a:pt x="2655653" y="1473158"/>
                  </a:cubicBezTo>
                  <a:cubicBezTo>
                    <a:pt x="2655653" y="2123516"/>
                    <a:pt x="2123537" y="2655627"/>
                    <a:pt x="1473173" y="2655627"/>
                  </a:cubicBezTo>
                  <a:close/>
                </a:path>
              </a:pathLst>
            </a:custGeom>
            <a:solidFill>
              <a:srgbClr val="000000"/>
            </a:solidFill>
            <a:ln w="48617" cap="flat">
              <a:noFill/>
              <a:prstDash val="solid"/>
              <a:miter/>
            </a:ln>
          </p:spPr>
          <p:txBody>
            <a:bodyPr rtlCol="0" anchor="ctr"/>
            <a:lstStyle/>
            <a:p>
              <a:endParaRPr lang="en-US"/>
            </a:p>
          </p:txBody>
        </p:sp>
      </p:grpSp>
      <p:sp>
        <p:nvSpPr>
          <p:cNvPr id="20" name="Text Placeholder 7">
            <a:extLst>
              <a:ext uri="{FF2B5EF4-FFF2-40B4-BE49-F238E27FC236}">
                <a16:creationId xmlns:a16="http://schemas.microsoft.com/office/drawing/2014/main" id="{C0A8E1EE-7CF8-465D-9834-543E82F34AF6}"/>
              </a:ext>
            </a:extLst>
          </p:cNvPr>
          <p:cNvSpPr txBox="1">
            <a:spLocks/>
          </p:cNvSpPr>
          <p:nvPr/>
        </p:nvSpPr>
        <p:spPr>
          <a:xfrm>
            <a:off x="787170" y="3023172"/>
            <a:ext cx="5410429" cy="1682512"/>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600"/>
              </a:spcBef>
              <a:buNone/>
              <a:defRPr/>
            </a:pPr>
            <a:r>
              <a:rPr lang="en-US" sz="2400">
                <a:solidFill>
                  <a:schemeClr val="tx1"/>
                </a:solidFill>
                <a:latin typeface="+mn-lt"/>
                <a:cs typeface="Segoe UI Light" panose="020B0502040204020203" pitchFamily="34" charset="0"/>
              </a:rPr>
              <a:t>Jumpstart flows using over 100+ templates for common scenarios</a:t>
            </a:r>
          </a:p>
          <a:p>
            <a:pPr marL="0" indent="0" defTabSz="914400">
              <a:lnSpc>
                <a:spcPct val="100000"/>
              </a:lnSpc>
              <a:spcBef>
                <a:spcPts val="1600"/>
              </a:spcBef>
              <a:buNone/>
              <a:defRPr/>
            </a:pPr>
            <a:r>
              <a:rPr lang="en-US" sz="2400">
                <a:solidFill>
                  <a:schemeClr val="tx1"/>
                </a:solidFill>
                <a:latin typeface="+mn-lt"/>
                <a:cs typeface="Segoe UI Light" panose="020B0502040204020203" pitchFamily="34" charset="0"/>
              </a:rPr>
              <a:t>Connect services you're already using in more meaningful ways</a:t>
            </a:r>
          </a:p>
        </p:txBody>
      </p:sp>
    </p:spTree>
    <p:extLst>
      <p:ext uri="{BB962C8B-B14F-4D97-AF65-F5344CB8AC3E}">
        <p14:creationId xmlns:p14="http://schemas.microsoft.com/office/powerpoint/2010/main" val="551872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36C756F-DDB4-4F55-A318-18370F60C875}"/>
              </a:ext>
            </a:extLst>
          </p:cNvPr>
          <p:cNvPicPr>
            <a:picLocks noChangeAspect="1"/>
          </p:cNvPicPr>
          <p:nvPr/>
        </p:nvPicPr>
        <p:blipFill rotWithShape="1">
          <a:blip r:embed="rId3"/>
          <a:srcRect r="2309"/>
          <a:stretch/>
        </p:blipFill>
        <p:spPr>
          <a:xfrm>
            <a:off x="6738321" y="1528136"/>
            <a:ext cx="4184610" cy="4672584"/>
          </a:xfrm>
          <a:prstGeom prst="rect">
            <a:avLst/>
          </a:prstGeom>
          <a:ln w="9525">
            <a:noFill/>
          </a:ln>
        </p:spPr>
      </p:pic>
      <p:sp>
        <p:nvSpPr>
          <p:cNvPr id="2" name="Title 1">
            <a:extLst>
              <a:ext uri="{FF2B5EF4-FFF2-40B4-BE49-F238E27FC236}">
                <a16:creationId xmlns:a16="http://schemas.microsoft.com/office/drawing/2014/main" id="{480D6C5E-DFAB-4B49-9FD9-751B219870D1}"/>
              </a:ext>
            </a:extLst>
          </p:cNvPr>
          <p:cNvSpPr>
            <a:spLocks noGrp="1"/>
          </p:cNvSpPr>
          <p:nvPr>
            <p:ph type="title"/>
          </p:nvPr>
        </p:nvSpPr>
        <p:spPr/>
        <p:txBody>
          <a:bodyPr/>
          <a:lstStyle/>
          <a:p>
            <a:r>
              <a:rPr lang="en-IN"/>
              <a:t>Connectivity &amp; integration </a:t>
            </a:r>
          </a:p>
        </p:txBody>
      </p:sp>
      <p:sp>
        <p:nvSpPr>
          <p:cNvPr id="8" name="Text Placeholder 7">
            <a:extLst>
              <a:ext uri="{FF2B5EF4-FFF2-40B4-BE49-F238E27FC236}">
                <a16:creationId xmlns:a16="http://schemas.microsoft.com/office/drawing/2014/main" id="{C58E99A2-E7CC-484E-B463-FF239A77C37D}"/>
              </a:ext>
            </a:extLst>
          </p:cNvPr>
          <p:cNvSpPr txBox="1">
            <a:spLocks/>
          </p:cNvSpPr>
          <p:nvPr/>
        </p:nvSpPr>
        <p:spPr>
          <a:xfrm>
            <a:off x="787172" y="1934413"/>
            <a:ext cx="4699376" cy="386003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400">
              <a:lnSpc>
                <a:spcPct val="100000"/>
              </a:lnSpc>
              <a:spcBef>
                <a:spcPts val="1200"/>
              </a:spcBef>
              <a:buFont typeface="Arial" panose="020B0604020202020204" pitchFamily="34" charset="0"/>
              <a:buChar char="•"/>
              <a:defRPr/>
            </a:pPr>
            <a:r>
              <a:rPr lang="en-US" sz="2000">
                <a:solidFill>
                  <a:schemeClr val="tx1"/>
                </a:solidFill>
                <a:latin typeface="+mn-lt"/>
                <a:cs typeface="Segoe UI Light" panose="020B0502040204020203" pitchFamily="34" charset="0"/>
              </a:rPr>
              <a:t>Built-in connectivity to: </a:t>
            </a:r>
          </a:p>
          <a:p>
            <a:pPr marL="628650" lvl="1" indent="-285750" defTabSz="914400">
              <a:lnSpc>
                <a:spcPct val="100000"/>
              </a:lnSpc>
              <a:spcBef>
                <a:spcPts val="400"/>
              </a:spcBef>
              <a:buSzTx/>
              <a:buFont typeface="Segoe UI" panose="020B0502040204020203" pitchFamily="34" charset="0"/>
              <a:buChar char="–"/>
              <a:defRPr/>
            </a:pPr>
            <a:r>
              <a:rPr lang="en-US" sz="1800">
                <a:solidFill>
                  <a:schemeClr val="tx1"/>
                </a:solidFill>
                <a:latin typeface="+mn-lt"/>
                <a:cs typeface="Segoe UI Light" panose="020B0502040204020203" pitchFamily="34" charset="0"/>
              </a:rPr>
              <a:t>200+ SaaS cloud services</a:t>
            </a:r>
          </a:p>
          <a:p>
            <a:pPr marL="628650" lvl="1" indent="-285750" defTabSz="914400">
              <a:lnSpc>
                <a:spcPct val="100000"/>
              </a:lnSpc>
              <a:spcBef>
                <a:spcPts val="400"/>
              </a:spcBef>
              <a:buSzTx/>
              <a:buFont typeface="Segoe UI" panose="020B0502040204020203" pitchFamily="34" charset="0"/>
              <a:buChar char="–"/>
              <a:defRPr/>
            </a:pPr>
            <a:r>
              <a:rPr lang="en-US" sz="1800">
                <a:solidFill>
                  <a:schemeClr val="tx1"/>
                </a:solidFill>
                <a:cs typeface="Segoe UI Light" panose="020B0502040204020203" pitchFamily="34" charset="0"/>
              </a:rPr>
              <a:t>F</a:t>
            </a:r>
            <a:r>
              <a:rPr lang="en-US" sz="1800">
                <a:solidFill>
                  <a:schemeClr val="tx1"/>
                </a:solidFill>
                <a:latin typeface="+mn-lt"/>
                <a:cs typeface="Segoe UI Light" panose="020B0502040204020203" pitchFamily="34" charset="0"/>
              </a:rPr>
              <a:t>ile providers</a:t>
            </a:r>
          </a:p>
          <a:p>
            <a:pPr marL="628650" lvl="1" indent="-285750" defTabSz="914400">
              <a:lnSpc>
                <a:spcPct val="100000"/>
              </a:lnSpc>
              <a:spcBef>
                <a:spcPts val="400"/>
              </a:spcBef>
              <a:buSzTx/>
              <a:buFont typeface="Segoe UI" panose="020B0502040204020203" pitchFamily="34" charset="0"/>
              <a:buChar char="–"/>
              <a:defRPr/>
            </a:pPr>
            <a:r>
              <a:rPr lang="en-US" sz="1800">
                <a:solidFill>
                  <a:schemeClr val="tx1"/>
                </a:solidFill>
                <a:latin typeface="+mn-lt"/>
                <a:cs typeface="Segoe UI Light" panose="020B0502040204020203" pitchFamily="34" charset="0"/>
              </a:rPr>
              <a:t>Databases</a:t>
            </a:r>
          </a:p>
          <a:p>
            <a:pPr marL="628650" lvl="1" indent="-285750" defTabSz="914400">
              <a:lnSpc>
                <a:spcPct val="100000"/>
              </a:lnSpc>
              <a:spcBef>
                <a:spcPts val="400"/>
              </a:spcBef>
              <a:buSzTx/>
              <a:buFont typeface="Segoe UI" panose="020B0502040204020203" pitchFamily="34" charset="0"/>
              <a:buChar char="–"/>
              <a:defRPr/>
            </a:pPr>
            <a:r>
              <a:rPr lang="en-US" sz="1800">
                <a:solidFill>
                  <a:schemeClr val="tx1"/>
                </a:solidFill>
                <a:cs typeface="Segoe UI Light" panose="020B0502040204020203" pitchFamily="34" charset="0"/>
              </a:rPr>
              <a:t>W</a:t>
            </a:r>
            <a:r>
              <a:rPr lang="en-US" sz="1800">
                <a:solidFill>
                  <a:schemeClr val="tx1"/>
                </a:solidFill>
                <a:latin typeface="+mn-lt"/>
                <a:cs typeface="Segoe UI Light" panose="020B0502040204020203" pitchFamily="34" charset="0"/>
              </a:rPr>
              <a:t>eb APIs</a:t>
            </a:r>
          </a:p>
          <a:p>
            <a:pPr marL="628650" lvl="1" indent="-285750" defTabSz="914400">
              <a:lnSpc>
                <a:spcPct val="100000"/>
              </a:lnSpc>
              <a:spcBef>
                <a:spcPts val="400"/>
              </a:spcBef>
              <a:buSzTx/>
              <a:buFont typeface="Segoe UI" panose="020B0502040204020203" pitchFamily="34" charset="0"/>
              <a:buChar char="–"/>
              <a:defRPr/>
            </a:pPr>
            <a:r>
              <a:rPr lang="en-US" sz="1800">
                <a:solidFill>
                  <a:schemeClr val="tx1"/>
                </a:solidFill>
                <a:cs typeface="Segoe UI Light" panose="020B0502040204020203" pitchFamily="34" charset="0"/>
              </a:rPr>
              <a:t>P</a:t>
            </a:r>
            <a:r>
              <a:rPr lang="en-US" sz="1800">
                <a:solidFill>
                  <a:schemeClr val="tx1"/>
                </a:solidFill>
                <a:latin typeface="+mn-lt"/>
                <a:cs typeface="Segoe UI Light" panose="020B0502040204020203" pitchFamily="34" charset="0"/>
              </a:rPr>
              <a:t>roductivity apps, etc.</a:t>
            </a:r>
          </a:p>
          <a:p>
            <a:pPr defTabSz="914400">
              <a:lnSpc>
                <a:spcPct val="100000"/>
              </a:lnSpc>
              <a:spcBef>
                <a:spcPts val="1200"/>
              </a:spcBef>
              <a:buFont typeface="Arial" panose="020B0604020202020204" pitchFamily="34" charset="0"/>
              <a:buChar char="•"/>
              <a:defRPr/>
            </a:pPr>
            <a:r>
              <a:rPr lang="en-US" sz="2000">
                <a:solidFill>
                  <a:schemeClr val="tx1"/>
                </a:solidFill>
                <a:latin typeface="+mn-lt"/>
                <a:cs typeface="Segoe UI Light" panose="020B0502040204020203" pitchFamily="34" charset="0"/>
              </a:rPr>
              <a:t>Connect to on-premises systems via Data Gateway</a:t>
            </a:r>
          </a:p>
          <a:p>
            <a:pPr defTabSz="914400">
              <a:lnSpc>
                <a:spcPct val="100000"/>
              </a:lnSpc>
              <a:spcBef>
                <a:spcPts val="1200"/>
              </a:spcBef>
              <a:buFont typeface="Arial" panose="020B0604020202020204" pitchFamily="34" charset="0"/>
              <a:buChar char="•"/>
              <a:defRPr/>
            </a:pPr>
            <a:r>
              <a:rPr lang="en-US" sz="2000">
                <a:solidFill>
                  <a:schemeClr val="tx1"/>
                </a:solidFill>
                <a:latin typeface="+mn-lt"/>
                <a:cs typeface="Segoe UI Light" panose="020B0502040204020203" pitchFamily="34" charset="0"/>
              </a:rPr>
              <a:t>Pluggable extensibility via Custom Connectors to integrate existing LOB systems into Power Automate</a:t>
            </a:r>
          </a:p>
        </p:txBody>
      </p:sp>
      <p:sp>
        <p:nvSpPr>
          <p:cNvPr id="9" name="Rectangle 8">
            <a:extLst>
              <a:ext uri="{FF2B5EF4-FFF2-40B4-BE49-F238E27FC236}">
                <a16:creationId xmlns:a16="http://schemas.microsoft.com/office/drawing/2014/main" id="{9B4FABD8-AEFA-4B61-B755-EFFBC4A4BE7E}"/>
              </a:ext>
            </a:extLst>
          </p:cNvPr>
          <p:cNvSpPr/>
          <p:nvPr/>
        </p:nvSpPr>
        <p:spPr bwMode="auto">
          <a:xfrm>
            <a:off x="457200" y="1480457"/>
            <a:ext cx="11277600" cy="476794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6">
            <a:extLst>
              <a:ext uri="{FF2B5EF4-FFF2-40B4-BE49-F238E27FC236}">
                <a16:creationId xmlns:a16="http://schemas.microsoft.com/office/drawing/2014/main" id="{3D2BAD66-2DDB-4349-BF5D-1523F5F42D5C}"/>
              </a:ext>
            </a:extLst>
          </p:cNvPr>
          <p:cNvSpPr/>
          <p:nvPr/>
        </p:nvSpPr>
        <p:spPr bwMode="auto">
          <a:xfrm>
            <a:off x="457200" y="1480457"/>
            <a:ext cx="621064" cy="62179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520448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Freeform: Shape 146">
            <a:extLst>
              <a:ext uri="{FF2B5EF4-FFF2-40B4-BE49-F238E27FC236}">
                <a16:creationId xmlns:a16="http://schemas.microsoft.com/office/drawing/2014/main" id="{A475A451-57CE-43FE-AA3C-7E020A5FAB15}"/>
              </a:ext>
            </a:extLst>
          </p:cNvPr>
          <p:cNvSpPr/>
          <p:nvPr/>
        </p:nvSpPr>
        <p:spPr bwMode="auto">
          <a:xfrm>
            <a:off x="400050" y="5635499"/>
            <a:ext cx="2523746" cy="1222501"/>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4" name="Freeform: Shape 143">
            <a:extLst>
              <a:ext uri="{FF2B5EF4-FFF2-40B4-BE49-F238E27FC236}">
                <a16:creationId xmlns:a16="http://schemas.microsoft.com/office/drawing/2014/main" id="{D941866D-099C-4164-85F8-02C1726126CF}"/>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hidden="1">
            <a:extLst>
              <a:ext uri="{FF2B5EF4-FFF2-40B4-BE49-F238E27FC236}">
                <a16:creationId xmlns:a16="http://schemas.microsoft.com/office/drawing/2014/main" id="{314B388E-6249-47E9-9ED8-625BA042EA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425" imgH="424" progId="TCLayout.ActiveDocument.1">
                  <p:embed/>
                </p:oleObj>
              </mc:Choice>
              <mc:Fallback>
                <p:oleObj name="think-cell Slide" r:id="rId6" imgW="425" imgH="424" progId="TCLayout.ActiveDocument.1">
                  <p:embed/>
                  <p:pic>
                    <p:nvPicPr>
                      <p:cNvPr id="6" name="Object 5" hidden="1">
                        <a:extLst>
                          <a:ext uri="{FF2B5EF4-FFF2-40B4-BE49-F238E27FC236}">
                            <a16:creationId xmlns:a16="http://schemas.microsoft.com/office/drawing/2014/main" id="{314B388E-6249-47E9-9ED8-625BA042EA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87325A-389C-4856-B7C8-2391360F4D5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12C9D926-A9EC-4D24-AC91-815FF6E81671}"/>
              </a:ext>
            </a:extLst>
          </p:cNvPr>
          <p:cNvSpPr>
            <a:spLocks noGrp="1"/>
          </p:cNvSpPr>
          <p:nvPr>
            <p:ph type="title"/>
          </p:nvPr>
        </p:nvSpPr>
        <p:spPr/>
        <p:txBody>
          <a:bodyPr/>
          <a:lstStyle/>
          <a:p>
            <a:r>
              <a:rPr lang="en-US"/>
              <a:t>Efficient and secure data integration and storage</a:t>
            </a:r>
            <a:endParaRPr lang="en-IN"/>
          </a:p>
        </p:txBody>
      </p:sp>
      <p:sp>
        <p:nvSpPr>
          <p:cNvPr id="51" name="Rectangle 50">
            <a:extLst>
              <a:ext uri="{FF2B5EF4-FFF2-40B4-BE49-F238E27FC236}">
                <a16:creationId xmlns:a16="http://schemas.microsoft.com/office/drawing/2014/main" id="{C7A44AE9-3023-42D4-A818-8683E87B6FEB}"/>
              </a:ext>
            </a:extLst>
          </p:cNvPr>
          <p:cNvSpPr/>
          <p:nvPr/>
        </p:nvSpPr>
        <p:spPr bwMode="auto">
          <a:xfrm>
            <a:off x="0" y="1242307"/>
            <a:ext cx="12192000" cy="7493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6B043D25-E2C4-40D4-90F1-A6196E15CB03}"/>
              </a:ext>
            </a:extLst>
          </p:cNvPr>
          <p:cNvGrpSpPr/>
          <p:nvPr/>
        </p:nvGrpSpPr>
        <p:grpSpPr>
          <a:xfrm>
            <a:off x="0" y="2458290"/>
            <a:ext cx="12192000" cy="599666"/>
            <a:chOff x="0" y="3388440"/>
            <a:chExt cx="12192000" cy="794065"/>
          </a:xfrm>
          <a:solidFill>
            <a:schemeClr val="bg1">
              <a:lumMod val="95000"/>
            </a:schemeClr>
          </a:solidFill>
        </p:grpSpPr>
        <p:sp>
          <p:nvSpPr>
            <p:cNvPr id="99" name="Rectangle 98">
              <a:extLst>
                <a:ext uri="{FF2B5EF4-FFF2-40B4-BE49-F238E27FC236}">
                  <a16:creationId xmlns:a16="http://schemas.microsoft.com/office/drawing/2014/main" id="{D8AFE173-22C2-4CC8-B3DC-22F9DBFEB5AA}"/>
                </a:ext>
              </a:extLst>
            </p:cNvPr>
            <p:cNvSpPr/>
            <p:nvPr/>
          </p:nvSpPr>
          <p:spPr bwMode="auto">
            <a:xfrm>
              <a:off x="0" y="3388440"/>
              <a:ext cx="12192000" cy="79406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D83B01"/>
                </a:solidFill>
                <a:effectLst/>
                <a:uLnTx/>
                <a:uFillTx/>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285A4637-78E6-48BD-8941-233B96757EDE}"/>
                </a:ext>
              </a:extLst>
            </p:cNvPr>
            <p:cNvCxnSpPr>
              <a:cxnSpLocks/>
            </p:cNvCxnSpPr>
            <p:nvPr/>
          </p:nvCxnSpPr>
          <p:spPr>
            <a:xfrm>
              <a:off x="29826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DE56DA-AAFA-4BE8-A56E-D8C0D3FF7F7D}"/>
                </a:ext>
              </a:extLst>
            </p:cNvPr>
            <p:cNvCxnSpPr>
              <a:cxnSpLocks/>
            </p:cNvCxnSpPr>
            <p:nvPr/>
          </p:nvCxnSpPr>
          <p:spPr>
            <a:xfrm>
              <a:off x="92053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TextBox 10">
              <a:extLst>
                <a:ext uri="{FF2B5EF4-FFF2-40B4-BE49-F238E27FC236}">
                  <a16:creationId xmlns:a16="http://schemas.microsoft.com/office/drawing/2014/main" id="{6C046DFA-88D2-47C3-B809-F96D5F422B13}"/>
                </a:ext>
              </a:extLst>
            </p:cNvPr>
            <p:cNvSpPr txBox="1"/>
            <p:nvPr/>
          </p:nvSpPr>
          <p:spPr>
            <a:xfrm>
              <a:off x="451594" y="3620413"/>
              <a:ext cx="1950744"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Dynamics 365</a:t>
              </a:r>
              <a:endParaRPr kumimoji="0" lang="en-US"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endParaRPr>
            </a:p>
          </p:txBody>
        </p:sp>
        <p:sp>
          <p:nvSpPr>
            <p:cNvPr id="103" name="TextBox 10">
              <a:extLst>
                <a:ext uri="{FF2B5EF4-FFF2-40B4-BE49-F238E27FC236}">
                  <a16:creationId xmlns:a16="http://schemas.microsoft.com/office/drawing/2014/main" id="{840B41B7-DEBC-4920-89AF-121D1F960F21}"/>
                </a:ext>
              </a:extLst>
            </p:cNvPr>
            <p:cNvSpPr txBox="1"/>
            <p:nvPr/>
          </p:nvSpPr>
          <p:spPr>
            <a:xfrm>
              <a:off x="3818832" y="3620413"/>
              <a:ext cx="143896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Office 365</a:t>
              </a:r>
              <a:endParaRPr kumimoji="0" lang="en-US"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endParaRPr>
            </a:p>
          </p:txBody>
        </p:sp>
        <p:sp>
          <p:nvSpPr>
            <p:cNvPr id="104" name="TextBox 10">
              <a:extLst>
                <a:ext uri="{FF2B5EF4-FFF2-40B4-BE49-F238E27FC236}">
                  <a16:creationId xmlns:a16="http://schemas.microsoft.com/office/drawing/2014/main" id="{EB7AF80A-40A8-4678-B3F9-50956D31EEC2}"/>
                </a:ext>
              </a:extLst>
            </p:cNvPr>
            <p:cNvSpPr txBox="1"/>
            <p:nvPr/>
          </p:nvSpPr>
          <p:spPr>
            <a:xfrm>
              <a:off x="6758877" y="3620413"/>
              <a:ext cx="178157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Mobile Apps</a:t>
              </a:r>
              <a:endParaRPr kumimoji="0" lang="en-US"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endParaRPr>
            </a:p>
          </p:txBody>
        </p:sp>
        <p:sp>
          <p:nvSpPr>
            <p:cNvPr id="105" name="TextBox 10">
              <a:extLst>
                <a:ext uri="{FF2B5EF4-FFF2-40B4-BE49-F238E27FC236}">
                  <a16:creationId xmlns:a16="http://schemas.microsoft.com/office/drawing/2014/main" id="{1A9AD567-1880-4DDE-819E-86AAE2D20EF0}"/>
                </a:ext>
              </a:extLst>
            </p:cNvPr>
            <p:cNvSpPr txBox="1"/>
            <p:nvPr/>
          </p:nvSpPr>
          <p:spPr>
            <a:xfrm>
              <a:off x="10041144" y="3620413"/>
              <a:ext cx="1439740"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Web Apps</a:t>
              </a:r>
              <a:endParaRPr kumimoji="0" lang="en-US" sz="22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endParaRPr>
            </a:p>
          </p:txBody>
        </p:sp>
        <p:cxnSp>
          <p:nvCxnSpPr>
            <p:cNvPr id="108" name="Straight Connector 107">
              <a:extLst>
                <a:ext uri="{FF2B5EF4-FFF2-40B4-BE49-F238E27FC236}">
                  <a16:creationId xmlns:a16="http://schemas.microsoft.com/office/drawing/2014/main" id="{47F7DD45-1163-413C-814E-D5814D67DCBF}"/>
                </a:ext>
              </a:extLst>
            </p:cNvPr>
            <p:cNvCxnSpPr>
              <a:cxnSpLocks/>
            </p:cNvCxnSpPr>
            <p:nvPr/>
          </p:nvCxnSpPr>
          <p:spPr>
            <a:xfrm>
              <a:off x="609399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2638DBAF-E957-45BC-99CB-C3D6640D735C}"/>
              </a:ext>
            </a:extLst>
          </p:cNvPr>
          <p:cNvGrpSpPr/>
          <p:nvPr/>
        </p:nvGrpSpPr>
        <p:grpSpPr>
          <a:xfrm>
            <a:off x="498477" y="3115516"/>
            <a:ext cx="11166987" cy="1170131"/>
            <a:chOff x="498477" y="3286966"/>
            <a:chExt cx="11166987" cy="1170131"/>
          </a:xfrm>
        </p:grpSpPr>
        <p:grpSp>
          <p:nvGrpSpPr>
            <p:cNvPr id="9" name="Group 8">
              <a:extLst>
                <a:ext uri="{FF2B5EF4-FFF2-40B4-BE49-F238E27FC236}">
                  <a16:creationId xmlns:a16="http://schemas.microsoft.com/office/drawing/2014/main" id="{677D7CA8-08A3-452B-8EF8-8AADDD88B8D0}"/>
                </a:ext>
              </a:extLst>
            </p:cNvPr>
            <p:cNvGrpSpPr/>
            <p:nvPr/>
          </p:nvGrpSpPr>
          <p:grpSpPr>
            <a:xfrm>
              <a:off x="498477" y="3286966"/>
              <a:ext cx="1928688" cy="1120066"/>
              <a:chOff x="498477" y="3286966"/>
              <a:chExt cx="1928688" cy="1120066"/>
            </a:xfrm>
          </p:grpSpPr>
          <p:sp>
            <p:nvSpPr>
              <p:cNvPr id="123" name="Rectangle 122">
                <a:extLst>
                  <a:ext uri="{FF2B5EF4-FFF2-40B4-BE49-F238E27FC236}">
                    <a16:creationId xmlns:a16="http://schemas.microsoft.com/office/drawing/2014/main" id="{0FEF3638-4672-47A9-8F73-2F65BA74745E}"/>
                  </a:ext>
                </a:extLst>
              </p:cNvPr>
              <p:cNvSpPr/>
              <p:nvPr/>
            </p:nvSpPr>
            <p:spPr bwMode="auto">
              <a:xfrm>
                <a:off x="498477" y="4125184"/>
                <a:ext cx="1928688"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ower Apps</a:t>
                </a:r>
                <a:endParaRPr kumimoji="0" lang="en-US"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grpSp>
            <p:nvGrpSpPr>
              <p:cNvPr id="124" name="Group 123">
                <a:extLst>
                  <a:ext uri="{FF2B5EF4-FFF2-40B4-BE49-F238E27FC236}">
                    <a16:creationId xmlns:a16="http://schemas.microsoft.com/office/drawing/2014/main" id="{CC6C7A10-25B8-4FCA-A695-30F7B2B92C28}"/>
                  </a:ext>
                </a:extLst>
              </p:cNvPr>
              <p:cNvGrpSpPr>
                <a:grpSpLocks noChangeAspect="1"/>
              </p:cNvGrpSpPr>
              <p:nvPr/>
            </p:nvGrpSpPr>
            <p:grpSpPr>
              <a:xfrm>
                <a:off x="1100444" y="3286966"/>
                <a:ext cx="702218" cy="702218"/>
                <a:chOff x="5216175" y="2901971"/>
                <a:chExt cx="1715723" cy="1715723"/>
              </a:xfrm>
              <a:effectLst/>
            </p:grpSpPr>
            <p:sp>
              <p:nvSpPr>
                <p:cNvPr id="125" name="Oval 124">
                  <a:extLst>
                    <a:ext uri="{FF2B5EF4-FFF2-40B4-BE49-F238E27FC236}">
                      <a16:creationId xmlns:a16="http://schemas.microsoft.com/office/drawing/2014/main" id="{BB9A1045-B747-4075-B059-39018F30233A}"/>
                    </a:ext>
                  </a:extLst>
                </p:cNvPr>
                <p:cNvSpPr/>
                <p:nvPr/>
              </p:nvSpPr>
              <p:spPr bwMode="auto">
                <a:xfrm>
                  <a:off x="5216175" y="2901971"/>
                  <a:ext cx="1715723" cy="1715723"/>
                </a:xfrm>
                <a:prstGeom prst="ellipse">
                  <a:avLst/>
                </a:prstGeom>
                <a:solidFill>
                  <a:srgbClr val="7030A0"/>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26" tIns="131622" rIns="164526" bIns="131622" numCol="1" spcCol="0" rtlCol="0" fromWordArt="0" anchor="ctr" anchorCtr="0" forceAA="0" compatLnSpc="1">
                  <a:prstTxWarp prst="textNoShape">
                    <a:avLst/>
                  </a:prstTxWarp>
                  <a:noAutofit/>
                </a:bodyPr>
                <a:lstStyle/>
                <a:p>
                  <a:pPr marL="0" marR="0" lvl="0" indent="0" algn="l" defTabSz="83881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126" name="Group 4">
                  <a:extLst>
                    <a:ext uri="{FF2B5EF4-FFF2-40B4-BE49-F238E27FC236}">
                      <a16:creationId xmlns:a16="http://schemas.microsoft.com/office/drawing/2014/main" id="{FE9F7A3B-0B72-46B0-9D90-D59C411D7559}"/>
                    </a:ext>
                  </a:extLst>
                </p:cNvPr>
                <p:cNvGrpSpPr>
                  <a:grpSpLocks noChangeAspect="1"/>
                </p:cNvGrpSpPr>
                <p:nvPr/>
              </p:nvGrpSpPr>
              <p:grpSpPr bwMode="auto">
                <a:xfrm>
                  <a:off x="5681957" y="3458106"/>
                  <a:ext cx="784088" cy="603380"/>
                  <a:chOff x="2880" y="2176"/>
                  <a:chExt cx="256" cy="197"/>
                </a:xfrm>
                <a:solidFill>
                  <a:srgbClr val="D2D2D2"/>
                </a:solidFill>
              </p:grpSpPr>
              <p:sp>
                <p:nvSpPr>
                  <p:cNvPr id="127" name="Freeform 5">
                    <a:extLst>
                      <a:ext uri="{FF2B5EF4-FFF2-40B4-BE49-F238E27FC236}">
                        <a16:creationId xmlns:a16="http://schemas.microsoft.com/office/drawing/2014/main" id="{4C5B5D60-4084-4FE2-88CB-DBE1BF2CFCDC}"/>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8" name="Freeform 6">
                    <a:extLst>
                      <a:ext uri="{FF2B5EF4-FFF2-40B4-BE49-F238E27FC236}">
                        <a16:creationId xmlns:a16="http://schemas.microsoft.com/office/drawing/2014/main" id="{9BE6F88C-DB70-4648-87B7-68E76F1B05E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9" name="Freeform 7">
                    <a:extLst>
                      <a:ext uri="{FF2B5EF4-FFF2-40B4-BE49-F238E27FC236}">
                        <a16:creationId xmlns:a16="http://schemas.microsoft.com/office/drawing/2014/main" id="{5D59A6DD-85B9-4874-95AB-5B36E4948EAA}"/>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0" name="Freeform 8">
                    <a:extLst>
                      <a:ext uri="{FF2B5EF4-FFF2-40B4-BE49-F238E27FC236}">
                        <a16:creationId xmlns:a16="http://schemas.microsoft.com/office/drawing/2014/main" id="{49EB1D2E-5C97-44A0-ADC5-9FDF5459783F}"/>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1" name="Freeform 9">
                    <a:extLst>
                      <a:ext uri="{FF2B5EF4-FFF2-40B4-BE49-F238E27FC236}">
                        <a16:creationId xmlns:a16="http://schemas.microsoft.com/office/drawing/2014/main" id="{29CB4406-02DD-4988-AF90-9D6C4E313503}"/>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8" name="Group 7">
              <a:extLst>
                <a:ext uri="{FF2B5EF4-FFF2-40B4-BE49-F238E27FC236}">
                  <a16:creationId xmlns:a16="http://schemas.microsoft.com/office/drawing/2014/main" id="{9F1E8871-D213-4DF1-B0A5-45245D91B972}"/>
                </a:ext>
              </a:extLst>
            </p:cNvPr>
            <p:cNvGrpSpPr/>
            <p:nvPr/>
          </p:nvGrpSpPr>
          <p:grpSpPr>
            <a:xfrm>
              <a:off x="3327227" y="3349593"/>
              <a:ext cx="2523746" cy="1066964"/>
              <a:chOff x="3327227" y="3349593"/>
              <a:chExt cx="2523746" cy="1066964"/>
            </a:xfrm>
          </p:grpSpPr>
          <p:sp>
            <p:nvSpPr>
              <p:cNvPr id="132" name="Rectangle 131">
                <a:extLst>
                  <a:ext uri="{FF2B5EF4-FFF2-40B4-BE49-F238E27FC236}">
                    <a16:creationId xmlns:a16="http://schemas.microsoft.com/office/drawing/2014/main" id="{3C5E6745-E02B-4B35-80FE-F2656D0A6321}"/>
                  </a:ext>
                </a:extLst>
              </p:cNvPr>
              <p:cNvSpPr/>
              <p:nvPr/>
            </p:nvSpPr>
            <p:spPr bwMode="auto">
              <a:xfrm>
                <a:off x="3327227" y="4134709"/>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ower Automate</a:t>
                </a:r>
                <a:endParaRPr kumimoji="0" lang="en-US"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grpSp>
            <p:nvGrpSpPr>
              <p:cNvPr id="133" name="Group 132">
                <a:extLst>
                  <a:ext uri="{FF2B5EF4-FFF2-40B4-BE49-F238E27FC236}">
                    <a16:creationId xmlns:a16="http://schemas.microsoft.com/office/drawing/2014/main" id="{ADD14B4D-1310-484B-BAFE-80A368694B1F}"/>
                  </a:ext>
                </a:extLst>
              </p:cNvPr>
              <p:cNvGrpSpPr/>
              <p:nvPr/>
            </p:nvGrpSpPr>
            <p:grpSpPr>
              <a:xfrm>
                <a:off x="4211794" y="3349593"/>
                <a:ext cx="702218" cy="702218"/>
                <a:chOff x="4726930" y="4471473"/>
                <a:chExt cx="703088" cy="703088"/>
              </a:xfrm>
              <a:effectLst/>
            </p:grpSpPr>
            <p:sp>
              <p:nvSpPr>
                <p:cNvPr id="134" name="Oval 133">
                  <a:extLst>
                    <a:ext uri="{FF2B5EF4-FFF2-40B4-BE49-F238E27FC236}">
                      <a16:creationId xmlns:a16="http://schemas.microsoft.com/office/drawing/2014/main" id="{FA8F168B-E727-416F-B5A5-7D3CC3CCDDEE}"/>
                    </a:ext>
                  </a:extLst>
                </p:cNvPr>
                <p:cNvSpPr/>
                <p:nvPr/>
              </p:nvSpPr>
              <p:spPr bwMode="auto">
                <a:xfrm>
                  <a:off x="4726930" y="4471473"/>
                  <a:ext cx="703088" cy="703088"/>
                </a:xfrm>
                <a:prstGeom prst="ellipse">
                  <a:avLst/>
                </a:prstGeom>
                <a:solidFill>
                  <a:srgbClr val="0077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26" tIns="131622" rIns="164526" bIns="131622" numCol="1" spcCol="0" rtlCol="0" fromWordArt="0" anchor="ctr" anchorCtr="0" forceAA="0" compatLnSpc="1">
                  <a:prstTxWarp prst="textNoShape">
                    <a:avLst/>
                  </a:prstTxWarp>
                  <a:noAutofit/>
                </a:bodyPr>
                <a:lstStyle/>
                <a:p>
                  <a:pPr marL="0" marR="0" lvl="0" indent="0" algn="l" defTabSz="83881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135" name="Group 134">
                  <a:extLst>
                    <a:ext uri="{FF2B5EF4-FFF2-40B4-BE49-F238E27FC236}">
                      <a16:creationId xmlns:a16="http://schemas.microsoft.com/office/drawing/2014/main" id="{009449EF-5232-4AB7-BF61-0D52EE1FD76D}"/>
                    </a:ext>
                  </a:extLst>
                </p:cNvPr>
                <p:cNvGrpSpPr/>
                <p:nvPr/>
              </p:nvGrpSpPr>
              <p:grpSpPr>
                <a:xfrm>
                  <a:off x="4902990" y="4689695"/>
                  <a:ext cx="350968" cy="266644"/>
                  <a:chOff x="-1146792" y="678443"/>
                  <a:chExt cx="1017587" cy="773113"/>
                </a:xfrm>
                <a:solidFill>
                  <a:srgbClr val="D2D2D2"/>
                </a:solidFill>
              </p:grpSpPr>
              <p:sp>
                <p:nvSpPr>
                  <p:cNvPr id="136" name="Freeform 5">
                    <a:extLst>
                      <a:ext uri="{FF2B5EF4-FFF2-40B4-BE49-F238E27FC236}">
                        <a16:creationId xmlns:a16="http://schemas.microsoft.com/office/drawing/2014/main" id="{B01B0EFD-C1E6-44F9-9CC5-13AED4F95C87}"/>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921"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6">
                    <a:extLst>
                      <a:ext uri="{FF2B5EF4-FFF2-40B4-BE49-F238E27FC236}">
                        <a16:creationId xmlns:a16="http://schemas.microsoft.com/office/drawing/2014/main" id="{D4ABB0FF-F679-4CC3-ABEB-840B08336879}"/>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921"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5" name="Group 4">
              <a:extLst>
                <a:ext uri="{FF2B5EF4-FFF2-40B4-BE49-F238E27FC236}">
                  <a16:creationId xmlns:a16="http://schemas.microsoft.com/office/drawing/2014/main" id="{4E48D1B2-EF6C-4409-93D2-3FB4A63641F4}"/>
                </a:ext>
              </a:extLst>
            </p:cNvPr>
            <p:cNvGrpSpPr/>
            <p:nvPr/>
          </p:nvGrpSpPr>
          <p:grpSpPr>
            <a:xfrm>
              <a:off x="6696856" y="3349593"/>
              <a:ext cx="1962827" cy="1066964"/>
              <a:chOff x="6696856" y="3349593"/>
              <a:chExt cx="1962827" cy="1066964"/>
            </a:xfrm>
          </p:grpSpPr>
          <p:grpSp>
            <p:nvGrpSpPr>
              <p:cNvPr id="115" name="Group 114">
                <a:extLst>
                  <a:ext uri="{FF2B5EF4-FFF2-40B4-BE49-F238E27FC236}">
                    <a16:creationId xmlns:a16="http://schemas.microsoft.com/office/drawing/2014/main" id="{4FE1FE5C-9F46-4DC7-BC82-6BEE0818A617}"/>
                  </a:ext>
                </a:extLst>
              </p:cNvPr>
              <p:cNvGrpSpPr/>
              <p:nvPr/>
            </p:nvGrpSpPr>
            <p:grpSpPr>
              <a:xfrm>
                <a:off x="7327160" y="3349593"/>
                <a:ext cx="702218" cy="702218"/>
                <a:chOff x="3088969" y="2333616"/>
                <a:chExt cx="1051561" cy="1051560"/>
              </a:xfrm>
              <a:effectLst/>
            </p:grpSpPr>
            <p:sp>
              <p:nvSpPr>
                <p:cNvPr id="116" name="Oval 115">
                  <a:extLst>
                    <a:ext uri="{FF2B5EF4-FFF2-40B4-BE49-F238E27FC236}">
                      <a16:creationId xmlns:a16="http://schemas.microsoft.com/office/drawing/2014/main" id="{CE17EC05-037A-4BBB-BF03-A8CE9ED746F2}"/>
                    </a:ext>
                  </a:extLst>
                </p:cNvPr>
                <p:cNvSpPr/>
                <p:nvPr/>
              </p:nvSpPr>
              <p:spPr bwMode="auto">
                <a:xfrm>
                  <a:off x="3088969" y="2333616"/>
                  <a:ext cx="1051561" cy="1051560"/>
                </a:xfrm>
                <a:prstGeom prst="ellipse">
                  <a:avLst/>
                </a:prstGeom>
                <a:solidFill>
                  <a:srgbClr val="FFC000"/>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26" tIns="131622" rIns="164526" bIns="131622" numCol="1" spcCol="0" rtlCol="0" fromWordArt="0" anchor="ctr" anchorCtr="0" forceAA="0" compatLnSpc="1">
                  <a:prstTxWarp prst="textNoShape">
                    <a:avLst/>
                  </a:prstTxWarp>
                  <a:noAutofit/>
                </a:bodyPr>
                <a:lstStyle/>
                <a:p>
                  <a:pPr marL="0" marR="0" lvl="0" indent="0" algn="l" defTabSz="83881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117" name="Group 12">
                  <a:extLst>
                    <a:ext uri="{FF2B5EF4-FFF2-40B4-BE49-F238E27FC236}">
                      <a16:creationId xmlns:a16="http://schemas.microsoft.com/office/drawing/2014/main" id="{8380D58A-92B5-4ADD-96B8-04F54DA88642}"/>
                    </a:ext>
                  </a:extLst>
                </p:cNvPr>
                <p:cNvGrpSpPr>
                  <a:grpSpLocks noChangeAspect="1"/>
                </p:cNvGrpSpPr>
                <p:nvPr/>
              </p:nvGrpSpPr>
              <p:grpSpPr bwMode="auto">
                <a:xfrm>
                  <a:off x="3372588" y="2675429"/>
                  <a:ext cx="484321" cy="367935"/>
                  <a:chOff x="4543" y="2176"/>
                  <a:chExt cx="258" cy="196"/>
                </a:xfrm>
                <a:solidFill>
                  <a:schemeClr val="bg1"/>
                </a:solidFill>
              </p:grpSpPr>
              <p:sp>
                <p:nvSpPr>
                  <p:cNvPr id="118" name="Freeform 13">
                    <a:extLst>
                      <a:ext uri="{FF2B5EF4-FFF2-40B4-BE49-F238E27FC236}">
                        <a16:creationId xmlns:a16="http://schemas.microsoft.com/office/drawing/2014/main" id="{85936C33-464A-4A47-994E-45AD19E4D11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sp>
                <p:nvSpPr>
                  <p:cNvPr id="119" name="Freeform 14">
                    <a:extLst>
                      <a:ext uri="{FF2B5EF4-FFF2-40B4-BE49-F238E27FC236}">
                        <a16:creationId xmlns:a16="http://schemas.microsoft.com/office/drawing/2014/main" id="{4620971E-06DD-48A2-9136-FEBD731CF87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sp>
                <p:nvSpPr>
                  <p:cNvPr id="120" name="Freeform 15">
                    <a:extLst>
                      <a:ext uri="{FF2B5EF4-FFF2-40B4-BE49-F238E27FC236}">
                        <a16:creationId xmlns:a16="http://schemas.microsoft.com/office/drawing/2014/main" id="{B20E88C1-0C8B-4C95-AE9A-F54C2643426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sp>
                <p:nvSpPr>
                  <p:cNvPr id="121" name="Freeform 16">
                    <a:extLst>
                      <a:ext uri="{FF2B5EF4-FFF2-40B4-BE49-F238E27FC236}">
                        <a16:creationId xmlns:a16="http://schemas.microsoft.com/office/drawing/2014/main" id="{B5F6ED4A-C789-4942-BE4B-54F9F1301FD7}"/>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sp>
                <p:nvSpPr>
                  <p:cNvPr id="122" name="Freeform 17">
                    <a:extLst>
                      <a:ext uri="{FF2B5EF4-FFF2-40B4-BE49-F238E27FC236}">
                        <a16:creationId xmlns:a16="http://schemas.microsoft.com/office/drawing/2014/main" id="{CB5ACC50-AD1B-48C1-B20C-FCEBFAB0AE66}"/>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sp>
            <p:nvSpPr>
              <p:cNvPr id="138" name="Rectangle 137">
                <a:extLst>
                  <a:ext uri="{FF2B5EF4-FFF2-40B4-BE49-F238E27FC236}">
                    <a16:creationId xmlns:a16="http://schemas.microsoft.com/office/drawing/2014/main" id="{8E0F88C3-CEBF-4537-AFD2-B1DD1F0B68CD}"/>
                  </a:ext>
                </a:extLst>
              </p:cNvPr>
              <p:cNvSpPr/>
              <p:nvPr/>
            </p:nvSpPr>
            <p:spPr bwMode="auto">
              <a:xfrm>
                <a:off x="6696856" y="413470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ower BI</a:t>
                </a:r>
                <a:endParaRPr kumimoji="0" lang="en-US"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C0FCF1C8-4C11-4248-B424-D2665E7B0002}"/>
                </a:ext>
              </a:extLst>
            </p:cNvPr>
            <p:cNvGrpSpPr/>
            <p:nvPr/>
          </p:nvGrpSpPr>
          <p:grpSpPr>
            <a:xfrm>
              <a:off x="9702637" y="3409493"/>
              <a:ext cx="1962827" cy="1047604"/>
              <a:chOff x="9702637" y="3409493"/>
              <a:chExt cx="1962827" cy="1047604"/>
            </a:xfrm>
          </p:grpSpPr>
          <p:grpSp>
            <p:nvGrpSpPr>
              <p:cNvPr id="4" name="Group 3">
                <a:extLst>
                  <a:ext uri="{FF2B5EF4-FFF2-40B4-BE49-F238E27FC236}">
                    <a16:creationId xmlns:a16="http://schemas.microsoft.com/office/drawing/2014/main" id="{981F14BA-0FD3-4A63-9A27-BFFEAACDAFB9}"/>
                  </a:ext>
                </a:extLst>
              </p:cNvPr>
              <p:cNvGrpSpPr/>
              <p:nvPr/>
            </p:nvGrpSpPr>
            <p:grpSpPr>
              <a:xfrm>
                <a:off x="10332007" y="3409493"/>
                <a:ext cx="704088" cy="704088"/>
                <a:chOff x="10332007" y="3065062"/>
                <a:chExt cx="704088" cy="704088"/>
              </a:xfrm>
            </p:grpSpPr>
            <p:sp>
              <p:nvSpPr>
                <p:cNvPr id="79" name="Oval 78">
                  <a:extLst>
                    <a:ext uri="{FF2B5EF4-FFF2-40B4-BE49-F238E27FC236}">
                      <a16:creationId xmlns:a16="http://schemas.microsoft.com/office/drawing/2014/main" id="{BC26A7D0-E969-4C69-B39F-C50FB7B7409C}"/>
                    </a:ext>
                  </a:extLst>
                </p:cNvPr>
                <p:cNvSpPr>
                  <a:spLocks noChangeAspect="1"/>
                </p:cNvSpPr>
                <p:nvPr/>
              </p:nvSpPr>
              <p:spPr bwMode="auto">
                <a:xfrm>
                  <a:off x="10332007" y="3065062"/>
                  <a:ext cx="704088" cy="704088"/>
                </a:xfrm>
                <a:prstGeom prst="ellipse">
                  <a:avLst/>
                </a:prstGeom>
                <a:solidFill>
                  <a:srgbClr val="14848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76" name="Picture 75" descr="A picture containing drawing&#10;&#10;Description automatically generated">
                  <a:extLst>
                    <a:ext uri="{FF2B5EF4-FFF2-40B4-BE49-F238E27FC236}">
                      <a16:creationId xmlns:a16="http://schemas.microsoft.com/office/drawing/2014/main" id="{C676C19E-FE7A-4706-9BEB-0A213A7A43D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01170" y="3235588"/>
                  <a:ext cx="365760" cy="365760"/>
                </a:xfrm>
                <a:prstGeom prst="rect">
                  <a:avLst/>
                </a:prstGeom>
              </p:spPr>
            </p:pic>
          </p:grpSp>
          <p:sp>
            <p:nvSpPr>
              <p:cNvPr id="80" name="Rectangle 79">
                <a:extLst>
                  <a:ext uri="{FF2B5EF4-FFF2-40B4-BE49-F238E27FC236}">
                    <a16:creationId xmlns:a16="http://schemas.microsoft.com/office/drawing/2014/main" id="{E47FD40A-AECA-42FF-A822-0F44E085ABCB}"/>
                  </a:ext>
                </a:extLst>
              </p:cNvPr>
              <p:cNvSpPr/>
              <p:nvPr/>
            </p:nvSpPr>
            <p:spPr bwMode="auto">
              <a:xfrm>
                <a:off x="9702637" y="417524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ower Virtual Agents</a:t>
                </a:r>
                <a:endParaRPr kumimoji="0" lang="en-US" sz="2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grpSp>
      </p:grpSp>
      <p:sp>
        <p:nvSpPr>
          <p:cNvPr id="82" name="TextBox 81">
            <a:extLst>
              <a:ext uri="{FF2B5EF4-FFF2-40B4-BE49-F238E27FC236}">
                <a16:creationId xmlns:a16="http://schemas.microsoft.com/office/drawing/2014/main" id="{EDDC2110-7761-4E3C-9818-4376DC878720}"/>
              </a:ext>
            </a:extLst>
          </p:cNvPr>
          <p:cNvSpPr txBox="1"/>
          <p:nvPr/>
        </p:nvSpPr>
        <p:spPr>
          <a:xfrm>
            <a:off x="723900" y="1733572"/>
            <a:ext cx="10744200" cy="544765"/>
          </a:xfrm>
          <a:prstGeom prst="rect">
            <a:avLst/>
          </a:prstGeom>
          <a:no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The Common Data Service lets you securely store</a:t>
            </a:r>
            <a:br>
              <a:rPr kumimoji="0" lang="en-US" sz="20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nd manage data that's used by business applications.</a:t>
            </a:r>
          </a:p>
        </p:txBody>
      </p:sp>
      <p:grpSp>
        <p:nvGrpSpPr>
          <p:cNvPr id="83" name="Group 82">
            <a:extLst>
              <a:ext uri="{FF2B5EF4-FFF2-40B4-BE49-F238E27FC236}">
                <a16:creationId xmlns:a16="http://schemas.microsoft.com/office/drawing/2014/main" id="{F2087756-968F-4522-9967-DA02D61E142E}"/>
              </a:ext>
            </a:extLst>
          </p:cNvPr>
          <p:cNvGrpSpPr/>
          <p:nvPr/>
        </p:nvGrpSpPr>
        <p:grpSpPr>
          <a:xfrm>
            <a:off x="7761012" y="4899421"/>
            <a:ext cx="404126" cy="404126"/>
            <a:chOff x="931863" y="1466850"/>
            <a:chExt cx="479425" cy="547995"/>
          </a:xfrm>
          <a:noFill/>
        </p:grpSpPr>
        <p:grpSp>
          <p:nvGrpSpPr>
            <p:cNvPr id="84" name="Group 83">
              <a:extLst>
                <a:ext uri="{FF2B5EF4-FFF2-40B4-BE49-F238E27FC236}">
                  <a16:creationId xmlns:a16="http://schemas.microsoft.com/office/drawing/2014/main" id="{E0952929-B4A1-46F8-B069-3FCCC3A084AF}"/>
                </a:ext>
              </a:extLst>
            </p:cNvPr>
            <p:cNvGrpSpPr/>
            <p:nvPr/>
          </p:nvGrpSpPr>
          <p:grpSpPr>
            <a:xfrm>
              <a:off x="1009952" y="1612901"/>
              <a:ext cx="329597" cy="263294"/>
              <a:chOff x="3807426" y="4520892"/>
              <a:chExt cx="4908981" cy="589170"/>
            </a:xfrm>
            <a:grpFill/>
          </p:grpSpPr>
          <p:sp>
            <p:nvSpPr>
              <p:cNvPr id="88" name="Rectangle 42">
                <a:extLst>
                  <a:ext uri="{FF2B5EF4-FFF2-40B4-BE49-F238E27FC236}">
                    <a16:creationId xmlns:a16="http://schemas.microsoft.com/office/drawing/2014/main" id="{76A6C52D-E3D4-493A-8000-8AF07DEF887A}"/>
                  </a:ext>
                </a:extLst>
              </p:cNvPr>
              <p:cNvSpPr/>
              <p:nvPr/>
            </p:nvSpPr>
            <p:spPr bwMode="auto">
              <a:xfrm flipV="1">
                <a:off x="3807426" y="4796989"/>
                <a:ext cx="4908981" cy="313073"/>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grpFill/>
              <a:ln w="222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797E8D18-F37C-4E40-90B3-881BFD049B93}"/>
                  </a:ext>
                </a:extLst>
              </p:cNvPr>
              <p:cNvCxnSpPr>
                <a:cxnSpLocks/>
              </p:cNvCxnSpPr>
              <p:nvPr/>
            </p:nvCxnSpPr>
            <p:spPr>
              <a:xfrm flipV="1">
                <a:off x="6261924" y="4520892"/>
                <a:ext cx="0" cy="286057"/>
              </a:xfrm>
              <a:prstGeom prst="line">
                <a:avLst/>
              </a:prstGeom>
              <a:grpFill/>
              <a:ln w="222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Rectangle 84">
              <a:extLst>
                <a:ext uri="{FF2B5EF4-FFF2-40B4-BE49-F238E27FC236}">
                  <a16:creationId xmlns:a16="http://schemas.microsoft.com/office/drawing/2014/main" id="{FAA5FBCD-9B58-406D-8F27-68A9CF6B2BAE}"/>
                </a:ext>
              </a:extLst>
            </p:cNvPr>
            <p:cNvSpPr/>
            <p:nvPr/>
          </p:nvSpPr>
          <p:spPr bwMode="auto">
            <a:xfrm>
              <a:off x="1100138" y="1466850"/>
              <a:ext cx="149225" cy="149225"/>
            </a:xfrm>
            <a:prstGeom prst="rect">
              <a:avLst/>
            </a:prstGeom>
            <a:grp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D8AA6BE-402E-4BCE-84E4-7C3318DBF651}"/>
                </a:ext>
              </a:extLst>
            </p:cNvPr>
            <p:cNvSpPr/>
            <p:nvPr/>
          </p:nvSpPr>
          <p:spPr bwMode="auto">
            <a:xfrm>
              <a:off x="931863" y="1865617"/>
              <a:ext cx="149225" cy="149225"/>
            </a:xfrm>
            <a:prstGeom prst="rect">
              <a:avLst/>
            </a:prstGeom>
            <a:grp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70263BA3-0A69-40BB-AD1D-DF993D37EB59}"/>
                </a:ext>
              </a:extLst>
            </p:cNvPr>
            <p:cNvSpPr/>
            <p:nvPr/>
          </p:nvSpPr>
          <p:spPr bwMode="auto">
            <a:xfrm>
              <a:off x="1262063" y="1865620"/>
              <a:ext cx="149225" cy="149225"/>
            </a:xfrm>
            <a:prstGeom prst="rect">
              <a:avLst/>
            </a:prstGeom>
            <a:grp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90" name="Rectangle 89">
            <a:extLst>
              <a:ext uri="{FF2B5EF4-FFF2-40B4-BE49-F238E27FC236}">
                <a16:creationId xmlns:a16="http://schemas.microsoft.com/office/drawing/2014/main" id="{F5B7A4EF-4869-43D6-8C57-0316955B3D33}"/>
              </a:ext>
            </a:extLst>
          </p:cNvPr>
          <p:cNvSpPr/>
          <p:nvPr/>
        </p:nvSpPr>
        <p:spPr bwMode="auto">
          <a:xfrm>
            <a:off x="6920455" y="5415413"/>
            <a:ext cx="2090592" cy="304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Data connectors</a:t>
            </a:r>
          </a:p>
        </p:txBody>
      </p:sp>
      <p:pic>
        <p:nvPicPr>
          <p:cNvPr id="91" name="Graphic 90">
            <a:extLst>
              <a:ext uri="{FF2B5EF4-FFF2-40B4-BE49-F238E27FC236}">
                <a16:creationId xmlns:a16="http://schemas.microsoft.com/office/drawing/2014/main" id="{5A9C5C33-C857-4541-A537-C085DB1BBD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40837" y="4899421"/>
            <a:ext cx="404126" cy="404126"/>
          </a:xfrm>
          <a:prstGeom prst="rect">
            <a:avLst/>
          </a:prstGeom>
        </p:spPr>
      </p:pic>
      <p:sp>
        <p:nvSpPr>
          <p:cNvPr id="92" name="Rectangle 91">
            <a:extLst>
              <a:ext uri="{FF2B5EF4-FFF2-40B4-BE49-F238E27FC236}">
                <a16:creationId xmlns:a16="http://schemas.microsoft.com/office/drawing/2014/main" id="{AEBE0242-5963-480D-8223-1496D7CBE104}"/>
              </a:ext>
            </a:extLst>
          </p:cNvPr>
          <p:cNvSpPr/>
          <p:nvPr/>
        </p:nvSpPr>
        <p:spPr bwMode="auto">
          <a:xfrm>
            <a:off x="2687468" y="5415413"/>
            <a:ext cx="291086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Common Data Service</a:t>
            </a:r>
          </a:p>
        </p:txBody>
      </p:sp>
      <p:sp>
        <p:nvSpPr>
          <p:cNvPr id="93" name="Rectangle 9">
            <a:extLst>
              <a:ext uri="{FF2B5EF4-FFF2-40B4-BE49-F238E27FC236}">
                <a16:creationId xmlns:a16="http://schemas.microsoft.com/office/drawing/2014/main" id="{C6B2BD29-32AE-40D1-B597-6BC20EEB2781}"/>
              </a:ext>
            </a:extLst>
          </p:cNvPr>
          <p:cNvSpPr/>
          <p:nvPr/>
        </p:nvSpPr>
        <p:spPr bwMode="auto">
          <a:xfrm rot="5400000">
            <a:off x="5946523" y="344702"/>
            <a:ext cx="281848" cy="8449912"/>
          </a:xfrm>
          <a:custGeom>
            <a:avLst/>
            <a:gdLst>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 name="connsiteX4" fmla="*/ 0 w 1016276"/>
              <a:gd name="connsiteY4" fmla="*/ 0 h 3986914"/>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 name="connsiteX4" fmla="*/ 91440 w 1016276"/>
              <a:gd name="connsiteY4" fmla="*/ 91440 h 3986914"/>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Lst>
            <a:ahLst/>
            <a:cxnLst>
              <a:cxn ang="0">
                <a:pos x="connsiteX0" y="connsiteY0"/>
              </a:cxn>
              <a:cxn ang="0">
                <a:pos x="connsiteX1" y="connsiteY1"/>
              </a:cxn>
              <a:cxn ang="0">
                <a:pos x="connsiteX2" y="connsiteY2"/>
              </a:cxn>
              <a:cxn ang="0">
                <a:pos x="connsiteX3" y="connsiteY3"/>
              </a:cxn>
            </a:cxnLst>
            <a:rect l="l" t="t" r="r" b="b"/>
            <a:pathLst>
              <a:path w="1016276" h="3986914">
                <a:moveTo>
                  <a:pt x="0" y="0"/>
                </a:moveTo>
                <a:lnTo>
                  <a:pt x="1016276" y="0"/>
                </a:lnTo>
                <a:lnTo>
                  <a:pt x="1016276" y="3986914"/>
                </a:lnTo>
                <a:lnTo>
                  <a:pt x="0" y="3986914"/>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E916D5A9-A50A-4405-B43E-D3FA8232531C}"/>
              </a:ext>
            </a:extLst>
          </p:cNvPr>
          <p:cNvGrpSpPr/>
          <p:nvPr/>
        </p:nvGrpSpPr>
        <p:grpSpPr>
          <a:xfrm rot="5400000">
            <a:off x="5788342" y="4502836"/>
            <a:ext cx="415494" cy="415494"/>
            <a:chOff x="10131498" y="3736537"/>
            <a:chExt cx="508000" cy="508000"/>
          </a:xfrm>
        </p:grpSpPr>
        <p:sp>
          <p:nvSpPr>
            <p:cNvPr id="95" name="Oval 94">
              <a:extLst>
                <a:ext uri="{FF2B5EF4-FFF2-40B4-BE49-F238E27FC236}">
                  <a16:creationId xmlns:a16="http://schemas.microsoft.com/office/drawing/2014/main" id="{C672880C-FCC5-44AC-A4F5-CE4C94154A93}"/>
                </a:ext>
              </a:extLst>
            </p:cNvPr>
            <p:cNvSpPr/>
            <p:nvPr/>
          </p:nvSpPr>
          <p:spPr bwMode="auto">
            <a:xfrm>
              <a:off x="10131498" y="3736537"/>
              <a:ext cx="508000" cy="508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6" name="Group 95">
              <a:extLst>
                <a:ext uri="{FF2B5EF4-FFF2-40B4-BE49-F238E27FC236}">
                  <a16:creationId xmlns:a16="http://schemas.microsoft.com/office/drawing/2014/main" id="{9C082C79-6284-4237-AE23-1AD1FF419209}"/>
                </a:ext>
              </a:extLst>
            </p:cNvPr>
            <p:cNvGrpSpPr/>
            <p:nvPr/>
          </p:nvGrpSpPr>
          <p:grpSpPr>
            <a:xfrm rot="5400000">
              <a:off x="10289591" y="3872967"/>
              <a:ext cx="297046" cy="235140"/>
              <a:chOff x="5496052" y="2578100"/>
              <a:chExt cx="412496" cy="427037"/>
            </a:xfrm>
          </p:grpSpPr>
          <p:sp>
            <p:nvSpPr>
              <p:cNvPr id="97" name="Isosceles Triangle 96">
                <a:extLst>
                  <a:ext uri="{FF2B5EF4-FFF2-40B4-BE49-F238E27FC236}">
                    <a16:creationId xmlns:a16="http://schemas.microsoft.com/office/drawing/2014/main" id="{5E9DD3BF-14EA-4673-929E-0418520E23DB}"/>
                  </a:ext>
                </a:extLst>
              </p:cNvPr>
              <p:cNvSpPr/>
              <p:nvPr/>
            </p:nvSpPr>
            <p:spPr bwMode="auto">
              <a:xfrm>
                <a:off x="5496052" y="2578100"/>
                <a:ext cx="412496" cy="355600"/>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a:extLst>
                  <a:ext uri="{FF2B5EF4-FFF2-40B4-BE49-F238E27FC236}">
                    <a16:creationId xmlns:a16="http://schemas.microsoft.com/office/drawing/2014/main" id="{AA6FD271-FA44-4A2F-8E25-5838B8C2FEA7}"/>
                  </a:ext>
                </a:extLst>
              </p:cNvPr>
              <p:cNvSpPr/>
              <p:nvPr/>
            </p:nvSpPr>
            <p:spPr bwMode="auto">
              <a:xfrm>
                <a:off x="5496052" y="2649537"/>
                <a:ext cx="412496" cy="355600"/>
              </a:xfrm>
              <a:prstGeom prst="triangle">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3" name="Rectangle 9">
            <a:extLst>
              <a:ext uri="{FF2B5EF4-FFF2-40B4-BE49-F238E27FC236}">
                <a16:creationId xmlns:a16="http://schemas.microsoft.com/office/drawing/2014/main" id="{5DF2325B-B175-4A63-AF79-4204D96DEB19}"/>
              </a:ext>
            </a:extLst>
          </p:cNvPr>
          <p:cNvSpPr/>
          <p:nvPr/>
        </p:nvSpPr>
        <p:spPr bwMode="auto">
          <a:xfrm rot="5400000">
            <a:off x="5974488" y="3924241"/>
            <a:ext cx="160149" cy="3822377"/>
          </a:xfrm>
          <a:custGeom>
            <a:avLst/>
            <a:gdLst>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 name="connsiteX4" fmla="*/ 0 w 1016276"/>
              <a:gd name="connsiteY4" fmla="*/ 0 h 3986914"/>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 name="connsiteX4" fmla="*/ 91440 w 1016276"/>
              <a:gd name="connsiteY4" fmla="*/ 91440 h 3986914"/>
              <a:gd name="connsiteX0" fmla="*/ 0 w 1016276"/>
              <a:gd name="connsiteY0" fmla="*/ 0 h 3986914"/>
              <a:gd name="connsiteX1" fmla="*/ 1016276 w 1016276"/>
              <a:gd name="connsiteY1" fmla="*/ 0 h 3986914"/>
              <a:gd name="connsiteX2" fmla="*/ 1016276 w 1016276"/>
              <a:gd name="connsiteY2" fmla="*/ 3986914 h 3986914"/>
              <a:gd name="connsiteX3" fmla="*/ 0 w 1016276"/>
              <a:gd name="connsiteY3" fmla="*/ 3986914 h 3986914"/>
            </a:gdLst>
            <a:ahLst/>
            <a:cxnLst>
              <a:cxn ang="0">
                <a:pos x="connsiteX0" y="connsiteY0"/>
              </a:cxn>
              <a:cxn ang="0">
                <a:pos x="connsiteX1" y="connsiteY1"/>
              </a:cxn>
              <a:cxn ang="0">
                <a:pos x="connsiteX2" y="connsiteY2"/>
              </a:cxn>
              <a:cxn ang="0">
                <a:pos x="connsiteX3" y="connsiteY3"/>
              </a:cxn>
            </a:cxnLst>
            <a:rect l="l" t="t" r="r" b="b"/>
            <a:pathLst>
              <a:path w="1016276" h="3986914">
                <a:moveTo>
                  <a:pt x="0" y="0"/>
                </a:moveTo>
                <a:lnTo>
                  <a:pt x="1016276" y="0"/>
                </a:lnTo>
                <a:lnTo>
                  <a:pt x="1016276" y="3986914"/>
                </a:lnTo>
                <a:lnTo>
                  <a:pt x="0" y="3986914"/>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DABA80C7-4F84-4C81-9A0B-0FA51A9A3479}"/>
              </a:ext>
            </a:extLst>
          </p:cNvPr>
          <p:cNvGrpSpPr/>
          <p:nvPr/>
        </p:nvGrpSpPr>
        <p:grpSpPr>
          <a:xfrm rot="5400000">
            <a:off x="5783205" y="5679712"/>
            <a:ext cx="415494" cy="415494"/>
            <a:chOff x="10131498" y="3736537"/>
            <a:chExt cx="508000" cy="508000"/>
          </a:xfrm>
        </p:grpSpPr>
        <p:sp>
          <p:nvSpPr>
            <p:cNvPr id="139" name="Oval 138">
              <a:extLst>
                <a:ext uri="{FF2B5EF4-FFF2-40B4-BE49-F238E27FC236}">
                  <a16:creationId xmlns:a16="http://schemas.microsoft.com/office/drawing/2014/main" id="{3B51DAFE-BF83-4AC8-A09F-7FF233358204}"/>
                </a:ext>
              </a:extLst>
            </p:cNvPr>
            <p:cNvSpPr/>
            <p:nvPr/>
          </p:nvSpPr>
          <p:spPr bwMode="auto">
            <a:xfrm>
              <a:off x="10131498" y="3736537"/>
              <a:ext cx="508000" cy="508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42" name="Group 141">
              <a:extLst>
                <a:ext uri="{FF2B5EF4-FFF2-40B4-BE49-F238E27FC236}">
                  <a16:creationId xmlns:a16="http://schemas.microsoft.com/office/drawing/2014/main" id="{98B68C15-D11D-452E-957B-6408BAF5ABF9}"/>
                </a:ext>
              </a:extLst>
            </p:cNvPr>
            <p:cNvGrpSpPr/>
            <p:nvPr/>
          </p:nvGrpSpPr>
          <p:grpSpPr>
            <a:xfrm rot="5400000">
              <a:off x="10289591" y="3872967"/>
              <a:ext cx="297046" cy="235140"/>
              <a:chOff x="5496052" y="2578100"/>
              <a:chExt cx="412496" cy="427037"/>
            </a:xfrm>
          </p:grpSpPr>
          <p:sp>
            <p:nvSpPr>
              <p:cNvPr id="143" name="Isosceles Triangle 142">
                <a:extLst>
                  <a:ext uri="{FF2B5EF4-FFF2-40B4-BE49-F238E27FC236}">
                    <a16:creationId xmlns:a16="http://schemas.microsoft.com/office/drawing/2014/main" id="{FE026E2D-3BA8-4E5E-BF3F-88B14F8D9486}"/>
                  </a:ext>
                </a:extLst>
              </p:cNvPr>
              <p:cNvSpPr/>
              <p:nvPr/>
            </p:nvSpPr>
            <p:spPr bwMode="auto">
              <a:xfrm>
                <a:off x="5496052" y="2578100"/>
                <a:ext cx="412496" cy="355600"/>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Isosceles Triangle 144">
                <a:extLst>
                  <a:ext uri="{FF2B5EF4-FFF2-40B4-BE49-F238E27FC236}">
                    <a16:creationId xmlns:a16="http://schemas.microsoft.com/office/drawing/2014/main" id="{2B53DF40-B76C-4B1E-A4F5-91B8A9F41CE3}"/>
                  </a:ext>
                </a:extLst>
              </p:cNvPr>
              <p:cNvSpPr/>
              <p:nvPr/>
            </p:nvSpPr>
            <p:spPr bwMode="auto">
              <a:xfrm>
                <a:off x="5496052" y="2649537"/>
                <a:ext cx="412496" cy="355600"/>
              </a:xfrm>
              <a:prstGeom prst="triangle">
                <a:avLst/>
              </a:prstGeom>
              <a:solidFill>
                <a:srgbClr val="7575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6" name="Rectangle 145">
            <a:extLst>
              <a:ext uri="{FF2B5EF4-FFF2-40B4-BE49-F238E27FC236}">
                <a16:creationId xmlns:a16="http://schemas.microsoft.com/office/drawing/2014/main" id="{608BF6C3-D6B2-41DD-8DD4-B143D281AD75}"/>
              </a:ext>
            </a:extLst>
          </p:cNvPr>
          <p:cNvSpPr/>
          <p:nvPr/>
        </p:nvSpPr>
        <p:spPr bwMode="auto">
          <a:xfrm>
            <a:off x="4689665" y="6093303"/>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a:ln>
                  <a:noFill/>
                </a:ln>
                <a:solidFill>
                  <a:schemeClr val="tx1"/>
                </a:solidFill>
                <a:effectLst/>
                <a:uLnTx/>
                <a:uFillTx/>
                <a:latin typeface="Segoe UI Semibold"/>
                <a:ea typeface="+mn-ea"/>
                <a:cs typeface="Segoe UI" pitchFamily="34" charset="0"/>
              </a:rPr>
              <a:t>Azure</a:t>
            </a:r>
          </a:p>
        </p:txBody>
      </p:sp>
      <p:sp>
        <p:nvSpPr>
          <p:cNvPr id="77" name="Rectangle 76">
            <a:extLst>
              <a:ext uri="{FF2B5EF4-FFF2-40B4-BE49-F238E27FC236}">
                <a16:creationId xmlns:a16="http://schemas.microsoft.com/office/drawing/2014/main" id="{0B961C76-D3E5-498C-AF99-D7819D98C4F7}"/>
              </a:ext>
            </a:extLst>
          </p:cNvPr>
          <p:cNvSpPr/>
          <p:nvPr/>
        </p:nvSpPr>
        <p:spPr>
          <a:xfrm>
            <a:off x="467202" y="1082847"/>
            <a:ext cx="9942286" cy="307777"/>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9" normalizeH="0" baseline="0" noProof="0">
                <a:ln w="3175">
                  <a:noFill/>
                </a:ln>
                <a:effectLst/>
                <a:uLnTx/>
                <a:uFillTx/>
                <a:latin typeface="Segoe UI Semibold"/>
                <a:ea typeface="+mn-ea"/>
                <a:cs typeface="Segoe UI" pitchFamily="34" charset="0"/>
              </a:rPr>
              <a:t>Power Automate is built on the Microsoft Common Data Service (CDS)</a:t>
            </a:r>
          </a:p>
        </p:txBody>
      </p:sp>
      <p:grpSp>
        <p:nvGrpSpPr>
          <p:cNvPr id="100" name="Group 99">
            <a:extLst>
              <a:ext uri="{FF2B5EF4-FFF2-40B4-BE49-F238E27FC236}">
                <a16:creationId xmlns:a16="http://schemas.microsoft.com/office/drawing/2014/main" id="{B827B20C-5E8C-4D72-A4BA-0FE827BD0155}"/>
              </a:ext>
            </a:extLst>
          </p:cNvPr>
          <p:cNvGrpSpPr/>
          <p:nvPr/>
        </p:nvGrpSpPr>
        <p:grpSpPr>
          <a:xfrm rot="10800000">
            <a:off x="10064632" y="-1"/>
            <a:ext cx="2576046" cy="989556"/>
            <a:chOff x="9198052" y="5708828"/>
            <a:chExt cx="2991567" cy="1149173"/>
          </a:xfrm>
        </p:grpSpPr>
        <p:sp>
          <p:nvSpPr>
            <p:cNvPr id="101" name="Freeform: Shape 100">
              <a:extLst>
                <a:ext uri="{FF2B5EF4-FFF2-40B4-BE49-F238E27FC236}">
                  <a16:creationId xmlns:a16="http://schemas.microsoft.com/office/drawing/2014/main" id="{F7B7E154-0B8C-46FA-8700-6D3651AAD731}"/>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a:extLst>
                <a:ext uri="{FF2B5EF4-FFF2-40B4-BE49-F238E27FC236}">
                  <a16:creationId xmlns:a16="http://schemas.microsoft.com/office/drawing/2014/main" id="{C1AC59E7-7C86-4F69-A2B6-7CF432C3C346}"/>
                </a:ext>
              </a:extLst>
            </p:cNvPr>
            <p:cNvSpPr/>
            <p:nvPr/>
          </p:nvSpPr>
          <p:spPr bwMode="auto">
            <a:xfrm>
              <a:off x="9198052" y="5708828"/>
              <a:ext cx="2372367" cy="1149173"/>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712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par>
                          <p:cTn id="12" fill="hold">
                            <p:stCondLst>
                              <p:cond delay="1250"/>
                            </p:stCondLst>
                            <p:childTnLst>
                              <p:par>
                                <p:cTn id="13" presetID="16" presetClass="entr" presetSubtype="37" fill="hold" grpId="0" nodeType="after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barn(outVertical)">
                                      <p:cBhvr>
                                        <p:cTn id="15" dur="500"/>
                                        <p:tgtEl>
                                          <p:spTgt spid="93"/>
                                        </p:tgtEl>
                                      </p:cBhvr>
                                    </p:animEffect>
                                  </p:childTnLst>
                                </p:cTn>
                              </p:par>
                              <p:par>
                                <p:cTn id="16" presetID="10" presetClass="entr" presetSubtype="0" fill="hold" nodeType="withEffect">
                                  <p:stCondLst>
                                    <p:cond delay="25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par>
                                <p:cTn id="26" presetID="10" presetClass="entr" presetSubtype="0" fill="hold" nodeType="with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0"/>
                                        </p:tgtEl>
                                        <p:attrNameLst>
                                          <p:attrName>style.visibility</p:attrName>
                                        </p:attrNameLst>
                                      </p:cBhvr>
                                      <p:to>
                                        <p:strVal val="visible"/>
                                      </p:to>
                                    </p:set>
                                    <p:animEffect transition="in" filter="fade">
                                      <p:cBhvr>
                                        <p:cTn id="31" dur="500"/>
                                        <p:tgtEl>
                                          <p:spTgt spid="90"/>
                                        </p:tgtEl>
                                      </p:cBhvr>
                                    </p:animEffect>
                                  </p:childTnLst>
                                </p:cTn>
                              </p:par>
                            </p:childTnLst>
                          </p:cTn>
                        </p:par>
                        <p:par>
                          <p:cTn id="32" fill="hold">
                            <p:stCondLst>
                              <p:cond delay="2500"/>
                            </p:stCondLst>
                            <p:childTnLst>
                              <p:par>
                                <p:cTn id="33" presetID="16" presetClass="entr" presetSubtype="37" fill="hold" grpId="0" nodeType="afterEffect">
                                  <p:stCondLst>
                                    <p:cond delay="0"/>
                                  </p:stCondLst>
                                  <p:childTnLst>
                                    <p:set>
                                      <p:cBhvr>
                                        <p:cTn id="34" dur="1" fill="hold">
                                          <p:stCondLst>
                                            <p:cond delay="0"/>
                                          </p:stCondLst>
                                        </p:cTn>
                                        <p:tgtEl>
                                          <p:spTgt spid="113"/>
                                        </p:tgtEl>
                                        <p:attrNameLst>
                                          <p:attrName>style.visibility</p:attrName>
                                        </p:attrNameLst>
                                      </p:cBhvr>
                                      <p:to>
                                        <p:strVal val="visible"/>
                                      </p:to>
                                    </p:set>
                                    <p:animEffect transition="in" filter="barn(outVertical)">
                                      <p:cBhvr>
                                        <p:cTn id="35" dur="500"/>
                                        <p:tgtEl>
                                          <p:spTgt spid="113"/>
                                        </p:tgtEl>
                                      </p:cBhvr>
                                    </p:animEffect>
                                  </p:childTnLst>
                                </p:cTn>
                              </p:par>
                              <p:par>
                                <p:cTn id="36" presetID="10" presetClass="entr" presetSubtype="0" fill="hold" nodeType="withEffect">
                                  <p:stCondLst>
                                    <p:cond delay="250"/>
                                  </p:stCondLst>
                                  <p:childTnLst>
                                    <p:set>
                                      <p:cBhvr>
                                        <p:cTn id="37" dur="1" fill="hold">
                                          <p:stCondLst>
                                            <p:cond delay="0"/>
                                          </p:stCondLst>
                                        </p:cTn>
                                        <p:tgtEl>
                                          <p:spTgt spid="114"/>
                                        </p:tgtEl>
                                        <p:attrNameLst>
                                          <p:attrName>style.visibility</p:attrName>
                                        </p:attrNameLst>
                                      </p:cBhvr>
                                      <p:to>
                                        <p:strVal val="visible"/>
                                      </p:to>
                                    </p:set>
                                    <p:animEffect transition="in" filter="fade">
                                      <p:cBhvr>
                                        <p:cTn id="38" dur="500"/>
                                        <p:tgtEl>
                                          <p:spTgt spid="114"/>
                                        </p:tgtEl>
                                      </p:cBhvr>
                                    </p:animEffect>
                                  </p:childTnLst>
                                </p:cTn>
                              </p:par>
                            </p:childTnLst>
                          </p:cTn>
                        </p:par>
                        <p:par>
                          <p:cTn id="39" fill="hold">
                            <p:stCondLst>
                              <p:cond delay="3250"/>
                            </p:stCondLst>
                            <p:childTnLst>
                              <p:par>
                                <p:cTn id="40" presetID="10" presetClass="entr" presetSubtype="0" fill="hold" grpId="0" nodeType="afterEffect">
                                  <p:stCondLst>
                                    <p:cond delay="0"/>
                                  </p:stCondLst>
                                  <p:childTnLst>
                                    <p:set>
                                      <p:cBhvr>
                                        <p:cTn id="41" dur="1" fill="hold">
                                          <p:stCondLst>
                                            <p:cond delay="0"/>
                                          </p:stCondLst>
                                        </p:cTn>
                                        <p:tgtEl>
                                          <p:spTgt spid="146"/>
                                        </p:tgtEl>
                                        <p:attrNameLst>
                                          <p:attrName>style.visibility</p:attrName>
                                        </p:attrNameLst>
                                      </p:cBhvr>
                                      <p:to>
                                        <p:strVal val="visible"/>
                                      </p:to>
                                    </p:set>
                                    <p:animEffect transition="in" filter="fade">
                                      <p:cBhvr>
                                        <p:cTn id="42"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2" grpId="0"/>
      <p:bldP spid="93" grpId="0" animBg="1"/>
      <p:bldP spid="113" grpId="0" animBg="1"/>
      <p:bldP spid="146" grpId="0"/>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5E11B-6F0C-44D7-85CD-B6AB664EE64F}"/>
              </a:ext>
            </a:extLst>
          </p:cNvPr>
          <p:cNvSpPr>
            <a:spLocks noGrp="1"/>
          </p:cNvSpPr>
          <p:nvPr>
            <p:ph type="title"/>
          </p:nvPr>
        </p:nvSpPr>
        <p:spPr/>
        <p:txBody>
          <a:bodyPr/>
          <a:lstStyle/>
          <a:p>
            <a:r>
              <a:rPr lang="en-US"/>
              <a:t>Unlock your imagination with Power Automate + PVA</a:t>
            </a:r>
          </a:p>
        </p:txBody>
      </p:sp>
      <p:sp>
        <p:nvSpPr>
          <p:cNvPr id="25" name="Rectangle 24">
            <a:extLst>
              <a:ext uri="{FF2B5EF4-FFF2-40B4-BE49-F238E27FC236}">
                <a16:creationId xmlns:a16="http://schemas.microsoft.com/office/drawing/2014/main" id="{664EBCD6-59B9-4556-98F9-1429EF06B5FA}"/>
              </a:ext>
            </a:extLst>
          </p:cNvPr>
          <p:cNvSpPr/>
          <p:nvPr/>
        </p:nvSpPr>
        <p:spPr>
          <a:xfrm>
            <a:off x="1345365" y="1452880"/>
            <a:ext cx="10495537"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VA uses </a:t>
            </a:r>
            <a:r>
              <a:rPr lang="en-US" sz="1600">
                <a:solidFill>
                  <a:schemeClr val="tx1"/>
                </a:solidFill>
              </a:rPr>
              <a:t>location-based</a:t>
            </a:r>
            <a:r>
              <a:rPr lang="en-US" sz="1600" kern="1200">
                <a:solidFill>
                  <a:schemeClr val="tx1"/>
                </a:solidFill>
              </a:rPr>
              <a:t> services (LBS) to provide personalized services</a:t>
            </a:r>
          </a:p>
        </p:txBody>
      </p:sp>
      <p:sp>
        <p:nvSpPr>
          <p:cNvPr id="26" name="Rectangle 25">
            <a:extLst>
              <a:ext uri="{FF2B5EF4-FFF2-40B4-BE49-F238E27FC236}">
                <a16:creationId xmlns:a16="http://schemas.microsoft.com/office/drawing/2014/main" id="{A9934D8B-72C8-4781-A7A7-757D6A3DA2C4}"/>
              </a:ext>
            </a:extLst>
          </p:cNvPr>
          <p:cNvSpPr/>
          <p:nvPr/>
        </p:nvSpPr>
        <p:spPr>
          <a:xfrm>
            <a:off x="1345365" y="2109212"/>
            <a:ext cx="10495537"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2-factor authentications to increase security</a:t>
            </a:r>
          </a:p>
        </p:txBody>
      </p:sp>
      <p:sp>
        <p:nvSpPr>
          <p:cNvPr id="27" name="Rectangle 26">
            <a:extLst>
              <a:ext uri="{FF2B5EF4-FFF2-40B4-BE49-F238E27FC236}">
                <a16:creationId xmlns:a16="http://schemas.microsoft.com/office/drawing/2014/main" id="{60BF1A67-CE4E-4897-8075-918B96461C08}"/>
              </a:ext>
            </a:extLst>
          </p:cNvPr>
          <p:cNvSpPr/>
          <p:nvPr/>
        </p:nvSpPr>
        <p:spPr>
          <a:xfrm>
            <a:off x="1345365" y="2765543"/>
            <a:ext cx="10495537" cy="552730"/>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defTabSz="622300">
              <a:lnSpc>
                <a:spcPct val="90000"/>
              </a:lnSpc>
              <a:spcBef>
                <a:spcPct val="0"/>
              </a:spcBef>
              <a:spcAft>
                <a:spcPct val="35000"/>
              </a:spcAft>
            </a:pPr>
            <a:r>
              <a:rPr lang="en-US" sz="1600" kern="1200">
                <a:solidFill>
                  <a:schemeClr val="tx1"/>
                </a:solidFill>
              </a:rPr>
              <a:t>Proactively </a:t>
            </a:r>
            <a:r>
              <a:rPr lang="en-US" sz="1600">
                <a:solidFill>
                  <a:schemeClr val="tx1"/>
                </a:solidFill>
              </a:rPr>
              <a:t>recommends</a:t>
            </a:r>
            <a:r>
              <a:rPr lang="en-US" sz="1600" kern="1200">
                <a:solidFill>
                  <a:schemeClr val="tx1"/>
                </a:solidFill>
              </a:rPr>
              <a:t> new promotions, benefits, </a:t>
            </a:r>
            <a:r>
              <a:rPr lang="en-US" sz="1600">
                <a:solidFill>
                  <a:schemeClr val="tx1"/>
                </a:solidFill>
              </a:rPr>
              <a:t>and better</a:t>
            </a:r>
            <a:r>
              <a:rPr lang="en-US" sz="1600" kern="1200">
                <a:solidFill>
                  <a:schemeClr val="tx1"/>
                </a:solidFill>
              </a:rPr>
              <a:t> rates to your customers</a:t>
            </a:r>
          </a:p>
        </p:txBody>
      </p:sp>
      <p:sp>
        <p:nvSpPr>
          <p:cNvPr id="28" name="Rectangle 27">
            <a:extLst>
              <a:ext uri="{FF2B5EF4-FFF2-40B4-BE49-F238E27FC236}">
                <a16:creationId xmlns:a16="http://schemas.microsoft.com/office/drawing/2014/main" id="{1075A798-87CB-4D8F-BB68-4A0A4A28C769}"/>
              </a:ext>
            </a:extLst>
          </p:cNvPr>
          <p:cNvSpPr/>
          <p:nvPr/>
        </p:nvSpPr>
        <p:spPr>
          <a:xfrm>
            <a:off x="1345365" y="3421875"/>
            <a:ext cx="10495537" cy="552730"/>
          </a:xfrm>
          <a:prstGeom prst="rect">
            <a:avLst/>
          </a:prstGeom>
          <a:no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a:solidFill>
                  <a:schemeClr val="tx1"/>
                </a:solidFill>
              </a:rPr>
              <a:t>Check</a:t>
            </a:r>
            <a:r>
              <a:rPr lang="en-US" sz="1600" kern="1200">
                <a:solidFill>
                  <a:schemeClr val="tx1"/>
                </a:solidFill>
              </a:rPr>
              <a:t> user eligibility and submit applications on their behalf</a:t>
            </a:r>
          </a:p>
        </p:txBody>
      </p:sp>
      <p:sp>
        <p:nvSpPr>
          <p:cNvPr id="29" name="Rectangle 28">
            <a:extLst>
              <a:ext uri="{FF2B5EF4-FFF2-40B4-BE49-F238E27FC236}">
                <a16:creationId xmlns:a16="http://schemas.microsoft.com/office/drawing/2014/main" id="{4CCFC5E6-5C60-4251-A470-CBA05FB601EF}"/>
              </a:ext>
            </a:extLst>
          </p:cNvPr>
          <p:cNvSpPr/>
          <p:nvPr/>
        </p:nvSpPr>
        <p:spPr>
          <a:xfrm>
            <a:off x="1345365" y="4078207"/>
            <a:ext cx="10495537" cy="552730"/>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Remote diagnosis for IOT devices</a:t>
            </a:r>
          </a:p>
        </p:txBody>
      </p:sp>
      <p:sp>
        <p:nvSpPr>
          <p:cNvPr id="30" name="Rectangle 29">
            <a:extLst>
              <a:ext uri="{FF2B5EF4-FFF2-40B4-BE49-F238E27FC236}">
                <a16:creationId xmlns:a16="http://schemas.microsoft.com/office/drawing/2014/main" id="{FD6CDA06-CCB0-4CA7-96D9-B2E56709AF79}"/>
              </a:ext>
            </a:extLst>
          </p:cNvPr>
          <p:cNvSpPr/>
          <p:nvPr/>
        </p:nvSpPr>
        <p:spPr>
          <a:xfrm>
            <a:off x="1345365" y="4734538"/>
            <a:ext cx="10495537"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Make appointments for your customers</a:t>
            </a:r>
          </a:p>
        </p:txBody>
      </p:sp>
      <p:sp>
        <p:nvSpPr>
          <p:cNvPr id="31" name="Rectangle 30">
            <a:extLst>
              <a:ext uri="{FF2B5EF4-FFF2-40B4-BE49-F238E27FC236}">
                <a16:creationId xmlns:a16="http://schemas.microsoft.com/office/drawing/2014/main" id="{4D5C97E5-BED2-434A-AF4A-7E5850011F55}"/>
              </a:ext>
            </a:extLst>
          </p:cNvPr>
          <p:cNvSpPr/>
          <p:nvPr/>
        </p:nvSpPr>
        <p:spPr>
          <a:xfrm>
            <a:off x="1345365" y="5390870"/>
            <a:ext cx="10495537"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Get a picture of the receipt from employee and use Azure AI for expense reimbursement (integration with Azure AI)</a:t>
            </a:r>
          </a:p>
        </p:txBody>
      </p:sp>
      <p:grpSp>
        <p:nvGrpSpPr>
          <p:cNvPr id="103" name="Group 102">
            <a:extLst>
              <a:ext uri="{FF2B5EF4-FFF2-40B4-BE49-F238E27FC236}">
                <a16:creationId xmlns:a16="http://schemas.microsoft.com/office/drawing/2014/main" id="{68FF3A64-DE70-4FFF-B197-752CA412F30B}"/>
              </a:ext>
            </a:extLst>
          </p:cNvPr>
          <p:cNvGrpSpPr/>
          <p:nvPr/>
        </p:nvGrpSpPr>
        <p:grpSpPr>
          <a:xfrm>
            <a:off x="441668" y="1430961"/>
            <a:ext cx="681444" cy="596570"/>
            <a:chOff x="441668" y="1430961"/>
            <a:chExt cx="681444" cy="596570"/>
          </a:xfrm>
        </p:grpSpPr>
        <p:sp>
          <p:nvSpPr>
            <p:cNvPr id="53" name="Arc 52">
              <a:extLst>
                <a:ext uri="{FF2B5EF4-FFF2-40B4-BE49-F238E27FC236}">
                  <a16:creationId xmlns:a16="http://schemas.microsoft.com/office/drawing/2014/main" id="{B83B6C69-1474-4672-B38D-EFCC6D6406D9}"/>
                </a:ext>
              </a:extLst>
            </p:cNvPr>
            <p:cNvSpPr/>
            <p:nvPr/>
          </p:nvSpPr>
          <p:spPr bwMode="auto">
            <a:xfrm rot="13500000">
              <a:off x="441667" y="1430962"/>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37 - 1">
              <a:extLst>
                <a:ext uri="{FF2B5EF4-FFF2-40B4-BE49-F238E27FC236}">
                  <a16:creationId xmlns:a16="http://schemas.microsoft.com/office/drawing/2014/main" id="{1F4885A1-9C11-4B83-BE61-FE24F2FAD430}"/>
                </a:ext>
              </a:extLst>
            </p:cNvPr>
            <p:cNvSpPr/>
            <p:nvPr/>
          </p:nvSpPr>
          <p:spPr>
            <a:xfrm rot="8100000">
              <a:off x="933433" y="1633958"/>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10" name="Oval 9">
              <a:extLst>
                <a:ext uri="{FF2B5EF4-FFF2-40B4-BE49-F238E27FC236}">
                  <a16:creationId xmlns:a16="http://schemas.microsoft.com/office/drawing/2014/main" id="{59031D23-AF90-409A-AE51-77325DECC950}"/>
                </a:ext>
              </a:extLst>
            </p:cNvPr>
            <p:cNvSpPr/>
            <p:nvPr/>
          </p:nvSpPr>
          <p:spPr bwMode="auto">
            <a:xfrm>
              <a:off x="488669" y="1477963"/>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1532B8C8-53D3-4E76-B49D-859D1B8626BE}"/>
                </a:ext>
              </a:extLst>
            </p:cNvPr>
            <p:cNvGrpSpPr/>
            <p:nvPr/>
          </p:nvGrpSpPr>
          <p:grpSpPr>
            <a:xfrm>
              <a:off x="608750" y="1590432"/>
              <a:ext cx="297392" cy="252299"/>
              <a:chOff x="618275" y="1590432"/>
              <a:chExt cx="297392" cy="252299"/>
            </a:xfrm>
          </p:grpSpPr>
          <p:sp>
            <p:nvSpPr>
              <p:cNvPr id="60" name="Freeform: Shape 59">
                <a:extLst>
                  <a:ext uri="{FF2B5EF4-FFF2-40B4-BE49-F238E27FC236}">
                    <a16:creationId xmlns:a16="http://schemas.microsoft.com/office/drawing/2014/main" id="{E63A7048-77BD-48DD-AAEA-043710E7628B}"/>
                  </a:ext>
                </a:extLst>
              </p:cNvPr>
              <p:cNvSpPr/>
              <p:nvPr/>
            </p:nvSpPr>
            <p:spPr>
              <a:xfrm>
                <a:off x="618275" y="1590432"/>
                <a:ext cx="250972" cy="252299"/>
              </a:xfrm>
              <a:custGeom>
                <a:avLst/>
                <a:gdLst>
                  <a:gd name="connsiteX0" fmla="*/ 267652 w 360045"/>
                  <a:gd name="connsiteY0" fmla="*/ 297180 h 361950"/>
                  <a:gd name="connsiteX1" fmla="*/ 307657 w 360045"/>
                  <a:gd name="connsiteY1" fmla="*/ 309562 h 361950"/>
                  <a:gd name="connsiteX2" fmla="*/ 237172 w 360045"/>
                  <a:gd name="connsiteY2" fmla="*/ 352425 h 361950"/>
                  <a:gd name="connsiteX3" fmla="*/ 260032 w 360045"/>
                  <a:gd name="connsiteY3" fmla="*/ 316230 h 361950"/>
                  <a:gd name="connsiteX4" fmla="*/ 267652 w 360045"/>
                  <a:gd name="connsiteY4" fmla="*/ 297180 h 361950"/>
                  <a:gd name="connsiteX5" fmla="*/ 92392 w 360045"/>
                  <a:gd name="connsiteY5" fmla="*/ 297180 h 361950"/>
                  <a:gd name="connsiteX6" fmla="*/ 122872 w 360045"/>
                  <a:gd name="connsiteY6" fmla="*/ 352425 h 361950"/>
                  <a:gd name="connsiteX7" fmla="*/ 52387 w 360045"/>
                  <a:gd name="connsiteY7" fmla="*/ 309562 h 361950"/>
                  <a:gd name="connsiteX8" fmla="*/ 92392 w 360045"/>
                  <a:gd name="connsiteY8" fmla="*/ 297180 h 361950"/>
                  <a:gd name="connsiteX9" fmla="*/ 180022 w 360045"/>
                  <a:gd name="connsiteY9" fmla="*/ 285988 h 361950"/>
                  <a:gd name="connsiteX10" fmla="*/ 248602 w 360045"/>
                  <a:gd name="connsiteY10" fmla="*/ 292417 h 361950"/>
                  <a:gd name="connsiteX11" fmla="*/ 242887 w 360045"/>
                  <a:gd name="connsiteY11" fmla="*/ 307657 h 361950"/>
                  <a:gd name="connsiteX12" fmla="*/ 180022 w 360045"/>
                  <a:gd name="connsiteY12" fmla="*/ 361950 h 361950"/>
                  <a:gd name="connsiteX13" fmla="*/ 111442 w 360045"/>
                  <a:gd name="connsiteY13" fmla="*/ 292417 h 361950"/>
                  <a:gd name="connsiteX14" fmla="*/ 180022 w 360045"/>
                  <a:gd name="connsiteY14" fmla="*/ 285988 h 361950"/>
                  <a:gd name="connsiteX15" fmla="*/ 0 w 360045"/>
                  <a:gd name="connsiteY15" fmla="*/ 191453 h 361950"/>
                  <a:gd name="connsiteX16" fmla="*/ 76200 w 360045"/>
                  <a:gd name="connsiteY16" fmla="*/ 191453 h 361950"/>
                  <a:gd name="connsiteX17" fmla="*/ 87630 w 360045"/>
                  <a:gd name="connsiteY17" fmla="*/ 279083 h 361950"/>
                  <a:gd name="connsiteX18" fmla="*/ 39052 w 360045"/>
                  <a:gd name="connsiteY18" fmla="*/ 294323 h 361950"/>
                  <a:gd name="connsiteX19" fmla="*/ 0 w 360045"/>
                  <a:gd name="connsiteY19" fmla="*/ 191453 h 361950"/>
                  <a:gd name="connsiteX20" fmla="*/ 283845 w 360045"/>
                  <a:gd name="connsiteY20" fmla="*/ 190500 h 361950"/>
                  <a:gd name="connsiteX21" fmla="*/ 360045 w 360045"/>
                  <a:gd name="connsiteY21" fmla="*/ 190500 h 361950"/>
                  <a:gd name="connsiteX22" fmla="*/ 320992 w 360045"/>
                  <a:gd name="connsiteY22" fmla="*/ 293370 h 361950"/>
                  <a:gd name="connsiteX23" fmla="*/ 272415 w 360045"/>
                  <a:gd name="connsiteY23" fmla="*/ 278130 h 361950"/>
                  <a:gd name="connsiteX24" fmla="*/ 283845 w 360045"/>
                  <a:gd name="connsiteY24" fmla="*/ 190500 h 361950"/>
                  <a:gd name="connsiteX25" fmla="*/ 94297 w 360045"/>
                  <a:gd name="connsiteY25" fmla="*/ 190500 h 361950"/>
                  <a:gd name="connsiteX26" fmla="*/ 265747 w 360045"/>
                  <a:gd name="connsiteY26" fmla="*/ 190500 h 361950"/>
                  <a:gd name="connsiteX27" fmla="*/ 254317 w 360045"/>
                  <a:gd name="connsiteY27" fmla="*/ 274320 h 361950"/>
                  <a:gd name="connsiteX28" fmla="*/ 105727 w 360045"/>
                  <a:gd name="connsiteY28" fmla="*/ 274320 h 361950"/>
                  <a:gd name="connsiteX29" fmla="*/ 94297 w 360045"/>
                  <a:gd name="connsiteY29" fmla="*/ 190500 h 361950"/>
                  <a:gd name="connsiteX30" fmla="*/ 105727 w 360045"/>
                  <a:gd name="connsiteY30" fmla="*/ 87630 h 361950"/>
                  <a:gd name="connsiteX31" fmla="*/ 180022 w 360045"/>
                  <a:gd name="connsiteY31" fmla="*/ 95250 h 361950"/>
                  <a:gd name="connsiteX32" fmla="*/ 254317 w 360045"/>
                  <a:gd name="connsiteY32" fmla="*/ 87630 h 361950"/>
                  <a:gd name="connsiteX33" fmla="*/ 265747 w 360045"/>
                  <a:gd name="connsiteY33" fmla="*/ 171450 h 361950"/>
                  <a:gd name="connsiteX34" fmla="*/ 94297 w 360045"/>
                  <a:gd name="connsiteY34" fmla="*/ 171450 h 361950"/>
                  <a:gd name="connsiteX35" fmla="*/ 105727 w 360045"/>
                  <a:gd name="connsiteY35" fmla="*/ 87630 h 361950"/>
                  <a:gd name="connsiteX36" fmla="*/ 39052 w 360045"/>
                  <a:gd name="connsiteY36" fmla="*/ 68580 h 361950"/>
                  <a:gd name="connsiteX37" fmla="*/ 87630 w 360045"/>
                  <a:gd name="connsiteY37" fmla="*/ 83820 h 361950"/>
                  <a:gd name="connsiteX38" fmla="*/ 76200 w 360045"/>
                  <a:gd name="connsiteY38" fmla="*/ 171450 h 361950"/>
                  <a:gd name="connsiteX39" fmla="*/ 0 w 360045"/>
                  <a:gd name="connsiteY39" fmla="*/ 171450 h 361950"/>
                  <a:gd name="connsiteX40" fmla="*/ 39052 w 360045"/>
                  <a:gd name="connsiteY40" fmla="*/ 68580 h 361950"/>
                  <a:gd name="connsiteX41" fmla="*/ 320992 w 360045"/>
                  <a:gd name="connsiteY41" fmla="*/ 67628 h 361950"/>
                  <a:gd name="connsiteX42" fmla="*/ 360045 w 360045"/>
                  <a:gd name="connsiteY42" fmla="*/ 170498 h 361950"/>
                  <a:gd name="connsiteX43" fmla="*/ 283845 w 360045"/>
                  <a:gd name="connsiteY43" fmla="*/ 170498 h 361950"/>
                  <a:gd name="connsiteX44" fmla="*/ 272415 w 360045"/>
                  <a:gd name="connsiteY44" fmla="*/ 82868 h 361950"/>
                  <a:gd name="connsiteX45" fmla="*/ 320992 w 360045"/>
                  <a:gd name="connsiteY45" fmla="*/ 67628 h 361950"/>
                  <a:gd name="connsiteX46" fmla="*/ 237172 w 360045"/>
                  <a:gd name="connsiteY46" fmla="*/ 9525 h 361950"/>
                  <a:gd name="connsiteX47" fmla="*/ 307657 w 360045"/>
                  <a:gd name="connsiteY47" fmla="*/ 52387 h 361950"/>
                  <a:gd name="connsiteX48" fmla="*/ 266699 w 360045"/>
                  <a:gd name="connsiteY48" fmla="*/ 64770 h 361950"/>
                  <a:gd name="connsiteX49" fmla="*/ 237172 w 360045"/>
                  <a:gd name="connsiteY49" fmla="*/ 9525 h 361950"/>
                  <a:gd name="connsiteX50" fmla="*/ 122872 w 360045"/>
                  <a:gd name="connsiteY50" fmla="*/ 9525 h 361950"/>
                  <a:gd name="connsiteX51" fmla="*/ 100012 w 360045"/>
                  <a:gd name="connsiteY51" fmla="*/ 45720 h 361950"/>
                  <a:gd name="connsiteX52" fmla="*/ 92392 w 360045"/>
                  <a:gd name="connsiteY52" fmla="*/ 64770 h 361950"/>
                  <a:gd name="connsiteX53" fmla="*/ 52387 w 360045"/>
                  <a:gd name="connsiteY53" fmla="*/ 52387 h 361950"/>
                  <a:gd name="connsiteX54" fmla="*/ 122872 w 360045"/>
                  <a:gd name="connsiteY54" fmla="*/ 9525 h 361950"/>
                  <a:gd name="connsiteX55" fmla="*/ 180022 w 360045"/>
                  <a:gd name="connsiteY55" fmla="*/ 0 h 361950"/>
                  <a:gd name="connsiteX56" fmla="*/ 248602 w 360045"/>
                  <a:gd name="connsiteY56" fmla="*/ 69532 h 361950"/>
                  <a:gd name="connsiteX57" fmla="*/ 111442 w 360045"/>
                  <a:gd name="connsiteY57" fmla="*/ 69532 h 361950"/>
                  <a:gd name="connsiteX58" fmla="*/ 117157 w 360045"/>
                  <a:gd name="connsiteY58" fmla="*/ 54292 h 361950"/>
                  <a:gd name="connsiteX59" fmla="*/ 180022 w 360045"/>
                  <a:gd name="connsiteY59"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0045" h="361950">
                    <a:moveTo>
                      <a:pt x="267652" y="297180"/>
                    </a:moveTo>
                    <a:cubicBezTo>
                      <a:pt x="280987" y="300037"/>
                      <a:pt x="294322" y="304800"/>
                      <a:pt x="307657" y="309562"/>
                    </a:cubicBezTo>
                    <a:cubicBezTo>
                      <a:pt x="287654" y="328612"/>
                      <a:pt x="263842" y="343852"/>
                      <a:pt x="237172" y="352425"/>
                    </a:cubicBezTo>
                    <a:cubicBezTo>
                      <a:pt x="245744" y="342900"/>
                      <a:pt x="253364" y="330517"/>
                      <a:pt x="260032" y="316230"/>
                    </a:cubicBezTo>
                    <a:cubicBezTo>
                      <a:pt x="262889" y="309562"/>
                      <a:pt x="264794" y="303847"/>
                      <a:pt x="267652" y="297180"/>
                    </a:cubicBezTo>
                    <a:close/>
                    <a:moveTo>
                      <a:pt x="92392" y="297180"/>
                    </a:moveTo>
                    <a:cubicBezTo>
                      <a:pt x="100012" y="319087"/>
                      <a:pt x="110489" y="338137"/>
                      <a:pt x="122872" y="352425"/>
                    </a:cubicBezTo>
                    <a:cubicBezTo>
                      <a:pt x="96202" y="343852"/>
                      <a:pt x="71437" y="328612"/>
                      <a:pt x="52387" y="309562"/>
                    </a:cubicBezTo>
                    <a:cubicBezTo>
                      <a:pt x="65722" y="304800"/>
                      <a:pt x="79057" y="300990"/>
                      <a:pt x="92392" y="297180"/>
                    </a:cubicBezTo>
                    <a:close/>
                    <a:moveTo>
                      <a:pt x="180022" y="285988"/>
                    </a:moveTo>
                    <a:cubicBezTo>
                      <a:pt x="202882" y="285988"/>
                      <a:pt x="225742" y="288131"/>
                      <a:pt x="248602" y="292417"/>
                    </a:cubicBezTo>
                    <a:cubicBezTo>
                      <a:pt x="246697" y="297180"/>
                      <a:pt x="244792" y="302895"/>
                      <a:pt x="242887" y="307657"/>
                    </a:cubicBezTo>
                    <a:cubicBezTo>
                      <a:pt x="231457" y="332422"/>
                      <a:pt x="212407" y="361950"/>
                      <a:pt x="180022" y="361950"/>
                    </a:cubicBezTo>
                    <a:cubicBezTo>
                      <a:pt x="148589" y="361950"/>
                      <a:pt x="125729" y="333375"/>
                      <a:pt x="111442" y="292417"/>
                    </a:cubicBezTo>
                    <a:cubicBezTo>
                      <a:pt x="134302" y="288131"/>
                      <a:pt x="157162" y="285988"/>
                      <a:pt x="180022" y="285988"/>
                    </a:cubicBezTo>
                    <a:close/>
                    <a:moveTo>
                      <a:pt x="0" y="191453"/>
                    </a:moveTo>
                    <a:lnTo>
                      <a:pt x="76200" y="191453"/>
                    </a:lnTo>
                    <a:cubicBezTo>
                      <a:pt x="76200" y="220980"/>
                      <a:pt x="80010" y="251460"/>
                      <a:pt x="87630" y="279083"/>
                    </a:cubicBezTo>
                    <a:cubicBezTo>
                      <a:pt x="71437" y="282893"/>
                      <a:pt x="55245" y="288608"/>
                      <a:pt x="39052" y="294323"/>
                    </a:cubicBezTo>
                    <a:cubicBezTo>
                      <a:pt x="16192" y="265748"/>
                      <a:pt x="1905" y="229553"/>
                      <a:pt x="0" y="191453"/>
                    </a:cubicBezTo>
                    <a:close/>
                    <a:moveTo>
                      <a:pt x="283845" y="190500"/>
                    </a:moveTo>
                    <a:lnTo>
                      <a:pt x="360045" y="190500"/>
                    </a:lnTo>
                    <a:cubicBezTo>
                      <a:pt x="358140" y="229552"/>
                      <a:pt x="343852" y="265747"/>
                      <a:pt x="320992" y="293370"/>
                    </a:cubicBezTo>
                    <a:cubicBezTo>
                      <a:pt x="304800" y="287655"/>
                      <a:pt x="288607" y="281940"/>
                      <a:pt x="272415" y="278130"/>
                    </a:cubicBezTo>
                    <a:cubicBezTo>
                      <a:pt x="279082" y="252412"/>
                      <a:pt x="282892" y="221932"/>
                      <a:pt x="283845" y="190500"/>
                    </a:cubicBezTo>
                    <a:close/>
                    <a:moveTo>
                      <a:pt x="94297" y="190500"/>
                    </a:moveTo>
                    <a:lnTo>
                      <a:pt x="265747" y="190500"/>
                    </a:lnTo>
                    <a:cubicBezTo>
                      <a:pt x="264794" y="220980"/>
                      <a:pt x="260984" y="249555"/>
                      <a:pt x="254317" y="274320"/>
                    </a:cubicBezTo>
                    <a:cubicBezTo>
                      <a:pt x="204787" y="264795"/>
                      <a:pt x="155257" y="264795"/>
                      <a:pt x="105727" y="274320"/>
                    </a:cubicBezTo>
                    <a:cubicBezTo>
                      <a:pt x="99059" y="248602"/>
                      <a:pt x="95249" y="220027"/>
                      <a:pt x="94297" y="190500"/>
                    </a:cubicBezTo>
                    <a:close/>
                    <a:moveTo>
                      <a:pt x="105727" y="87630"/>
                    </a:moveTo>
                    <a:cubicBezTo>
                      <a:pt x="130492" y="92392"/>
                      <a:pt x="155257" y="95250"/>
                      <a:pt x="180022" y="95250"/>
                    </a:cubicBezTo>
                    <a:cubicBezTo>
                      <a:pt x="204787" y="95250"/>
                      <a:pt x="229552" y="92392"/>
                      <a:pt x="254317" y="87630"/>
                    </a:cubicBezTo>
                    <a:cubicBezTo>
                      <a:pt x="260984" y="113347"/>
                      <a:pt x="264794" y="141922"/>
                      <a:pt x="265747" y="171450"/>
                    </a:cubicBezTo>
                    <a:lnTo>
                      <a:pt x="94297" y="171450"/>
                    </a:lnTo>
                    <a:cubicBezTo>
                      <a:pt x="95249" y="140970"/>
                      <a:pt x="99059" y="112395"/>
                      <a:pt x="105727" y="87630"/>
                    </a:cubicBezTo>
                    <a:close/>
                    <a:moveTo>
                      <a:pt x="39052" y="68580"/>
                    </a:moveTo>
                    <a:cubicBezTo>
                      <a:pt x="55245" y="74295"/>
                      <a:pt x="71437" y="80010"/>
                      <a:pt x="87630" y="83820"/>
                    </a:cubicBezTo>
                    <a:cubicBezTo>
                      <a:pt x="80962" y="109537"/>
                      <a:pt x="77152" y="140017"/>
                      <a:pt x="76200" y="171450"/>
                    </a:cubicBezTo>
                    <a:lnTo>
                      <a:pt x="0" y="171450"/>
                    </a:lnTo>
                    <a:cubicBezTo>
                      <a:pt x="1905" y="132397"/>
                      <a:pt x="16192" y="96202"/>
                      <a:pt x="39052" y="68580"/>
                    </a:cubicBezTo>
                    <a:close/>
                    <a:moveTo>
                      <a:pt x="320992" y="67628"/>
                    </a:moveTo>
                    <a:cubicBezTo>
                      <a:pt x="343852" y="96203"/>
                      <a:pt x="358140" y="132398"/>
                      <a:pt x="360045" y="170498"/>
                    </a:cubicBezTo>
                    <a:lnTo>
                      <a:pt x="283845" y="170498"/>
                    </a:lnTo>
                    <a:cubicBezTo>
                      <a:pt x="283845" y="140970"/>
                      <a:pt x="280035" y="110490"/>
                      <a:pt x="272415" y="82868"/>
                    </a:cubicBezTo>
                    <a:cubicBezTo>
                      <a:pt x="288607" y="79058"/>
                      <a:pt x="304800" y="74295"/>
                      <a:pt x="320992" y="67628"/>
                    </a:cubicBezTo>
                    <a:close/>
                    <a:moveTo>
                      <a:pt x="237172" y="9525"/>
                    </a:moveTo>
                    <a:cubicBezTo>
                      <a:pt x="263842" y="18097"/>
                      <a:pt x="288607" y="33337"/>
                      <a:pt x="307657" y="52387"/>
                    </a:cubicBezTo>
                    <a:cubicBezTo>
                      <a:pt x="294322" y="57150"/>
                      <a:pt x="280987" y="61912"/>
                      <a:pt x="266699" y="64770"/>
                    </a:cubicBezTo>
                    <a:cubicBezTo>
                      <a:pt x="260032" y="42862"/>
                      <a:pt x="249554" y="23812"/>
                      <a:pt x="237172" y="9525"/>
                    </a:cubicBezTo>
                    <a:close/>
                    <a:moveTo>
                      <a:pt x="122872" y="9525"/>
                    </a:moveTo>
                    <a:cubicBezTo>
                      <a:pt x="114299" y="19050"/>
                      <a:pt x="106679" y="31432"/>
                      <a:pt x="100012" y="45720"/>
                    </a:cubicBezTo>
                    <a:cubicBezTo>
                      <a:pt x="97154" y="52387"/>
                      <a:pt x="95249" y="58102"/>
                      <a:pt x="92392" y="64770"/>
                    </a:cubicBezTo>
                    <a:cubicBezTo>
                      <a:pt x="79057" y="61912"/>
                      <a:pt x="65722" y="57150"/>
                      <a:pt x="52387" y="52387"/>
                    </a:cubicBezTo>
                    <a:cubicBezTo>
                      <a:pt x="72389" y="33337"/>
                      <a:pt x="96202" y="18097"/>
                      <a:pt x="122872" y="9525"/>
                    </a:cubicBezTo>
                    <a:close/>
                    <a:moveTo>
                      <a:pt x="180022" y="0"/>
                    </a:moveTo>
                    <a:cubicBezTo>
                      <a:pt x="211454" y="0"/>
                      <a:pt x="234314" y="28575"/>
                      <a:pt x="248602" y="69532"/>
                    </a:cubicBezTo>
                    <a:cubicBezTo>
                      <a:pt x="202882" y="78105"/>
                      <a:pt x="157162" y="78105"/>
                      <a:pt x="111442" y="69532"/>
                    </a:cubicBezTo>
                    <a:cubicBezTo>
                      <a:pt x="113347" y="64770"/>
                      <a:pt x="115252" y="59055"/>
                      <a:pt x="117157" y="54292"/>
                    </a:cubicBezTo>
                    <a:cubicBezTo>
                      <a:pt x="128587" y="29527"/>
                      <a:pt x="147637" y="0"/>
                      <a:pt x="180022" y="0"/>
                    </a:cubicBezTo>
                    <a:close/>
                  </a:path>
                </a:pathLst>
              </a:custGeom>
              <a:solidFill>
                <a:schemeClr val="accent5"/>
              </a:solidFill>
              <a:ln w="18602" cap="flat">
                <a:noFill/>
                <a:prstDash val="solid"/>
                <a:miter/>
              </a:ln>
            </p:spPr>
            <p:txBody>
              <a:bodyPr rtlCol="0" anchor="ctr"/>
              <a:lstStyle/>
              <a:p>
                <a:endParaRPr lang="en-US"/>
              </a:p>
            </p:txBody>
          </p:sp>
          <p:sp>
            <p:nvSpPr>
              <p:cNvPr id="24" name="Teardrop 23">
                <a:extLst>
                  <a:ext uri="{FF2B5EF4-FFF2-40B4-BE49-F238E27FC236}">
                    <a16:creationId xmlns:a16="http://schemas.microsoft.com/office/drawing/2014/main" id="{E302A149-0917-4551-8944-2F3B3185CC2E}"/>
                  </a:ext>
                </a:extLst>
              </p:cNvPr>
              <p:cNvSpPr/>
              <p:nvPr/>
            </p:nvSpPr>
            <p:spPr bwMode="auto">
              <a:xfrm rot="8100000">
                <a:off x="764542" y="1669597"/>
                <a:ext cx="151125" cy="151125"/>
              </a:xfrm>
              <a:prstGeom prst="teardrop">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1" name="Group 100">
            <a:extLst>
              <a:ext uri="{FF2B5EF4-FFF2-40B4-BE49-F238E27FC236}">
                <a16:creationId xmlns:a16="http://schemas.microsoft.com/office/drawing/2014/main" id="{80D00D39-FEAF-4507-8A66-95FE73453429}"/>
              </a:ext>
            </a:extLst>
          </p:cNvPr>
          <p:cNvGrpSpPr/>
          <p:nvPr/>
        </p:nvGrpSpPr>
        <p:grpSpPr>
          <a:xfrm>
            <a:off x="441668" y="2743625"/>
            <a:ext cx="681444" cy="596570"/>
            <a:chOff x="441668" y="2743625"/>
            <a:chExt cx="681444" cy="596570"/>
          </a:xfrm>
        </p:grpSpPr>
        <p:sp>
          <p:nvSpPr>
            <p:cNvPr id="55" name="Arc 54">
              <a:extLst>
                <a:ext uri="{FF2B5EF4-FFF2-40B4-BE49-F238E27FC236}">
                  <a16:creationId xmlns:a16="http://schemas.microsoft.com/office/drawing/2014/main" id="{8E2DAA44-3FBD-4122-BCD9-6A2C35305F16}"/>
                </a:ext>
              </a:extLst>
            </p:cNvPr>
            <p:cNvSpPr/>
            <p:nvPr/>
          </p:nvSpPr>
          <p:spPr bwMode="auto">
            <a:xfrm rot="13500000">
              <a:off x="441667" y="2743626"/>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D517A65A-D49C-4804-99A0-8323F5FD8AC3}"/>
                </a:ext>
              </a:extLst>
            </p:cNvPr>
            <p:cNvSpPr/>
            <p:nvPr/>
          </p:nvSpPr>
          <p:spPr>
            <a:xfrm rot="8100000">
              <a:off x="933433" y="2946622"/>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45" name="Oval 44">
              <a:extLst>
                <a:ext uri="{FF2B5EF4-FFF2-40B4-BE49-F238E27FC236}">
                  <a16:creationId xmlns:a16="http://schemas.microsoft.com/office/drawing/2014/main" id="{7B810A6F-11A2-483D-B802-423DD71E2808}"/>
                </a:ext>
              </a:extLst>
            </p:cNvPr>
            <p:cNvSpPr/>
            <p:nvPr/>
          </p:nvSpPr>
          <p:spPr bwMode="auto">
            <a:xfrm>
              <a:off x="488669" y="2790627"/>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60">
              <a:extLst>
                <a:ext uri="{FF2B5EF4-FFF2-40B4-BE49-F238E27FC236}">
                  <a16:creationId xmlns:a16="http://schemas.microsoft.com/office/drawing/2014/main" id="{76D1417B-C462-473E-8EA3-33E26CC1AA87}"/>
                </a:ext>
              </a:extLst>
            </p:cNvPr>
            <p:cNvGrpSpPr/>
            <p:nvPr/>
          </p:nvGrpSpPr>
          <p:grpSpPr>
            <a:xfrm>
              <a:off x="601637" y="2899410"/>
              <a:ext cx="294433" cy="269808"/>
              <a:chOff x="4951253" y="5162048"/>
              <a:chExt cx="436563" cy="400051"/>
            </a:xfrm>
          </p:grpSpPr>
          <p:sp>
            <p:nvSpPr>
              <p:cNvPr id="62" name="Oval 5">
                <a:extLst>
                  <a:ext uri="{FF2B5EF4-FFF2-40B4-BE49-F238E27FC236}">
                    <a16:creationId xmlns:a16="http://schemas.microsoft.com/office/drawing/2014/main" id="{DF92447C-A3E4-49C5-A72E-904994CD1B6A}"/>
                  </a:ext>
                </a:extLst>
              </p:cNvPr>
              <p:cNvSpPr>
                <a:spLocks noChangeArrowheads="1"/>
              </p:cNvSpPr>
              <p:nvPr/>
            </p:nvSpPr>
            <p:spPr bwMode="auto">
              <a:xfrm>
                <a:off x="4951253" y="5162048"/>
                <a:ext cx="155575" cy="141288"/>
              </a:xfrm>
              <a:prstGeom prst="ellipse">
                <a:avLst/>
              </a:pr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
                <a:extLst>
                  <a:ext uri="{FF2B5EF4-FFF2-40B4-BE49-F238E27FC236}">
                    <a16:creationId xmlns:a16="http://schemas.microsoft.com/office/drawing/2014/main" id="{D0F75D2B-48A0-4F96-A571-C1A1C61D5A56}"/>
                  </a:ext>
                </a:extLst>
              </p:cNvPr>
              <p:cNvSpPr>
                <a:spLocks noEditPoints="1"/>
              </p:cNvSpPr>
              <p:nvPr/>
            </p:nvSpPr>
            <p:spPr bwMode="auto">
              <a:xfrm>
                <a:off x="4951253" y="5173161"/>
                <a:ext cx="436563" cy="388938"/>
              </a:xfrm>
              <a:custGeom>
                <a:avLst/>
                <a:gdLst>
                  <a:gd name="T0" fmla="*/ 1050 w 1071"/>
                  <a:gd name="T1" fmla="*/ 0 h 1058"/>
                  <a:gd name="T2" fmla="*/ 511 w 1071"/>
                  <a:gd name="T3" fmla="*/ 135 h 1058"/>
                  <a:gd name="T4" fmla="*/ 511 w 1071"/>
                  <a:gd name="T5" fmla="*/ 289 h 1058"/>
                  <a:gd name="T6" fmla="*/ 618 w 1071"/>
                  <a:gd name="T7" fmla="*/ 315 h 1058"/>
                  <a:gd name="T8" fmla="*/ 629 w 1071"/>
                  <a:gd name="T9" fmla="*/ 363 h 1058"/>
                  <a:gd name="T10" fmla="*/ 601 w 1071"/>
                  <a:gd name="T11" fmla="*/ 381 h 1058"/>
                  <a:gd name="T12" fmla="*/ 446 w 1071"/>
                  <a:gd name="T13" fmla="*/ 536 h 1058"/>
                  <a:gd name="T14" fmla="*/ 374 w 1071"/>
                  <a:gd name="T15" fmla="*/ 536 h 1058"/>
                  <a:gd name="T16" fmla="*/ 129 w 1071"/>
                  <a:gd name="T17" fmla="*/ 418 h 1058"/>
                  <a:gd name="T18" fmla="*/ 0 w 1071"/>
                  <a:gd name="T19" fmla="*/ 594 h 1058"/>
                  <a:gd name="T20" fmla="*/ 0 w 1071"/>
                  <a:gd name="T21" fmla="*/ 1058 h 1058"/>
                  <a:gd name="T22" fmla="*/ 383 w 1071"/>
                  <a:gd name="T23" fmla="*/ 1058 h 1058"/>
                  <a:gd name="T24" fmla="*/ 383 w 1071"/>
                  <a:gd name="T25" fmla="*/ 696 h 1058"/>
                  <a:gd name="T26" fmla="*/ 479 w 1071"/>
                  <a:gd name="T27" fmla="*/ 696 h 1058"/>
                  <a:gd name="T28" fmla="*/ 536 w 1071"/>
                  <a:gd name="T29" fmla="*/ 673 h 1058"/>
                  <a:gd name="T30" fmla="*/ 715 w 1071"/>
                  <a:gd name="T31" fmla="*/ 494 h 1058"/>
                  <a:gd name="T32" fmla="*/ 735 w 1071"/>
                  <a:gd name="T33" fmla="*/ 418 h 1058"/>
                  <a:gd name="T34" fmla="*/ 783 w 1071"/>
                  <a:gd name="T35" fmla="*/ 430 h 1058"/>
                  <a:gd name="T36" fmla="*/ 790 w 1071"/>
                  <a:gd name="T37" fmla="*/ 430 h 1058"/>
                  <a:gd name="T38" fmla="*/ 809 w 1071"/>
                  <a:gd name="T39" fmla="*/ 421 h 1058"/>
                  <a:gd name="T40" fmla="*/ 851 w 1071"/>
                  <a:gd name="T41" fmla="*/ 372 h 1058"/>
                  <a:gd name="T42" fmla="*/ 1050 w 1071"/>
                  <a:gd name="T43" fmla="*/ 421 h 1058"/>
                  <a:gd name="T44" fmla="*/ 1071 w 1071"/>
                  <a:gd name="T45" fmla="*/ 406 h 1058"/>
                  <a:gd name="T46" fmla="*/ 1071 w 1071"/>
                  <a:gd name="T47" fmla="*/ 404 h 1058"/>
                  <a:gd name="T48" fmla="*/ 1071 w 1071"/>
                  <a:gd name="T49" fmla="*/ 17 h 1058"/>
                  <a:gd name="T50" fmla="*/ 1054 w 1071"/>
                  <a:gd name="T51" fmla="*/ 0 h 1058"/>
                  <a:gd name="T52" fmla="*/ 1050 w 1071"/>
                  <a:gd name="T53" fmla="*/ 0 h 1058"/>
                  <a:gd name="T54" fmla="*/ 787 w 1071"/>
                  <a:gd name="T55" fmla="*/ 395 h 1058"/>
                  <a:gd name="T56" fmla="*/ 709 w 1071"/>
                  <a:gd name="T57" fmla="*/ 376 h 1058"/>
                  <a:gd name="T58" fmla="*/ 664 w 1071"/>
                  <a:gd name="T59" fmla="*/ 358 h 1058"/>
                  <a:gd name="T60" fmla="*/ 656 w 1071"/>
                  <a:gd name="T61" fmla="*/ 324 h 1058"/>
                  <a:gd name="T62" fmla="*/ 815 w 1071"/>
                  <a:gd name="T63" fmla="*/ 363 h 1058"/>
                  <a:gd name="T64" fmla="*/ 787 w 1071"/>
                  <a:gd name="T65" fmla="*/ 39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1" h="1058">
                    <a:moveTo>
                      <a:pt x="1050" y="0"/>
                    </a:moveTo>
                    <a:lnTo>
                      <a:pt x="511" y="135"/>
                    </a:lnTo>
                    <a:lnTo>
                      <a:pt x="511" y="289"/>
                    </a:lnTo>
                    <a:lnTo>
                      <a:pt x="618" y="315"/>
                    </a:lnTo>
                    <a:lnTo>
                      <a:pt x="629" y="363"/>
                    </a:lnTo>
                    <a:cubicBezTo>
                      <a:pt x="618" y="367"/>
                      <a:pt x="609" y="373"/>
                      <a:pt x="601" y="381"/>
                    </a:cubicBezTo>
                    <a:lnTo>
                      <a:pt x="446" y="536"/>
                    </a:lnTo>
                    <a:lnTo>
                      <a:pt x="374" y="536"/>
                    </a:lnTo>
                    <a:cubicBezTo>
                      <a:pt x="339" y="436"/>
                      <a:pt x="229" y="383"/>
                      <a:pt x="129" y="418"/>
                    </a:cubicBezTo>
                    <a:cubicBezTo>
                      <a:pt x="54" y="444"/>
                      <a:pt x="2" y="514"/>
                      <a:pt x="0" y="594"/>
                    </a:cubicBezTo>
                    <a:lnTo>
                      <a:pt x="0" y="1058"/>
                    </a:lnTo>
                    <a:lnTo>
                      <a:pt x="383" y="1058"/>
                    </a:lnTo>
                    <a:lnTo>
                      <a:pt x="383" y="696"/>
                    </a:lnTo>
                    <a:lnTo>
                      <a:pt x="479" y="696"/>
                    </a:lnTo>
                    <a:cubicBezTo>
                      <a:pt x="501" y="696"/>
                      <a:pt x="521" y="688"/>
                      <a:pt x="536" y="673"/>
                    </a:cubicBezTo>
                    <a:lnTo>
                      <a:pt x="715" y="494"/>
                    </a:lnTo>
                    <a:cubicBezTo>
                      <a:pt x="734" y="474"/>
                      <a:pt x="742" y="445"/>
                      <a:pt x="735" y="418"/>
                    </a:cubicBezTo>
                    <a:lnTo>
                      <a:pt x="783" y="430"/>
                    </a:lnTo>
                    <a:lnTo>
                      <a:pt x="790" y="430"/>
                    </a:lnTo>
                    <a:cubicBezTo>
                      <a:pt x="797" y="430"/>
                      <a:pt x="804" y="427"/>
                      <a:pt x="809" y="421"/>
                    </a:cubicBezTo>
                    <a:lnTo>
                      <a:pt x="851" y="372"/>
                    </a:lnTo>
                    <a:lnTo>
                      <a:pt x="1050" y="421"/>
                    </a:lnTo>
                    <a:cubicBezTo>
                      <a:pt x="1060" y="423"/>
                      <a:pt x="1070" y="416"/>
                      <a:pt x="1071" y="406"/>
                    </a:cubicBezTo>
                    <a:cubicBezTo>
                      <a:pt x="1071" y="405"/>
                      <a:pt x="1071" y="405"/>
                      <a:pt x="1071" y="404"/>
                    </a:cubicBezTo>
                    <a:lnTo>
                      <a:pt x="1071" y="17"/>
                    </a:lnTo>
                    <a:cubicBezTo>
                      <a:pt x="1071" y="7"/>
                      <a:pt x="1063" y="0"/>
                      <a:pt x="1054" y="0"/>
                    </a:cubicBezTo>
                    <a:cubicBezTo>
                      <a:pt x="1052" y="0"/>
                      <a:pt x="1051" y="0"/>
                      <a:pt x="1050" y="0"/>
                    </a:cubicBezTo>
                    <a:close/>
                    <a:moveTo>
                      <a:pt x="787" y="395"/>
                    </a:moveTo>
                    <a:lnTo>
                      <a:pt x="709" y="376"/>
                    </a:lnTo>
                    <a:cubicBezTo>
                      <a:pt x="696" y="365"/>
                      <a:pt x="680" y="359"/>
                      <a:pt x="664" y="358"/>
                    </a:cubicBezTo>
                    <a:lnTo>
                      <a:pt x="656" y="324"/>
                    </a:lnTo>
                    <a:lnTo>
                      <a:pt x="815" y="363"/>
                    </a:lnTo>
                    <a:lnTo>
                      <a:pt x="787" y="395"/>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7">
                <a:extLst>
                  <a:ext uri="{FF2B5EF4-FFF2-40B4-BE49-F238E27FC236}">
                    <a16:creationId xmlns:a16="http://schemas.microsoft.com/office/drawing/2014/main" id="{847F3BDD-37C2-4978-A935-4570B2762F52}"/>
                  </a:ext>
                </a:extLst>
              </p:cNvPr>
              <p:cNvSpPr>
                <a:spLocks/>
              </p:cNvSpPr>
              <p:nvPr/>
            </p:nvSpPr>
            <p:spPr bwMode="auto">
              <a:xfrm>
                <a:off x="5127466" y="5222373"/>
                <a:ext cx="19050" cy="52388"/>
              </a:xfrm>
              <a:custGeom>
                <a:avLst/>
                <a:gdLst>
                  <a:gd name="T0" fmla="*/ 23 w 46"/>
                  <a:gd name="T1" fmla="*/ 143 h 143"/>
                  <a:gd name="T2" fmla="*/ 46 w 46"/>
                  <a:gd name="T3" fmla="*/ 119 h 143"/>
                  <a:gd name="T4" fmla="*/ 46 w 46"/>
                  <a:gd name="T5" fmla="*/ 23 h 143"/>
                  <a:gd name="T6" fmla="*/ 23 w 46"/>
                  <a:gd name="T7" fmla="*/ 0 h 143"/>
                  <a:gd name="T8" fmla="*/ 0 w 46"/>
                  <a:gd name="T9" fmla="*/ 23 h 143"/>
                  <a:gd name="T10" fmla="*/ 0 w 46"/>
                  <a:gd name="T11" fmla="*/ 119 h 143"/>
                  <a:gd name="T12" fmla="*/ 23 w 46"/>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6" h="143">
                    <a:moveTo>
                      <a:pt x="23" y="143"/>
                    </a:moveTo>
                    <a:cubicBezTo>
                      <a:pt x="36" y="143"/>
                      <a:pt x="46" y="132"/>
                      <a:pt x="46" y="119"/>
                    </a:cubicBezTo>
                    <a:lnTo>
                      <a:pt x="46" y="23"/>
                    </a:lnTo>
                    <a:cubicBezTo>
                      <a:pt x="46" y="11"/>
                      <a:pt x="36" y="0"/>
                      <a:pt x="23" y="0"/>
                    </a:cubicBezTo>
                    <a:cubicBezTo>
                      <a:pt x="10" y="0"/>
                      <a:pt x="0" y="11"/>
                      <a:pt x="0" y="23"/>
                    </a:cubicBezTo>
                    <a:lnTo>
                      <a:pt x="0" y="119"/>
                    </a:lnTo>
                    <a:cubicBezTo>
                      <a:pt x="0" y="132"/>
                      <a:pt x="10" y="143"/>
                      <a:pt x="23" y="143"/>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2" name="Group 101">
            <a:extLst>
              <a:ext uri="{FF2B5EF4-FFF2-40B4-BE49-F238E27FC236}">
                <a16:creationId xmlns:a16="http://schemas.microsoft.com/office/drawing/2014/main" id="{3E169DCD-9042-4830-B209-FA754AF5D1B6}"/>
              </a:ext>
            </a:extLst>
          </p:cNvPr>
          <p:cNvGrpSpPr/>
          <p:nvPr/>
        </p:nvGrpSpPr>
        <p:grpSpPr>
          <a:xfrm>
            <a:off x="441668" y="2087293"/>
            <a:ext cx="681444" cy="596570"/>
            <a:chOff x="441668" y="2087293"/>
            <a:chExt cx="681444" cy="596570"/>
          </a:xfrm>
        </p:grpSpPr>
        <p:sp>
          <p:nvSpPr>
            <p:cNvPr id="54" name="Arc 53">
              <a:extLst>
                <a:ext uri="{FF2B5EF4-FFF2-40B4-BE49-F238E27FC236}">
                  <a16:creationId xmlns:a16="http://schemas.microsoft.com/office/drawing/2014/main" id="{7BA5CF7B-4CE4-406D-BFFB-48347CE3047E}"/>
                </a:ext>
              </a:extLst>
            </p:cNvPr>
            <p:cNvSpPr/>
            <p:nvPr/>
          </p:nvSpPr>
          <p:spPr bwMode="auto">
            <a:xfrm rot="13500000">
              <a:off x="441667" y="2087294"/>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37 - 2">
              <a:extLst>
                <a:ext uri="{FF2B5EF4-FFF2-40B4-BE49-F238E27FC236}">
                  <a16:creationId xmlns:a16="http://schemas.microsoft.com/office/drawing/2014/main" id="{732A2AF3-FE42-49C5-B4DA-CC6CB5C4661C}"/>
                </a:ext>
              </a:extLst>
            </p:cNvPr>
            <p:cNvSpPr/>
            <p:nvPr/>
          </p:nvSpPr>
          <p:spPr>
            <a:xfrm rot="8100000">
              <a:off x="933433" y="2290290"/>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37" name="Oval 36">
              <a:extLst>
                <a:ext uri="{FF2B5EF4-FFF2-40B4-BE49-F238E27FC236}">
                  <a16:creationId xmlns:a16="http://schemas.microsoft.com/office/drawing/2014/main" id="{F9685A94-5D70-45A5-BBBA-B686986D0584}"/>
                </a:ext>
              </a:extLst>
            </p:cNvPr>
            <p:cNvSpPr/>
            <p:nvPr/>
          </p:nvSpPr>
          <p:spPr bwMode="auto">
            <a:xfrm>
              <a:off x="488669" y="2134295"/>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a:extLst>
                <a:ext uri="{FF2B5EF4-FFF2-40B4-BE49-F238E27FC236}">
                  <a16:creationId xmlns:a16="http://schemas.microsoft.com/office/drawing/2014/main" id="{9FFADDA0-3195-4318-8599-C9C7C4B434C5}"/>
                </a:ext>
              </a:extLst>
            </p:cNvPr>
            <p:cNvGrpSpPr/>
            <p:nvPr/>
          </p:nvGrpSpPr>
          <p:grpSpPr>
            <a:xfrm>
              <a:off x="585179" y="2221836"/>
              <a:ext cx="309544" cy="327482"/>
              <a:chOff x="6198000" y="3394693"/>
              <a:chExt cx="4703300" cy="4975851"/>
            </a:xfrm>
          </p:grpSpPr>
          <p:sp>
            <p:nvSpPr>
              <p:cNvPr id="66" name="Freeform: Shape 65">
                <a:extLst>
                  <a:ext uri="{FF2B5EF4-FFF2-40B4-BE49-F238E27FC236}">
                    <a16:creationId xmlns:a16="http://schemas.microsoft.com/office/drawing/2014/main" id="{CD6820EC-6FE0-4554-AB79-4170F457303F}"/>
                  </a:ext>
                </a:extLst>
              </p:cNvPr>
              <p:cNvSpPr/>
              <p:nvPr/>
            </p:nvSpPr>
            <p:spPr>
              <a:xfrm>
                <a:off x="6198000" y="3394693"/>
                <a:ext cx="4703300" cy="4975851"/>
              </a:xfrm>
              <a:custGeom>
                <a:avLst/>
                <a:gdLst>
                  <a:gd name="connsiteX0" fmla="*/ 2351683 w 4703300"/>
                  <a:gd name="connsiteY0" fmla="*/ 0 h 4975851"/>
                  <a:gd name="connsiteX1" fmla="*/ 4703300 w 4703300"/>
                  <a:gd name="connsiteY1" fmla="*/ 892774 h 4975851"/>
                  <a:gd name="connsiteX2" fmla="*/ 2351683 w 4703300"/>
                  <a:gd name="connsiteY2" fmla="*/ 4975851 h 4975851"/>
                  <a:gd name="connsiteX3" fmla="*/ 0 w 4703300"/>
                  <a:gd name="connsiteY3" fmla="*/ 892774 h 4975851"/>
                  <a:gd name="connsiteX4" fmla="*/ 2351683 w 4703300"/>
                  <a:gd name="connsiteY4" fmla="*/ 0 h 4975851"/>
                  <a:gd name="connsiteX5" fmla="*/ 2351683 w 4703300"/>
                  <a:gd name="connsiteY5" fmla="*/ 421676 h 4975851"/>
                  <a:gd name="connsiteX6" fmla="*/ 328350 w 4703300"/>
                  <a:gd name="connsiteY6" fmla="*/ 1215341 h 4975851"/>
                  <a:gd name="connsiteX7" fmla="*/ 2351683 w 4703300"/>
                  <a:gd name="connsiteY7" fmla="*/ 4598078 h 4975851"/>
                  <a:gd name="connsiteX8" fmla="*/ 4374950 w 4703300"/>
                  <a:gd name="connsiteY8" fmla="*/ 1215341 h 4975851"/>
                  <a:gd name="connsiteX9" fmla="*/ 2351683 w 4703300"/>
                  <a:gd name="connsiteY9" fmla="*/ 421676 h 497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3300" h="4975851">
                    <a:moveTo>
                      <a:pt x="2351683" y="0"/>
                    </a:moveTo>
                    <a:cubicBezTo>
                      <a:pt x="3060368" y="599324"/>
                      <a:pt x="3775561" y="892774"/>
                      <a:pt x="4703300" y="892774"/>
                    </a:cubicBezTo>
                    <a:cubicBezTo>
                      <a:pt x="4703300" y="3116824"/>
                      <a:pt x="4282807" y="3860606"/>
                      <a:pt x="2351683" y="4975851"/>
                    </a:cubicBezTo>
                    <a:cubicBezTo>
                      <a:pt x="421084" y="3861328"/>
                      <a:pt x="-197" y="3117350"/>
                      <a:pt x="0" y="892774"/>
                    </a:cubicBezTo>
                    <a:cubicBezTo>
                      <a:pt x="927739" y="892774"/>
                      <a:pt x="1642931" y="599324"/>
                      <a:pt x="2351683" y="0"/>
                    </a:cubicBezTo>
                    <a:close/>
                    <a:moveTo>
                      <a:pt x="2351683" y="421676"/>
                    </a:moveTo>
                    <a:cubicBezTo>
                      <a:pt x="2074202" y="629227"/>
                      <a:pt x="1279749" y="1158688"/>
                      <a:pt x="328350" y="1215341"/>
                    </a:cubicBezTo>
                    <a:cubicBezTo>
                      <a:pt x="346555" y="2999312"/>
                      <a:pt x="803392" y="3686835"/>
                      <a:pt x="2351683" y="4598078"/>
                    </a:cubicBezTo>
                    <a:cubicBezTo>
                      <a:pt x="3899907" y="3686901"/>
                      <a:pt x="4356745" y="2999246"/>
                      <a:pt x="4374950" y="1215341"/>
                    </a:cubicBezTo>
                    <a:cubicBezTo>
                      <a:pt x="3423551" y="1158688"/>
                      <a:pt x="2629097" y="629293"/>
                      <a:pt x="2351683" y="421676"/>
                    </a:cubicBezTo>
                    <a:close/>
                  </a:path>
                </a:pathLst>
              </a:custGeom>
              <a:solidFill>
                <a:schemeClr val="accent5"/>
              </a:solidFill>
              <a:ln w="6572"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FC75712-C4D7-459A-9DC5-7A6391CEEA07}"/>
                  </a:ext>
                </a:extLst>
              </p:cNvPr>
              <p:cNvSpPr/>
              <p:nvPr/>
            </p:nvSpPr>
            <p:spPr>
              <a:xfrm>
                <a:off x="6795550" y="4075184"/>
                <a:ext cx="1760772" cy="3680394"/>
              </a:xfrm>
              <a:custGeom>
                <a:avLst/>
                <a:gdLst>
                  <a:gd name="connsiteX0" fmla="*/ 1760772 w 1760772"/>
                  <a:gd name="connsiteY0" fmla="*/ 0 h 3680394"/>
                  <a:gd name="connsiteX1" fmla="*/ 1760772 w 1760772"/>
                  <a:gd name="connsiteY1" fmla="*/ 3680394 h 3680394"/>
                  <a:gd name="connsiteX2" fmla="*/ 0 w 1760772"/>
                  <a:gd name="connsiteY2" fmla="*/ 678059 h 3680394"/>
                  <a:gd name="connsiteX3" fmla="*/ 1760772 w 1760772"/>
                  <a:gd name="connsiteY3" fmla="*/ 0 h 3680394"/>
                </a:gdLst>
                <a:ahLst/>
                <a:cxnLst>
                  <a:cxn ang="0">
                    <a:pos x="connsiteX0" y="connsiteY0"/>
                  </a:cxn>
                  <a:cxn ang="0">
                    <a:pos x="connsiteX1" y="connsiteY1"/>
                  </a:cxn>
                  <a:cxn ang="0">
                    <a:pos x="connsiteX2" y="connsiteY2"/>
                  </a:cxn>
                  <a:cxn ang="0">
                    <a:pos x="connsiteX3" y="connsiteY3"/>
                  </a:cxn>
                </a:cxnLst>
                <a:rect l="l" t="t" r="r" b="b"/>
                <a:pathLst>
                  <a:path w="1760772" h="3680394">
                    <a:moveTo>
                      <a:pt x="1760772" y="0"/>
                    </a:moveTo>
                    <a:lnTo>
                      <a:pt x="1760772" y="3680394"/>
                    </a:lnTo>
                    <a:cubicBezTo>
                      <a:pt x="205251" y="2782296"/>
                      <a:pt x="0" y="2079000"/>
                      <a:pt x="0" y="678059"/>
                    </a:cubicBezTo>
                    <a:cubicBezTo>
                      <a:pt x="966581" y="678059"/>
                      <a:pt x="1760772" y="0"/>
                      <a:pt x="1760772" y="0"/>
                    </a:cubicBezTo>
                    <a:close/>
                  </a:path>
                </a:pathLst>
              </a:custGeom>
              <a:solidFill>
                <a:schemeClr val="accent3"/>
              </a:solidFill>
              <a:ln w="6572" cap="flat">
                <a:noFill/>
                <a:prstDash val="solid"/>
                <a:miter/>
              </a:ln>
            </p:spPr>
            <p:txBody>
              <a:bodyPr rtlCol="0" anchor="ctr"/>
              <a:lstStyle/>
              <a:p>
                <a:endParaRPr lang="en-US"/>
              </a:p>
            </p:txBody>
          </p:sp>
        </p:grpSp>
      </p:grpSp>
      <p:grpSp>
        <p:nvGrpSpPr>
          <p:cNvPr id="100" name="Group 99">
            <a:extLst>
              <a:ext uri="{FF2B5EF4-FFF2-40B4-BE49-F238E27FC236}">
                <a16:creationId xmlns:a16="http://schemas.microsoft.com/office/drawing/2014/main" id="{9A211BAA-8A7C-4585-978A-9398BDD73A1F}"/>
              </a:ext>
            </a:extLst>
          </p:cNvPr>
          <p:cNvGrpSpPr/>
          <p:nvPr/>
        </p:nvGrpSpPr>
        <p:grpSpPr>
          <a:xfrm>
            <a:off x="441668" y="3399957"/>
            <a:ext cx="681444" cy="596570"/>
            <a:chOff x="441668" y="3399957"/>
            <a:chExt cx="681444" cy="596570"/>
          </a:xfrm>
        </p:grpSpPr>
        <p:sp>
          <p:nvSpPr>
            <p:cNvPr id="56" name="Arc 55">
              <a:extLst>
                <a:ext uri="{FF2B5EF4-FFF2-40B4-BE49-F238E27FC236}">
                  <a16:creationId xmlns:a16="http://schemas.microsoft.com/office/drawing/2014/main" id="{B233E8DC-4430-410C-9FB7-8C75E3E7331E}"/>
                </a:ext>
              </a:extLst>
            </p:cNvPr>
            <p:cNvSpPr/>
            <p:nvPr/>
          </p:nvSpPr>
          <p:spPr bwMode="auto">
            <a:xfrm rot="13500000">
              <a:off x="441667" y="3399958"/>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777474C0-6557-4422-85AD-B289DFF04B55}"/>
                </a:ext>
              </a:extLst>
            </p:cNvPr>
            <p:cNvSpPr/>
            <p:nvPr/>
          </p:nvSpPr>
          <p:spPr>
            <a:xfrm rot="8100000">
              <a:off x="933433" y="3602954"/>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46" name="Oval 45">
              <a:extLst>
                <a:ext uri="{FF2B5EF4-FFF2-40B4-BE49-F238E27FC236}">
                  <a16:creationId xmlns:a16="http://schemas.microsoft.com/office/drawing/2014/main" id="{B75E9BE8-36ED-4372-841F-42A8642AA5E9}"/>
                </a:ext>
              </a:extLst>
            </p:cNvPr>
            <p:cNvSpPr/>
            <p:nvPr/>
          </p:nvSpPr>
          <p:spPr bwMode="auto">
            <a:xfrm>
              <a:off x="488669" y="3446959"/>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A1A96A47-A00A-4CB8-BF95-D0DEE738328B}"/>
                </a:ext>
              </a:extLst>
            </p:cNvPr>
            <p:cNvGrpSpPr/>
            <p:nvPr/>
          </p:nvGrpSpPr>
          <p:grpSpPr>
            <a:xfrm>
              <a:off x="594821" y="3532963"/>
              <a:ext cx="290260" cy="290262"/>
              <a:chOff x="3106696" y="5120322"/>
              <a:chExt cx="591502" cy="591504"/>
            </a:xfrm>
          </p:grpSpPr>
          <p:sp>
            <p:nvSpPr>
              <p:cNvPr id="69" name="Freeform: Shape 68">
                <a:extLst>
                  <a:ext uri="{FF2B5EF4-FFF2-40B4-BE49-F238E27FC236}">
                    <a16:creationId xmlns:a16="http://schemas.microsoft.com/office/drawing/2014/main" id="{46457A1F-56F4-4AE2-9658-F932E3DC8E57}"/>
                  </a:ext>
                </a:extLst>
              </p:cNvPr>
              <p:cNvSpPr/>
              <p:nvPr/>
            </p:nvSpPr>
            <p:spPr>
              <a:xfrm>
                <a:off x="3267717" y="5120322"/>
                <a:ext cx="269462" cy="269462"/>
              </a:xfrm>
              <a:custGeom>
                <a:avLst/>
                <a:gdLst>
                  <a:gd name="connsiteX0" fmla="*/ 134731 w 269462"/>
                  <a:gd name="connsiteY0" fmla="*/ 0 h 269462"/>
                  <a:gd name="connsiteX1" fmla="*/ 269462 w 269462"/>
                  <a:gd name="connsiteY1" fmla="*/ 134731 h 269462"/>
                  <a:gd name="connsiteX2" fmla="*/ 134731 w 269462"/>
                  <a:gd name="connsiteY2" fmla="*/ 269462 h 269462"/>
                  <a:gd name="connsiteX3" fmla="*/ 0 w 269462"/>
                  <a:gd name="connsiteY3" fmla="*/ 134731 h 269462"/>
                  <a:gd name="connsiteX4" fmla="*/ 134731 w 269462"/>
                  <a:gd name="connsiteY4" fmla="*/ 0 h 269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62" h="269462">
                    <a:moveTo>
                      <a:pt x="134731" y="0"/>
                    </a:moveTo>
                    <a:cubicBezTo>
                      <a:pt x="209141" y="0"/>
                      <a:pt x="269462" y="60321"/>
                      <a:pt x="269462" y="134731"/>
                    </a:cubicBezTo>
                    <a:cubicBezTo>
                      <a:pt x="269462" y="209141"/>
                      <a:pt x="209141" y="269462"/>
                      <a:pt x="134731" y="269462"/>
                    </a:cubicBezTo>
                    <a:cubicBezTo>
                      <a:pt x="60321" y="269462"/>
                      <a:pt x="0" y="209141"/>
                      <a:pt x="0" y="134731"/>
                    </a:cubicBezTo>
                    <a:cubicBezTo>
                      <a:pt x="0" y="60321"/>
                      <a:pt x="60321" y="0"/>
                      <a:pt x="134731" y="0"/>
                    </a:cubicBezTo>
                    <a:close/>
                  </a:path>
                </a:pathLst>
              </a:custGeom>
              <a:solidFill>
                <a:schemeClr val="accent3"/>
              </a:solidFill>
              <a:ln w="6572"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46274A93-DFD3-4F92-BA53-661CAD62D8ED}"/>
                  </a:ext>
                </a:extLst>
              </p:cNvPr>
              <p:cNvSpPr/>
              <p:nvPr/>
            </p:nvSpPr>
            <p:spPr>
              <a:xfrm>
                <a:off x="3106696" y="5435791"/>
                <a:ext cx="591502" cy="276035"/>
              </a:xfrm>
              <a:custGeom>
                <a:avLst/>
                <a:gdLst>
                  <a:gd name="connsiteX0" fmla="*/ 295751 w 591502"/>
                  <a:gd name="connsiteY0" fmla="*/ 0 h 276035"/>
                  <a:gd name="connsiteX1" fmla="*/ 591502 w 591502"/>
                  <a:gd name="connsiteY1" fmla="*/ 210607 h 276035"/>
                  <a:gd name="connsiteX2" fmla="*/ 295751 w 591502"/>
                  <a:gd name="connsiteY2" fmla="*/ 276035 h 276035"/>
                  <a:gd name="connsiteX3" fmla="*/ 0 w 591502"/>
                  <a:gd name="connsiteY3" fmla="*/ 210607 h 276035"/>
                  <a:gd name="connsiteX4" fmla="*/ 295751 w 591502"/>
                  <a:gd name="connsiteY4" fmla="*/ 0 h 276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502" h="276035">
                    <a:moveTo>
                      <a:pt x="295751" y="0"/>
                    </a:moveTo>
                    <a:cubicBezTo>
                      <a:pt x="459090" y="0"/>
                      <a:pt x="591502" y="94292"/>
                      <a:pt x="591502" y="210607"/>
                    </a:cubicBezTo>
                    <a:cubicBezTo>
                      <a:pt x="591502" y="254225"/>
                      <a:pt x="443627" y="276035"/>
                      <a:pt x="295751" y="276035"/>
                    </a:cubicBezTo>
                    <a:cubicBezTo>
                      <a:pt x="147875" y="276035"/>
                      <a:pt x="0" y="254225"/>
                      <a:pt x="0" y="210607"/>
                    </a:cubicBezTo>
                    <a:cubicBezTo>
                      <a:pt x="0" y="94292"/>
                      <a:pt x="132413" y="0"/>
                      <a:pt x="295751" y="0"/>
                    </a:cubicBezTo>
                    <a:close/>
                  </a:path>
                </a:pathLst>
              </a:custGeom>
              <a:solidFill>
                <a:schemeClr val="accent5"/>
              </a:solidFill>
              <a:ln w="6572" cap="flat">
                <a:noFill/>
                <a:prstDash val="solid"/>
                <a:miter/>
              </a:ln>
            </p:spPr>
            <p:txBody>
              <a:bodyPr rtlCol="0" anchor="ctr"/>
              <a:lstStyle/>
              <a:p>
                <a:endParaRPr lang="en-US"/>
              </a:p>
            </p:txBody>
          </p:sp>
        </p:grpSp>
      </p:grpSp>
      <p:grpSp>
        <p:nvGrpSpPr>
          <p:cNvPr id="99" name="Group 98">
            <a:extLst>
              <a:ext uri="{FF2B5EF4-FFF2-40B4-BE49-F238E27FC236}">
                <a16:creationId xmlns:a16="http://schemas.microsoft.com/office/drawing/2014/main" id="{91BC41BB-E3CA-4CDB-8BBA-9E7B834F891A}"/>
              </a:ext>
            </a:extLst>
          </p:cNvPr>
          <p:cNvGrpSpPr/>
          <p:nvPr/>
        </p:nvGrpSpPr>
        <p:grpSpPr>
          <a:xfrm>
            <a:off x="441668" y="4056289"/>
            <a:ext cx="681444" cy="596570"/>
            <a:chOff x="441668" y="4056289"/>
            <a:chExt cx="681444" cy="596570"/>
          </a:xfrm>
        </p:grpSpPr>
        <p:sp>
          <p:nvSpPr>
            <p:cNvPr id="57" name="Arc 56">
              <a:extLst>
                <a:ext uri="{FF2B5EF4-FFF2-40B4-BE49-F238E27FC236}">
                  <a16:creationId xmlns:a16="http://schemas.microsoft.com/office/drawing/2014/main" id="{D77E9261-78C3-48C3-A8BD-088BD9142971}"/>
                </a:ext>
              </a:extLst>
            </p:cNvPr>
            <p:cNvSpPr/>
            <p:nvPr/>
          </p:nvSpPr>
          <p:spPr bwMode="auto">
            <a:xfrm rot="13500000">
              <a:off x="441667" y="4056290"/>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F31C2498-BFC2-4154-9E36-7A8A40BC493A}"/>
                </a:ext>
              </a:extLst>
            </p:cNvPr>
            <p:cNvSpPr/>
            <p:nvPr/>
          </p:nvSpPr>
          <p:spPr>
            <a:xfrm rot="8100000">
              <a:off x="933433" y="4259286"/>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687143"/>
                <a:gd name="connsiteY0" fmla="*/ 601579 h 698493"/>
                <a:gd name="connsiteX1" fmla="*/ 0 w 1687143"/>
                <a:gd name="connsiteY1" fmla="*/ 601579 h 698493"/>
                <a:gd name="connsiteX2" fmla="*/ 0 w 1687143"/>
                <a:gd name="connsiteY2" fmla="*/ 0 h 698493"/>
                <a:gd name="connsiteX3" fmla="*/ 1549523 w 1687143"/>
                <a:gd name="connsiteY3" fmla="*/ 0 h 698493"/>
                <a:gd name="connsiteX4" fmla="*/ 1621253 w 1687143"/>
                <a:gd name="connsiteY4" fmla="*/ 625643 h 698493"/>
                <a:gd name="connsiteX5" fmla="*/ 1640963 w 1687143"/>
                <a:gd name="connsiteY5" fmla="*/ 693019 h 698493"/>
                <a:gd name="connsiteX0" fmla="*/ 1549523 w 1694468"/>
                <a:gd name="connsiteY0" fmla="*/ 601579 h 693019"/>
                <a:gd name="connsiteX1" fmla="*/ 0 w 1694468"/>
                <a:gd name="connsiteY1" fmla="*/ 601579 h 693019"/>
                <a:gd name="connsiteX2" fmla="*/ 0 w 1694468"/>
                <a:gd name="connsiteY2" fmla="*/ 0 h 693019"/>
                <a:gd name="connsiteX3" fmla="*/ 1549523 w 1694468"/>
                <a:gd name="connsiteY3" fmla="*/ 0 h 693019"/>
                <a:gd name="connsiteX4" fmla="*/ 1640963 w 1694468"/>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47" name="Oval 46">
              <a:extLst>
                <a:ext uri="{FF2B5EF4-FFF2-40B4-BE49-F238E27FC236}">
                  <a16:creationId xmlns:a16="http://schemas.microsoft.com/office/drawing/2014/main" id="{998095D2-0204-46B8-B646-4A3AACD27538}"/>
                </a:ext>
              </a:extLst>
            </p:cNvPr>
            <p:cNvSpPr/>
            <p:nvPr/>
          </p:nvSpPr>
          <p:spPr bwMode="auto">
            <a:xfrm>
              <a:off x="488669" y="4103291"/>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4">
              <a:extLst>
                <a:ext uri="{FF2B5EF4-FFF2-40B4-BE49-F238E27FC236}">
                  <a16:creationId xmlns:a16="http://schemas.microsoft.com/office/drawing/2014/main" id="{C0B40325-8FB9-4020-A097-F3C836E90DFE}"/>
                </a:ext>
              </a:extLst>
            </p:cNvPr>
            <p:cNvGrpSpPr>
              <a:grpSpLocks noChangeAspect="1"/>
            </p:cNvGrpSpPr>
            <p:nvPr/>
          </p:nvGrpSpPr>
          <p:grpSpPr bwMode="auto">
            <a:xfrm>
              <a:off x="615315" y="4208145"/>
              <a:ext cx="258763" cy="260350"/>
              <a:chOff x="390" y="2658"/>
              <a:chExt cx="163" cy="164"/>
            </a:xfrm>
          </p:grpSpPr>
          <p:sp>
            <p:nvSpPr>
              <p:cNvPr id="35" name="Freeform 5">
                <a:extLst>
                  <a:ext uri="{FF2B5EF4-FFF2-40B4-BE49-F238E27FC236}">
                    <a16:creationId xmlns:a16="http://schemas.microsoft.com/office/drawing/2014/main" id="{E90F4B96-01B9-4A14-B723-DB20199E2EA8}"/>
                  </a:ext>
                </a:extLst>
              </p:cNvPr>
              <p:cNvSpPr>
                <a:spLocks noEditPoints="1"/>
              </p:cNvSpPr>
              <p:nvPr/>
            </p:nvSpPr>
            <p:spPr bwMode="auto">
              <a:xfrm>
                <a:off x="402" y="2669"/>
                <a:ext cx="141" cy="142"/>
              </a:xfrm>
              <a:custGeom>
                <a:avLst/>
                <a:gdLst>
                  <a:gd name="T0" fmla="*/ 141 w 141"/>
                  <a:gd name="T1" fmla="*/ 90 h 142"/>
                  <a:gd name="T2" fmla="*/ 116 w 141"/>
                  <a:gd name="T3" fmla="*/ 3 h 142"/>
                  <a:gd name="T4" fmla="*/ 109 w 141"/>
                  <a:gd name="T5" fmla="*/ 0 h 142"/>
                  <a:gd name="T6" fmla="*/ 18 w 141"/>
                  <a:gd name="T7" fmla="*/ 15 h 142"/>
                  <a:gd name="T8" fmla="*/ 14 w 141"/>
                  <a:gd name="T9" fmla="*/ 22 h 142"/>
                  <a:gd name="T10" fmla="*/ 33 w 141"/>
                  <a:gd name="T11" fmla="*/ 74 h 142"/>
                  <a:gd name="T12" fmla="*/ 1 w 141"/>
                  <a:gd name="T13" fmla="*/ 87 h 142"/>
                  <a:gd name="T14" fmla="*/ 0 w 141"/>
                  <a:gd name="T15" fmla="*/ 95 h 142"/>
                  <a:gd name="T16" fmla="*/ 56 w 141"/>
                  <a:gd name="T17" fmla="*/ 142 h 142"/>
                  <a:gd name="T18" fmla="*/ 68 w 141"/>
                  <a:gd name="T19" fmla="*/ 138 h 142"/>
                  <a:gd name="T20" fmla="*/ 139 w 141"/>
                  <a:gd name="T21" fmla="*/ 96 h 142"/>
                  <a:gd name="T22" fmla="*/ 141 w 141"/>
                  <a:gd name="T23" fmla="*/ 90 h 142"/>
                  <a:gd name="T24" fmla="*/ 128 w 141"/>
                  <a:gd name="T25" fmla="*/ 83 h 142"/>
                  <a:gd name="T26" fmla="*/ 77 w 141"/>
                  <a:gd name="T27" fmla="*/ 63 h 142"/>
                  <a:gd name="T28" fmla="*/ 109 w 141"/>
                  <a:gd name="T29" fmla="*/ 16 h 142"/>
                  <a:gd name="T30" fmla="*/ 128 w 141"/>
                  <a:gd name="T31" fmla="*/ 83 h 142"/>
                  <a:gd name="T32" fmla="*/ 100 w 141"/>
                  <a:gd name="T33" fmla="*/ 12 h 142"/>
                  <a:gd name="T34" fmla="*/ 69 w 141"/>
                  <a:gd name="T35" fmla="*/ 58 h 142"/>
                  <a:gd name="T36" fmla="*/ 30 w 141"/>
                  <a:gd name="T37" fmla="*/ 23 h 142"/>
                  <a:gd name="T38" fmla="*/ 100 w 141"/>
                  <a:gd name="T39" fmla="*/ 12 h 142"/>
                  <a:gd name="T40" fmla="*/ 31 w 141"/>
                  <a:gd name="T41" fmla="*/ 37 h 142"/>
                  <a:gd name="T42" fmla="*/ 60 w 141"/>
                  <a:gd name="T43" fmla="*/ 64 h 142"/>
                  <a:gd name="T44" fmla="*/ 43 w 141"/>
                  <a:gd name="T45" fmla="*/ 71 h 142"/>
                  <a:gd name="T46" fmla="*/ 31 w 141"/>
                  <a:gd name="T47" fmla="*/ 37 h 142"/>
                  <a:gd name="T48" fmla="*/ 13 w 141"/>
                  <a:gd name="T49" fmla="*/ 93 h 142"/>
                  <a:gd name="T50" fmla="*/ 37 w 141"/>
                  <a:gd name="T51" fmla="*/ 84 h 142"/>
                  <a:gd name="T52" fmla="*/ 53 w 141"/>
                  <a:gd name="T53" fmla="*/ 125 h 142"/>
                  <a:gd name="T54" fmla="*/ 13 w 141"/>
                  <a:gd name="T55" fmla="*/ 93 h 142"/>
                  <a:gd name="T56" fmla="*/ 58 w 141"/>
                  <a:gd name="T57" fmla="*/ 111 h 142"/>
                  <a:gd name="T58" fmla="*/ 47 w 141"/>
                  <a:gd name="T59" fmla="*/ 80 h 142"/>
                  <a:gd name="T60" fmla="*/ 64 w 141"/>
                  <a:gd name="T61" fmla="*/ 74 h 142"/>
                  <a:gd name="T62" fmla="*/ 58 w 141"/>
                  <a:gd name="T63" fmla="*/ 111 h 142"/>
                  <a:gd name="T64" fmla="*/ 66 w 141"/>
                  <a:gd name="T65" fmla="*/ 128 h 142"/>
                  <a:gd name="T66" fmla="*/ 74 w 141"/>
                  <a:gd name="T67" fmla="*/ 73 h 142"/>
                  <a:gd name="T68" fmla="*/ 124 w 141"/>
                  <a:gd name="T69" fmla="*/ 93 h 142"/>
                  <a:gd name="T70" fmla="*/ 66 w 141"/>
                  <a:gd name="T71" fmla="*/ 12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1" h="142">
                    <a:moveTo>
                      <a:pt x="141" y="90"/>
                    </a:moveTo>
                    <a:lnTo>
                      <a:pt x="116" y="3"/>
                    </a:lnTo>
                    <a:lnTo>
                      <a:pt x="109" y="0"/>
                    </a:lnTo>
                    <a:lnTo>
                      <a:pt x="18" y="15"/>
                    </a:lnTo>
                    <a:lnTo>
                      <a:pt x="14" y="22"/>
                    </a:lnTo>
                    <a:lnTo>
                      <a:pt x="33" y="74"/>
                    </a:lnTo>
                    <a:lnTo>
                      <a:pt x="1" y="87"/>
                    </a:lnTo>
                    <a:lnTo>
                      <a:pt x="0" y="95"/>
                    </a:lnTo>
                    <a:lnTo>
                      <a:pt x="56" y="142"/>
                    </a:lnTo>
                    <a:lnTo>
                      <a:pt x="68" y="138"/>
                    </a:lnTo>
                    <a:lnTo>
                      <a:pt x="139" y="96"/>
                    </a:lnTo>
                    <a:lnTo>
                      <a:pt x="141" y="90"/>
                    </a:lnTo>
                    <a:close/>
                    <a:moveTo>
                      <a:pt x="128" y="83"/>
                    </a:moveTo>
                    <a:lnTo>
                      <a:pt x="77" y="63"/>
                    </a:lnTo>
                    <a:lnTo>
                      <a:pt x="109" y="16"/>
                    </a:lnTo>
                    <a:lnTo>
                      <a:pt x="128" y="83"/>
                    </a:lnTo>
                    <a:close/>
                    <a:moveTo>
                      <a:pt x="100" y="12"/>
                    </a:moveTo>
                    <a:lnTo>
                      <a:pt x="69" y="58"/>
                    </a:lnTo>
                    <a:lnTo>
                      <a:pt x="30" y="23"/>
                    </a:lnTo>
                    <a:lnTo>
                      <a:pt x="100" y="12"/>
                    </a:lnTo>
                    <a:close/>
                    <a:moveTo>
                      <a:pt x="31" y="37"/>
                    </a:moveTo>
                    <a:lnTo>
                      <a:pt x="60" y="64"/>
                    </a:lnTo>
                    <a:lnTo>
                      <a:pt x="43" y="71"/>
                    </a:lnTo>
                    <a:lnTo>
                      <a:pt x="31" y="37"/>
                    </a:lnTo>
                    <a:close/>
                    <a:moveTo>
                      <a:pt x="13" y="93"/>
                    </a:moveTo>
                    <a:lnTo>
                      <a:pt x="37" y="84"/>
                    </a:lnTo>
                    <a:lnTo>
                      <a:pt x="53" y="125"/>
                    </a:lnTo>
                    <a:lnTo>
                      <a:pt x="13" y="93"/>
                    </a:lnTo>
                    <a:close/>
                    <a:moveTo>
                      <a:pt x="58" y="111"/>
                    </a:moveTo>
                    <a:lnTo>
                      <a:pt x="47" y="80"/>
                    </a:lnTo>
                    <a:lnTo>
                      <a:pt x="64" y="74"/>
                    </a:lnTo>
                    <a:lnTo>
                      <a:pt x="58" y="111"/>
                    </a:lnTo>
                    <a:close/>
                    <a:moveTo>
                      <a:pt x="66" y="128"/>
                    </a:moveTo>
                    <a:lnTo>
                      <a:pt x="74" y="73"/>
                    </a:lnTo>
                    <a:lnTo>
                      <a:pt x="124" y="93"/>
                    </a:lnTo>
                    <a:lnTo>
                      <a:pt x="66" y="12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6">
                <a:extLst>
                  <a:ext uri="{FF2B5EF4-FFF2-40B4-BE49-F238E27FC236}">
                    <a16:creationId xmlns:a16="http://schemas.microsoft.com/office/drawing/2014/main" id="{97A710E2-15BC-4F71-BA2B-C5257AAF1348}"/>
                  </a:ext>
                </a:extLst>
              </p:cNvPr>
              <p:cNvSpPr>
                <a:spLocks noChangeArrowheads="1"/>
              </p:cNvSpPr>
              <p:nvPr/>
            </p:nvSpPr>
            <p:spPr bwMode="auto">
              <a:xfrm>
                <a:off x="446" y="2791"/>
                <a:ext cx="31" cy="31"/>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7">
                <a:extLst>
                  <a:ext uri="{FF2B5EF4-FFF2-40B4-BE49-F238E27FC236}">
                    <a16:creationId xmlns:a16="http://schemas.microsoft.com/office/drawing/2014/main" id="{4D6CD19B-E4E8-44DB-B58E-8CD4BADCA679}"/>
                  </a:ext>
                </a:extLst>
              </p:cNvPr>
              <p:cNvSpPr>
                <a:spLocks noChangeArrowheads="1"/>
              </p:cNvSpPr>
              <p:nvPr/>
            </p:nvSpPr>
            <p:spPr bwMode="auto">
              <a:xfrm>
                <a:off x="522" y="2745"/>
                <a:ext cx="31" cy="31"/>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8">
                <a:extLst>
                  <a:ext uri="{FF2B5EF4-FFF2-40B4-BE49-F238E27FC236}">
                    <a16:creationId xmlns:a16="http://schemas.microsoft.com/office/drawing/2014/main" id="{5DA94DC1-4A8D-406C-B5F2-64A5AA952E12}"/>
                  </a:ext>
                </a:extLst>
              </p:cNvPr>
              <p:cNvSpPr>
                <a:spLocks noChangeArrowheads="1"/>
              </p:cNvSpPr>
              <p:nvPr/>
            </p:nvSpPr>
            <p:spPr bwMode="auto">
              <a:xfrm>
                <a:off x="405" y="2673"/>
                <a:ext cx="31" cy="31"/>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9">
                <a:extLst>
                  <a:ext uri="{FF2B5EF4-FFF2-40B4-BE49-F238E27FC236}">
                    <a16:creationId xmlns:a16="http://schemas.microsoft.com/office/drawing/2014/main" id="{8221246F-E9FD-406D-B4ED-7DD476D3BA60}"/>
                  </a:ext>
                </a:extLst>
              </p:cNvPr>
              <p:cNvSpPr>
                <a:spLocks noChangeArrowheads="1"/>
              </p:cNvSpPr>
              <p:nvPr/>
            </p:nvSpPr>
            <p:spPr bwMode="auto">
              <a:xfrm>
                <a:off x="457" y="2719"/>
                <a:ext cx="30" cy="31"/>
              </a:xfrm>
              <a:prstGeom prst="ellipse">
                <a:avLst/>
              </a:pr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10">
                <a:extLst>
                  <a:ext uri="{FF2B5EF4-FFF2-40B4-BE49-F238E27FC236}">
                    <a16:creationId xmlns:a16="http://schemas.microsoft.com/office/drawing/2014/main" id="{3EE5B7E1-AC10-45B2-949F-5E8243583525}"/>
                  </a:ext>
                </a:extLst>
              </p:cNvPr>
              <p:cNvSpPr>
                <a:spLocks noChangeArrowheads="1"/>
              </p:cNvSpPr>
              <p:nvPr/>
            </p:nvSpPr>
            <p:spPr bwMode="auto">
              <a:xfrm>
                <a:off x="498" y="2658"/>
                <a:ext cx="30" cy="31"/>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11">
                <a:extLst>
                  <a:ext uri="{FF2B5EF4-FFF2-40B4-BE49-F238E27FC236}">
                    <a16:creationId xmlns:a16="http://schemas.microsoft.com/office/drawing/2014/main" id="{A1B0CF7F-95D4-486B-BA8A-2E88EFC20973}"/>
                  </a:ext>
                </a:extLst>
              </p:cNvPr>
              <p:cNvSpPr>
                <a:spLocks noChangeArrowheads="1"/>
              </p:cNvSpPr>
              <p:nvPr/>
            </p:nvSpPr>
            <p:spPr bwMode="auto">
              <a:xfrm>
                <a:off x="390" y="2745"/>
                <a:ext cx="31" cy="31"/>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a:extLst>
              <a:ext uri="{FF2B5EF4-FFF2-40B4-BE49-F238E27FC236}">
                <a16:creationId xmlns:a16="http://schemas.microsoft.com/office/drawing/2014/main" id="{E83090D9-CBD8-4FDD-86CF-B245405F2342}"/>
              </a:ext>
            </a:extLst>
          </p:cNvPr>
          <p:cNvGrpSpPr/>
          <p:nvPr/>
        </p:nvGrpSpPr>
        <p:grpSpPr>
          <a:xfrm>
            <a:off x="441668" y="4712621"/>
            <a:ext cx="681444" cy="596570"/>
            <a:chOff x="441668" y="4712621"/>
            <a:chExt cx="681444" cy="596570"/>
          </a:xfrm>
        </p:grpSpPr>
        <p:sp>
          <p:nvSpPr>
            <p:cNvPr id="58" name="Arc 57">
              <a:extLst>
                <a:ext uri="{FF2B5EF4-FFF2-40B4-BE49-F238E27FC236}">
                  <a16:creationId xmlns:a16="http://schemas.microsoft.com/office/drawing/2014/main" id="{ECBDA0B3-E4C3-41A7-A768-C1DF56AF2D7C}"/>
                </a:ext>
              </a:extLst>
            </p:cNvPr>
            <p:cNvSpPr/>
            <p:nvPr/>
          </p:nvSpPr>
          <p:spPr bwMode="auto">
            <a:xfrm rot="13500000">
              <a:off x="441667" y="4712622"/>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C02BC49A-5A24-4295-AC10-10FB64167BBD}"/>
                </a:ext>
              </a:extLst>
            </p:cNvPr>
            <p:cNvSpPr/>
            <p:nvPr/>
          </p:nvSpPr>
          <p:spPr>
            <a:xfrm rot="8100000">
              <a:off x="933433" y="4915618"/>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48" name="Oval 47">
              <a:extLst>
                <a:ext uri="{FF2B5EF4-FFF2-40B4-BE49-F238E27FC236}">
                  <a16:creationId xmlns:a16="http://schemas.microsoft.com/office/drawing/2014/main" id="{967D65F7-DE74-4032-A0FF-F60E2FF8D25B}"/>
                </a:ext>
              </a:extLst>
            </p:cNvPr>
            <p:cNvSpPr/>
            <p:nvPr/>
          </p:nvSpPr>
          <p:spPr bwMode="auto">
            <a:xfrm>
              <a:off x="488669" y="4759623"/>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4">
              <a:extLst>
                <a:ext uri="{FF2B5EF4-FFF2-40B4-BE49-F238E27FC236}">
                  <a16:creationId xmlns:a16="http://schemas.microsoft.com/office/drawing/2014/main" id="{5BCE3276-F0BB-44D3-B62E-4DDDB6A98E02}"/>
                </a:ext>
              </a:extLst>
            </p:cNvPr>
            <p:cNvGrpSpPr>
              <a:grpSpLocks noChangeAspect="1"/>
            </p:cNvGrpSpPr>
            <p:nvPr/>
          </p:nvGrpSpPr>
          <p:grpSpPr bwMode="auto">
            <a:xfrm>
              <a:off x="594821" y="4871960"/>
              <a:ext cx="290260" cy="277890"/>
              <a:chOff x="3664" y="1992"/>
              <a:chExt cx="352" cy="337"/>
            </a:xfrm>
          </p:grpSpPr>
          <p:sp>
            <p:nvSpPr>
              <p:cNvPr id="80" name="Freeform 15">
                <a:extLst>
                  <a:ext uri="{FF2B5EF4-FFF2-40B4-BE49-F238E27FC236}">
                    <a16:creationId xmlns:a16="http://schemas.microsoft.com/office/drawing/2014/main" id="{D67063D0-D16D-4761-B4FF-9CCB9C6781FC}"/>
                  </a:ext>
                </a:extLst>
              </p:cNvPr>
              <p:cNvSpPr>
                <a:spLocks noEditPoints="1"/>
              </p:cNvSpPr>
              <p:nvPr/>
            </p:nvSpPr>
            <p:spPr bwMode="auto">
              <a:xfrm>
                <a:off x="3664" y="1998"/>
                <a:ext cx="343" cy="330"/>
              </a:xfrm>
              <a:custGeom>
                <a:avLst/>
                <a:gdLst>
                  <a:gd name="T0" fmla="*/ 325 w 334"/>
                  <a:gd name="T1" fmla="*/ 180 h 325"/>
                  <a:gd name="T2" fmla="*/ 312 w 334"/>
                  <a:gd name="T3" fmla="*/ 167 h 325"/>
                  <a:gd name="T4" fmla="*/ 294 w 334"/>
                  <a:gd name="T5" fmla="*/ 174 h 325"/>
                  <a:gd name="T6" fmla="*/ 275 w 334"/>
                  <a:gd name="T7" fmla="*/ 167 h 325"/>
                  <a:gd name="T8" fmla="*/ 190 w 334"/>
                  <a:gd name="T9" fmla="*/ 81 h 325"/>
                  <a:gd name="T10" fmla="*/ 183 w 334"/>
                  <a:gd name="T11" fmla="*/ 79 h 325"/>
                  <a:gd name="T12" fmla="*/ 164 w 334"/>
                  <a:gd name="T13" fmla="*/ 98 h 325"/>
                  <a:gd name="T14" fmla="*/ 113 w 334"/>
                  <a:gd name="T15" fmla="*/ 150 h 325"/>
                  <a:gd name="T16" fmla="*/ 79 w 334"/>
                  <a:gd name="T17" fmla="*/ 130 h 325"/>
                  <a:gd name="T18" fmla="*/ 74 w 334"/>
                  <a:gd name="T19" fmla="*/ 109 h 325"/>
                  <a:gd name="T20" fmla="*/ 78 w 334"/>
                  <a:gd name="T21" fmla="*/ 89 h 325"/>
                  <a:gd name="T22" fmla="*/ 99 w 334"/>
                  <a:gd name="T23" fmla="*/ 29 h 325"/>
                  <a:gd name="T24" fmla="*/ 105 w 334"/>
                  <a:gd name="T25" fmla="*/ 23 h 325"/>
                  <a:gd name="T26" fmla="*/ 128 w 334"/>
                  <a:gd name="T27" fmla="*/ 13 h 325"/>
                  <a:gd name="T28" fmla="*/ 119 w 334"/>
                  <a:gd name="T29" fmla="*/ 4 h 325"/>
                  <a:gd name="T30" fmla="*/ 103 w 334"/>
                  <a:gd name="T31" fmla="*/ 4 h 325"/>
                  <a:gd name="T32" fmla="*/ 4 w 334"/>
                  <a:gd name="T33" fmla="*/ 104 h 325"/>
                  <a:gd name="T34" fmla="*/ 4 w 334"/>
                  <a:gd name="T35" fmla="*/ 119 h 325"/>
                  <a:gd name="T36" fmla="*/ 29 w 334"/>
                  <a:gd name="T37" fmla="*/ 144 h 325"/>
                  <a:gd name="T38" fmla="*/ 83 w 334"/>
                  <a:gd name="T39" fmla="*/ 147 h 325"/>
                  <a:gd name="T40" fmla="*/ 95 w 334"/>
                  <a:gd name="T41" fmla="*/ 171 h 325"/>
                  <a:gd name="T42" fmla="*/ 118 w 334"/>
                  <a:gd name="T43" fmla="*/ 182 h 325"/>
                  <a:gd name="T44" fmla="*/ 129 w 334"/>
                  <a:gd name="T45" fmla="*/ 206 h 325"/>
                  <a:gd name="T46" fmla="*/ 153 w 334"/>
                  <a:gd name="T47" fmla="*/ 217 h 325"/>
                  <a:gd name="T48" fmla="*/ 164 w 334"/>
                  <a:gd name="T49" fmla="*/ 241 h 325"/>
                  <a:gd name="T50" fmla="*/ 197 w 334"/>
                  <a:gd name="T51" fmla="*/ 271 h 325"/>
                  <a:gd name="T52" fmla="*/ 184 w 334"/>
                  <a:gd name="T53" fmla="*/ 312 h 325"/>
                  <a:gd name="T54" fmla="*/ 171 w 334"/>
                  <a:gd name="T55" fmla="*/ 324 h 325"/>
                  <a:gd name="T56" fmla="*/ 179 w 334"/>
                  <a:gd name="T57" fmla="*/ 325 h 325"/>
                  <a:gd name="T58" fmla="*/ 207 w 334"/>
                  <a:gd name="T59" fmla="*/ 298 h 325"/>
                  <a:gd name="T60" fmla="*/ 205 w 334"/>
                  <a:gd name="T61" fmla="*/ 289 h 325"/>
                  <a:gd name="T62" fmla="*/ 237 w 334"/>
                  <a:gd name="T63" fmla="*/ 303 h 325"/>
                  <a:gd name="T64" fmla="*/ 255 w 334"/>
                  <a:gd name="T65" fmla="*/ 285 h 325"/>
                  <a:gd name="T66" fmla="*/ 249 w 334"/>
                  <a:gd name="T67" fmla="*/ 258 h 325"/>
                  <a:gd name="T68" fmla="*/ 275 w 334"/>
                  <a:gd name="T69" fmla="*/ 265 h 325"/>
                  <a:gd name="T70" fmla="*/ 294 w 334"/>
                  <a:gd name="T71" fmla="*/ 245 h 325"/>
                  <a:gd name="T72" fmla="*/ 287 w 334"/>
                  <a:gd name="T73" fmla="*/ 219 h 325"/>
                  <a:gd name="T74" fmla="*/ 309 w 334"/>
                  <a:gd name="T75" fmla="*/ 226 h 325"/>
                  <a:gd name="T76" fmla="*/ 332 w 334"/>
                  <a:gd name="T77" fmla="*/ 204 h 325"/>
                  <a:gd name="T78" fmla="*/ 325 w 334"/>
                  <a:gd name="T79" fmla="*/ 180 h 325"/>
                  <a:gd name="T80" fmla="*/ 325 w 334"/>
                  <a:gd name="T81" fmla="*/ 180 h 325"/>
                  <a:gd name="T82" fmla="*/ 286 w 334"/>
                  <a:gd name="T83" fmla="*/ 218 h 325"/>
                  <a:gd name="T84" fmla="*/ 286 w 334"/>
                  <a:gd name="T85" fmla="*/ 218 h 325"/>
                  <a:gd name="T86" fmla="*/ 286 w 334"/>
                  <a:gd name="T87" fmla="*/ 219 h 325"/>
                  <a:gd name="T88" fmla="*/ 286 w 334"/>
                  <a:gd name="T89" fmla="*/ 21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4" h="325">
                    <a:moveTo>
                      <a:pt x="325" y="180"/>
                    </a:moveTo>
                    <a:cubicBezTo>
                      <a:pt x="312" y="167"/>
                      <a:pt x="312" y="167"/>
                      <a:pt x="312" y="167"/>
                    </a:cubicBezTo>
                    <a:cubicBezTo>
                      <a:pt x="307" y="172"/>
                      <a:pt x="300" y="174"/>
                      <a:pt x="294" y="174"/>
                    </a:cubicBezTo>
                    <a:cubicBezTo>
                      <a:pt x="287" y="174"/>
                      <a:pt x="280" y="172"/>
                      <a:pt x="275" y="167"/>
                    </a:cubicBezTo>
                    <a:cubicBezTo>
                      <a:pt x="190" y="81"/>
                      <a:pt x="190" y="81"/>
                      <a:pt x="190" y="81"/>
                    </a:cubicBezTo>
                    <a:cubicBezTo>
                      <a:pt x="188" y="80"/>
                      <a:pt x="186" y="79"/>
                      <a:pt x="183" y="79"/>
                    </a:cubicBezTo>
                    <a:cubicBezTo>
                      <a:pt x="173" y="79"/>
                      <a:pt x="164" y="88"/>
                      <a:pt x="164" y="98"/>
                    </a:cubicBezTo>
                    <a:cubicBezTo>
                      <a:pt x="164" y="127"/>
                      <a:pt x="141" y="150"/>
                      <a:pt x="113" y="150"/>
                    </a:cubicBezTo>
                    <a:cubicBezTo>
                      <a:pt x="99" y="150"/>
                      <a:pt x="87" y="143"/>
                      <a:pt x="79" y="130"/>
                    </a:cubicBezTo>
                    <a:cubicBezTo>
                      <a:pt x="75" y="124"/>
                      <a:pt x="73" y="117"/>
                      <a:pt x="74" y="109"/>
                    </a:cubicBezTo>
                    <a:cubicBezTo>
                      <a:pt x="74" y="102"/>
                      <a:pt x="75" y="95"/>
                      <a:pt x="78" y="89"/>
                    </a:cubicBezTo>
                    <a:cubicBezTo>
                      <a:pt x="99" y="29"/>
                      <a:pt x="99" y="29"/>
                      <a:pt x="99" y="29"/>
                    </a:cubicBezTo>
                    <a:cubicBezTo>
                      <a:pt x="100" y="26"/>
                      <a:pt x="102" y="24"/>
                      <a:pt x="105" y="23"/>
                    </a:cubicBezTo>
                    <a:cubicBezTo>
                      <a:pt x="128" y="13"/>
                      <a:pt x="128" y="13"/>
                      <a:pt x="128" y="13"/>
                    </a:cubicBezTo>
                    <a:cubicBezTo>
                      <a:pt x="119" y="4"/>
                      <a:pt x="119" y="4"/>
                      <a:pt x="119" y="4"/>
                    </a:cubicBezTo>
                    <a:cubicBezTo>
                      <a:pt x="114" y="0"/>
                      <a:pt x="107" y="0"/>
                      <a:pt x="103" y="4"/>
                    </a:cubicBezTo>
                    <a:cubicBezTo>
                      <a:pt x="4" y="104"/>
                      <a:pt x="4" y="104"/>
                      <a:pt x="4" y="104"/>
                    </a:cubicBezTo>
                    <a:cubicBezTo>
                      <a:pt x="0" y="108"/>
                      <a:pt x="0" y="115"/>
                      <a:pt x="4" y="119"/>
                    </a:cubicBezTo>
                    <a:cubicBezTo>
                      <a:pt x="29" y="144"/>
                      <a:pt x="29" y="144"/>
                      <a:pt x="29" y="144"/>
                    </a:cubicBezTo>
                    <a:cubicBezTo>
                      <a:pt x="45" y="132"/>
                      <a:pt x="69" y="132"/>
                      <a:pt x="83" y="147"/>
                    </a:cubicBezTo>
                    <a:cubicBezTo>
                      <a:pt x="90" y="153"/>
                      <a:pt x="93" y="162"/>
                      <a:pt x="95" y="171"/>
                    </a:cubicBezTo>
                    <a:cubicBezTo>
                      <a:pt x="103" y="172"/>
                      <a:pt x="112" y="175"/>
                      <a:pt x="118" y="182"/>
                    </a:cubicBezTo>
                    <a:cubicBezTo>
                      <a:pt x="124" y="188"/>
                      <a:pt x="128" y="197"/>
                      <a:pt x="129" y="206"/>
                    </a:cubicBezTo>
                    <a:cubicBezTo>
                      <a:pt x="138" y="207"/>
                      <a:pt x="146" y="210"/>
                      <a:pt x="153" y="217"/>
                    </a:cubicBezTo>
                    <a:cubicBezTo>
                      <a:pt x="159" y="223"/>
                      <a:pt x="163" y="232"/>
                      <a:pt x="164" y="241"/>
                    </a:cubicBezTo>
                    <a:cubicBezTo>
                      <a:pt x="179" y="243"/>
                      <a:pt x="192" y="252"/>
                      <a:pt x="197" y="271"/>
                    </a:cubicBezTo>
                    <a:cubicBezTo>
                      <a:pt x="202" y="286"/>
                      <a:pt x="196" y="299"/>
                      <a:pt x="184" y="312"/>
                    </a:cubicBezTo>
                    <a:cubicBezTo>
                      <a:pt x="171" y="324"/>
                      <a:pt x="171" y="324"/>
                      <a:pt x="171" y="324"/>
                    </a:cubicBezTo>
                    <a:cubicBezTo>
                      <a:pt x="173" y="324"/>
                      <a:pt x="177" y="325"/>
                      <a:pt x="179" y="325"/>
                    </a:cubicBezTo>
                    <a:cubicBezTo>
                      <a:pt x="194" y="325"/>
                      <a:pt x="207" y="313"/>
                      <a:pt x="207" y="298"/>
                    </a:cubicBezTo>
                    <a:cubicBezTo>
                      <a:pt x="207" y="295"/>
                      <a:pt x="206" y="292"/>
                      <a:pt x="205" y="289"/>
                    </a:cubicBezTo>
                    <a:cubicBezTo>
                      <a:pt x="211" y="300"/>
                      <a:pt x="223" y="307"/>
                      <a:pt x="237" y="303"/>
                    </a:cubicBezTo>
                    <a:cubicBezTo>
                      <a:pt x="246" y="300"/>
                      <a:pt x="253" y="293"/>
                      <a:pt x="255" y="285"/>
                    </a:cubicBezTo>
                    <a:cubicBezTo>
                      <a:pt x="258" y="274"/>
                      <a:pt x="255" y="265"/>
                      <a:pt x="249" y="258"/>
                    </a:cubicBezTo>
                    <a:cubicBezTo>
                      <a:pt x="256" y="265"/>
                      <a:pt x="265" y="268"/>
                      <a:pt x="275" y="265"/>
                    </a:cubicBezTo>
                    <a:cubicBezTo>
                      <a:pt x="284" y="263"/>
                      <a:pt x="292" y="255"/>
                      <a:pt x="294" y="245"/>
                    </a:cubicBezTo>
                    <a:cubicBezTo>
                      <a:pt x="297" y="235"/>
                      <a:pt x="293" y="226"/>
                      <a:pt x="287" y="219"/>
                    </a:cubicBezTo>
                    <a:cubicBezTo>
                      <a:pt x="293" y="224"/>
                      <a:pt x="300" y="227"/>
                      <a:pt x="309" y="226"/>
                    </a:cubicBezTo>
                    <a:cubicBezTo>
                      <a:pt x="320" y="225"/>
                      <a:pt x="330" y="216"/>
                      <a:pt x="332" y="204"/>
                    </a:cubicBezTo>
                    <a:cubicBezTo>
                      <a:pt x="334" y="195"/>
                      <a:pt x="331" y="186"/>
                      <a:pt x="325" y="180"/>
                    </a:cubicBezTo>
                    <a:cubicBezTo>
                      <a:pt x="325" y="180"/>
                      <a:pt x="325" y="180"/>
                      <a:pt x="325" y="180"/>
                    </a:cubicBezTo>
                    <a:close/>
                    <a:moveTo>
                      <a:pt x="286" y="218"/>
                    </a:moveTo>
                    <a:cubicBezTo>
                      <a:pt x="286" y="218"/>
                      <a:pt x="286" y="218"/>
                      <a:pt x="286" y="218"/>
                    </a:cubicBezTo>
                    <a:cubicBezTo>
                      <a:pt x="286" y="218"/>
                      <a:pt x="286" y="219"/>
                      <a:pt x="286" y="219"/>
                    </a:cubicBezTo>
                    <a:cubicBezTo>
                      <a:pt x="286" y="219"/>
                      <a:pt x="286" y="218"/>
                      <a:pt x="286" y="218"/>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6">
                <a:extLst>
                  <a:ext uri="{FF2B5EF4-FFF2-40B4-BE49-F238E27FC236}">
                    <a16:creationId xmlns:a16="http://schemas.microsoft.com/office/drawing/2014/main" id="{8F1FE326-7B6F-4093-A46A-86BBD59128F6}"/>
                  </a:ext>
                </a:extLst>
              </p:cNvPr>
              <p:cNvSpPr>
                <a:spLocks/>
              </p:cNvSpPr>
              <p:nvPr/>
            </p:nvSpPr>
            <p:spPr bwMode="auto">
              <a:xfrm>
                <a:off x="3781" y="2255"/>
                <a:ext cx="75" cy="74"/>
              </a:xfrm>
              <a:custGeom>
                <a:avLst/>
                <a:gdLst>
                  <a:gd name="T0" fmla="*/ 63 w 73"/>
                  <a:gd name="T1" fmla="*/ 44 h 73"/>
                  <a:gd name="T2" fmla="*/ 44 w 73"/>
                  <a:gd name="T3" fmla="*/ 64 h 73"/>
                  <a:gd name="T4" fmla="*/ 9 w 73"/>
                  <a:gd name="T5" fmla="*/ 64 h 73"/>
                  <a:gd name="T6" fmla="*/ 9 w 73"/>
                  <a:gd name="T7" fmla="*/ 64 h 73"/>
                  <a:gd name="T8" fmla="*/ 9 w 73"/>
                  <a:gd name="T9" fmla="*/ 29 h 73"/>
                  <a:gd name="T10" fmla="*/ 28 w 73"/>
                  <a:gd name="T11" fmla="*/ 9 h 73"/>
                  <a:gd name="T12" fmla="*/ 63 w 73"/>
                  <a:gd name="T13" fmla="*/ 9 h 73"/>
                  <a:gd name="T14" fmla="*/ 63 w 73"/>
                  <a:gd name="T15" fmla="*/ 9 h 73"/>
                  <a:gd name="T16" fmla="*/ 63 w 73"/>
                  <a:gd name="T17"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63" y="44"/>
                    </a:moveTo>
                    <a:cubicBezTo>
                      <a:pt x="44" y="64"/>
                      <a:pt x="44" y="64"/>
                      <a:pt x="44" y="64"/>
                    </a:cubicBezTo>
                    <a:cubicBezTo>
                      <a:pt x="34" y="73"/>
                      <a:pt x="19" y="73"/>
                      <a:pt x="9" y="64"/>
                    </a:cubicBezTo>
                    <a:cubicBezTo>
                      <a:pt x="9" y="64"/>
                      <a:pt x="9" y="64"/>
                      <a:pt x="9" y="64"/>
                    </a:cubicBezTo>
                    <a:cubicBezTo>
                      <a:pt x="0" y="54"/>
                      <a:pt x="0" y="38"/>
                      <a:pt x="9" y="29"/>
                    </a:cubicBezTo>
                    <a:cubicBezTo>
                      <a:pt x="28" y="9"/>
                      <a:pt x="28" y="9"/>
                      <a:pt x="28" y="9"/>
                    </a:cubicBezTo>
                    <a:cubicBezTo>
                      <a:pt x="38" y="0"/>
                      <a:pt x="54" y="0"/>
                      <a:pt x="63" y="9"/>
                    </a:cubicBezTo>
                    <a:cubicBezTo>
                      <a:pt x="63" y="9"/>
                      <a:pt x="63" y="9"/>
                      <a:pt x="63" y="9"/>
                    </a:cubicBezTo>
                    <a:cubicBezTo>
                      <a:pt x="73" y="19"/>
                      <a:pt x="73" y="35"/>
                      <a:pt x="63" y="4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7">
                <a:extLst>
                  <a:ext uri="{FF2B5EF4-FFF2-40B4-BE49-F238E27FC236}">
                    <a16:creationId xmlns:a16="http://schemas.microsoft.com/office/drawing/2014/main" id="{4FE7AFA2-431D-4AE7-B071-541A21327E8A}"/>
                  </a:ext>
                </a:extLst>
              </p:cNvPr>
              <p:cNvSpPr>
                <a:spLocks/>
              </p:cNvSpPr>
              <p:nvPr/>
            </p:nvSpPr>
            <p:spPr bwMode="auto">
              <a:xfrm>
                <a:off x="3745" y="2219"/>
                <a:ext cx="75" cy="75"/>
              </a:xfrm>
              <a:custGeom>
                <a:avLst/>
                <a:gdLst>
                  <a:gd name="T0" fmla="*/ 64 w 73"/>
                  <a:gd name="T1" fmla="*/ 44 h 73"/>
                  <a:gd name="T2" fmla="*/ 44 w 73"/>
                  <a:gd name="T3" fmla="*/ 64 h 73"/>
                  <a:gd name="T4" fmla="*/ 9 w 73"/>
                  <a:gd name="T5" fmla="*/ 64 h 73"/>
                  <a:gd name="T6" fmla="*/ 9 w 73"/>
                  <a:gd name="T7" fmla="*/ 64 h 73"/>
                  <a:gd name="T8" fmla="*/ 9 w 73"/>
                  <a:gd name="T9" fmla="*/ 29 h 73"/>
                  <a:gd name="T10" fmla="*/ 29 w 73"/>
                  <a:gd name="T11" fmla="*/ 9 h 73"/>
                  <a:gd name="T12" fmla="*/ 64 w 73"/>
                  <a:gd name="T13" fmla="*/ 9 h 73"/>
                  <a:gd name="T14" fmla="*/ 64 w 73"/>
                  <a:gd name="T15" fmla="*/ 9 h 73"/>
                  <a:gd name="T16" fmla="*/ 64 w 73"/>
                  <a:gd name="T17"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64" y="44"/>
                    </a:moveTo>
                    <a:cubicBezTo>
                      <a:pt x="44" y="64"/>
                      <a:pt x="44" y="64"/>
                      <a:pt x="44" y="64"/>
                    </a:cubicBezTo>
                    <a:cubicBezTo>
                      <a:pt x="35" y="73"/>
                      <a:pt x="19" y="73"/>
                      <a:pt x="9" y="64"/>
                    </a:cubicBezTo>
                    <a:cubicBezTo>
                      <a:pt x="9" y="64"/>
                      <a:pt x="9" y="64"/>
                      <a:pt x="9" y="64"/>
                    </a:cubicBezTo>
                    <a:cubicBezTo>
                      <a:pt x="0" y="54"/>
                      <a:pt x="0" y="39"/>
                      <a:pt x="9" y="29"/>
                    </a:cubicBezTo>
                    <a:cubicBezTo>
                      <a:pt x="29" y="9"/>
                      <a:pt x="29" y="9"/>
                      <a:pt x="29" y="9"/>
                    </a:cubicBezTo>
                    <a:cubicBezTo>
                      <a:pt x="38" y="0"/>
                      <a:pt x="54" y="0"/>
                      <a:pt x="64" y="9"/>
                    </a:cubicBezTo>
                    <a:cubicBezTo>
                      <a:pt x="64" y="9"/>
                      <a:pt x="64" y="9"/>
                      <a:pt x="64" y="9"/>
                    </a:cubicBezTo>
                    <a:cubicBezTo>
                      <a:pt x="73" y="19"/>
                      <a:pt x="73" y="35"/>
                      <a:pt x="64" y="4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8">
                <a:extLst>
                  <a:ext uri="{FF2B5EF4-FFF2-40B4-BE49-F238E27FC236}">
                    <a16:creationId xmlns:a16="http://schemas.microsoft.com/office/drawing/2014/main" id="{3106E630-46C2-41A8-B479-814955D7C8A1}"/>
                  </a:ext>
                </a:extLst>
              </p:cNvPr>
              <p:cNvSpPr>
                <a:spLocks/>
              </p:cNvSpPr>
              <p:nvPr/>
            </p:nvSpPr>
            <p:spPr bwMode="auto">
              <a:xfrm>
                <a:off x="3709" y="2184"/>
                <a:ext cx="75" cy="75"/>
              </a:xfrm>
              <a:custGeom>
                <a:avLst/>
                <a:gdLst>
                  <a:gd name="T0" fmla="*/ 64 w 73"/>
                  <a:gd name="T1" fmla="*/ 44 h 74"/>
                  <a:gd name="T2" fmla="*/ 44 w 73"/>
                  <a:gd name="T3" fmla="*/ 64 h 74"/>
                  <a:gd name="T4" fmla="*/ 10 w 73"/>
                  <a:gd name="T5" fmla="*/ 64 h 74"/>
                  <a:gd name="T6" fmla="*/ 10 w 73"/>
                  <a:gd name="T7" fmla="*/ 64 h 74"/>
                  <a:gd name="T8" fmla="*/ 10 w 73"/>
                  <a:gd name="T9" fmla="*/ 29 h 74"/>
                  <a:gd name="T10" fmla="*/ 29 w 73"/>
                  <a:gd name="T11" fmla="*/ 9 h 74"/>
                  <a:gd name="T12" fmla="*/ 64 w 73"/>
                  <a:gd name="T13" fmla="*/ 9 h 74"/>
                  <a:gd name="T14" fmla="*/ 64 w 73"/>
                  <a:gd name="T15" fmla="*/ 9 h 74"/>
                  <a:gd name="T16" fmla="*/ 64 w 73"/>
                  <a:gd name="T17"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4">
                    <a:moveTo>
                      <a:pt x="64" y="44"/>
                    </a:moveTo>
                    <a:cubicBezTo>
                      <a:pt x="44" y="64"/>
                      <a:pt x="44" y="64"/>
                      <a:pt x="44" y="64"/>
                    </a:cubicBezTo>
                    <a:cubicBezTo>
                      <a:pt x="35" y="74"/>
                      <a:pt x="19" y="74"/>
                      <a:pt x="10" y="64"/>
                    </a:cubicBezTo>
                    <a:cubicBezTo>
                      <a:pt x="10" y="64"/>
                      <a:pt x="10" y="64"/>
                      <a:pt x="10" y="64"/>
                    </a:cubicBezTo>
                    <a:cubicBezTo>
                      <a:pt x="0" y="54"/>
                      <a:pt x="0" y="39"/>
                      <a:pt x="10" y="29"/>
                    </a:cubicBezTo>
                    <a:cubicBezTo>
                      <a:pt x="29" y="9"/>
                      <a:pt x="29" y="9"/>
                      <a:pt x="29" y="9"/>
                    </a:cubicBezTo>
                    <a:cubicBezTo>
                      <a:pt x="39" y="0"/>
                      <a:pt x="54" y="0"/>
                      <a:pt x="64" y="9"/>
                    </a:cubicBezTo>
                    <a:cubicBezTo>
                      <a:pt x="64" y="9"/>
                      <a:pt x="64" y="9"/>
                      <a:pt x="64" y="9"/>
                    </a:cubicBezTo>
                    <a:cubicBezTo>
                      <a:pt x="73" y="19"/>
                      <a:pt x="73" y="35"/>
                      <a:pt x="64" y="4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9">
                <a:extLst>
                  <a:ext uri="{FF2B5EF4-FFF2-40B4-BE49-F238E27FC236}">
                    <a16:creationId xmlns:a16="http://schemas.microsoft.com/office/drawing/2014/main" id="{909ABA39-67D0-484B-9A58-C36131B33BD0}"/>
                  </a:ext>
                </a:extLst>
              </p:cNvPr>
              <p:cNvSpPr>
                <a:spLocks/>
              </p:cNvSpPr>
              <p:nvPr/>
            </p:nvSpPr>
            <p:spPr bwMode="auto">
              <a:xfrm>
                <a:off x="3673" y="2148"/>
                <a:ext cx="76" cy="75"/>
              </a:xfrm>
              <a:custGeom>
                <a:avLst/>
                <a:gdLst>
                  <a:gd name="T0" fmla="*/ 64 w 74"/>
                  <a:gd name="T1" fmla="*/ 44 h 74"/>
                  <a:gd name="T2" fmla="*/ 45 w 74"/>
                  <a:gd name="T3" fmla="*/ 64 h 74"/>
                  <a:gd name="T4" fmla="*/ 10 w 74"/>
                  <a:gd name="T5" fmla="*/ 64 h 74"/>
                  <a:gd name="T6" fmla="*/ 10 w 74"/>
                  <a:gd name="T7" fmla="*/ 64 h 74"/>
                  <a:gd name="T8" fmla="*/ 10 w 74"/>
                  <a:gd name="T9" fmla="*/ 29 h 74"/>
                  <a:gd name="T10" fmla="*/ 29 w 74"/>
                  <a:gd name="T11" fmla="*/ 10 h 74"/>
                  <a:gd name="T12" fmla="*/ 64 w 74"/>
                  <a:gd name="T13" fmla="*/ 10 h 74"/>
                  <a:gd name="T14" fmla="*/ 64 w 74"/>
                  <a:gd name="T15" fmla="*/ 10 h 74"/>
                  <a:gd name="T16" fmla="*/ 64 w 74"/>
                  <a:gd name="T17"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4">
                    <a:moveTo>
                      <a:pt x="64" y="44"/>
                    </a:moveTo>
                    <a:cubicBezTo>
                      <a:pt x="45" y="64"/>
                      <a:pt x="45" y="64"/>
                      <a:pt x="45" y="64"/>
                    </a:cubicBezTo>
                    <a:cubicBezTo>
                      <a:pt x="35" y="74"/>
                      <a:pt x="20" y="74"/>
                      <a:pt x="10" y="64"/>
                    </a:cubicBezTo>
                    <a:cubicBezTo>
                      <a:pt x="10" y="64"/>
                      <a:pt x="10" y="64"/>
                      <a:pt x="10" y="64"/>
                    </a:cubicBezTo>
                    <a:cubicBezTo>
                      <a:pt x="0" y="54"/>
                      <a:pt x="0" y="39"/>
                      <a:pt x="10" y="29"/>
                    </a:cubicBezTo>
                    <a:cubicBezTo>
                      <a:pt x="29" y="10"/>
                      <a:pt x="29" y="10"/>
                      <a:pt x="29" y="10"/>
                    </a:cubicBezTo>
                    <a:cubicBezTo>
                      <a:pt x="39" y="0"/>
                      <a:pt x="55" y="0"/>
                      <a:pt x="64" y="10"/>
                    </a:cubicBezTo>
                    <a:cubicBezTo>
                      <a:pt x="64" y="10"/>
                      <a:pt x="64" y="10"/>
                      <a:pt x="64" y="10"/>
                    </a:cubicBezTo>
                    <a:cubicBezTo>
                      <a:pt x="74" y="19"/>
                      <a:pt x="74" y="35"/>
                      <a:pt x="64" y="4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0">
                <a:extLst>
                  <a:ext uri="{FF2B5EF4-FFF2-40B4-BE49-F238E27FC236}">
                    <a16:creationId xmlns:a16="http://schemas.microsoft.com/office/drawing/2014/main" id="{5399B4F4-237A-4DD9-B96E-27FED613C57D}"/>
                  </a:ext>
                </a:extLst>
              </p:cNvPr>
              <p:cNvSpPr>
                <a:spLocks/>
              </p:cNvSpPr>
              <p:nvPr/>
            </p:nvSpPr>
            <p:spPr bwMode="auto">
              <a:xfrm>
                <a:off x="3757" y="1992"/>
                <a:ext cx="259" cy="167"/>
              </a:xfrm>
              <a:custGeom>
                <a:avLst/>
                <a:gdLst>
                  <a:gd name="T0" fmla="*/ 132 w 252"/>
                  <a:gd name="T1" fmla="*/ 1 h 164"/>
                  <a:gd name="T2" fmla="*/ 28 w 252"/>
                  <a:gd name="T3" fmla="*/ 41 h 164"/>
                  <a:gd name="T4" fmla="*/ 22 w 252"/>
                  <a:gd name="T5" fmla="*/ 48 h 164"/>
                  <a:gd name="T6" fmla="*/ 3 w 252"/>
                  <a:gd name="T7" fmla="*/ 100 h 164"/>
                  <a:gd name="T8" fmla="*/ 0 w 252"/>
                  <a:gd name="T9" fmla="*/ 115 h 164"/>
                  <a:gd name="T10" fmla="*/ 7 w 252"/>
                  <a:gd name="T11" fmla="*/ 132 h 164"/>
                  <a:gd name="T12" fmla="*/ 23 w 252"/>
                  <a:gd name="T13" fmla="*/ 139 h 164"/>
                  <a:gd name="T14" fmla="*/ 58 w 252"/>
                  <a:gd name="T15" fmla="*/ 103 h 164"/>
                  <a:gd name="T16" fmla="*/ 93 w 252"/>
                  <a:gd name="T17" fmla="*/ 68 h 164"/>
                  <a:gd name="T18" fmla="*/ 111 w 252"/>
                  <a:gd name="T19" fmla="*/ 74 h 164"/>
                  <a:gd name="T20" fmla="*/ 197 w 252"/>
                  <a:gd name="T21" fmla="*/ 160 h 164"/>
                  <a:gd name="T22" fmla="*/ 212 w 252"/>
                  <a:gd name="T23" fmla="*/ 160 h 164"/>
                  <a:gd name="T24" fmla="*/ 248 w 252"/>
                  <a:gd name="T25" fmla="*/ 124 h 164"/>
                  <a:gd name="T26" fmla="*/ 248 w 252"/>
                  <a:gd name="T27" fmla="*/ 108 h 164"/>
                  <a:gd name="T28" fmla="*/ 143 w 252"/>
                  <a:gd name="T29" fmla="*/ 3 h 164"/>
                  <a:gd name="T30" fmla="*/ 132 w 252"/>
                  <a:gd name="T31" fmla="*/ 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164">
                    <a:moveTo>
                      <a:pt x="132" y="1"/>
                    </a:moveTo>
                    <a:cubicBezTo>
                      <a:pt x="28" y="41"/>
                      <a:pt x="28" y="41"/>
                      <a:pt x="28" y="41"/>
                    </a:cubicBezTo>
                    <a:cubicBezTo>
                      <a:pt x="25" y="42"/>
                      <a:pt x="23" y="45"/>
                      <a:pt x="22" y="48"/>
                    </a:cubicBezTo>
                    <a:cubicBezTo>
                      <a:pt x="3" y="100"/>
                      <a:pt x="3" y="100"/>
                      <a:pt x="3" y="100"/>
                    </a:cubicBezTo>
                    <a:cubicBezTo>
                      <a:pt x="1" y="105"/>
                      <a:pt x="0" y="110"/>
                      <a:pt x="0" y="115"/>
                    </a:cubicBezTo>
                    <a:cubicBezTo>
                      <a:pt x="0" y="122"/>
                      <a:pt x="3" y="127"/>
                      <a:pt x="7" y="132"/>
                    </a:cubicBezTo>
                    <a:cubicBezTo>
                      <a:pt x="11" y="136"/>
                      <a:pt x="17" y="139"/>
                      <a:pt x="23" y="139"/>
                    </a:cubicBezTo>
                    <a:cubicBezTo>
                      <a:pt x="43" y="139"/>
                      <a:pt x="58" y="123"/>
                      <a:pt x="58" y="103"/>
                    </a:cubicBezTo>
                    <a:cubicBezTo>
                      <a:pt x="58" y="84"/>
                      <a:pt x="74" y="68"/>
                      <a:pt x="93" y="68"/>
                    </a:cubicBezTo>
                    <a:cubicBezTo>
                      <a:pt x="100" y="68"/>
                      <a:pt x="106" y="70"/>
                      <a:pt x="111" y="74"/>
                    </a:cubicBezTo>
                    <a:cubicBezTo>
                      <a:pt x="197" y="160"/>
                      <a:pt x="197" y="160"/>
                      <a:pt x="197" y="160"/>
                    </a:cubicBezTo>
                    <a:cubicBezTo>
                      <a:pt x="201" y="164"/>
                      <a:pt x="208" y="164"/>
                      <a:pt x="212" y="160"/>
                    </a:cubicBezTo>
                    <a:cubicBezTo>
                      <a:pt x="221" y="150"/>
                      <a:pt x="238" y="134"/>
                      <a:pt x="248" y="124"/>
                    </a:cubicBezTo>
                    <a:cubicBezTo>
                      <a:pt x="252" y="119"/>
                      <a:pt x="252" y="113"/>
                      <a:pt x="248" y="108"/>
                    </a:cubicBezTo>
                    <a:cubicBezTo>
                      <a:pt x="143" y="3"/>
                      <a:pt x="143" y="3"/>
                      <a:pt x="143" y="3"/>
                    </a:cubicBezTo>
                    <a:cubicBezTo>
                      <a:pt x="140" y="0"/>
                      <a:pt x="135" y="0"/>
                      <a:pt x="132" y="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7" name="Group 96">
            <a:extLst>
              <a:ext uri="{FF2B5EF4-FFF2-40B4-BE49-F238E27FC236}">
                <a16:creationId xmlns:a16="http://schemas.microsoft.com/office/drawing/2014/main" id="{3E16307D-A7B4-4B83-92DE-955913DA0798}"/>
              </a:ext>
            </a:extLst>
          </p:cNvPr>
          <p:cNvGrpSpPr/>
          <p:nvPr/>
        </p:nvGrpSpPr>
        <p:grpSpPr>
          <a:xfrm>
            <a:off x="441668" y="5368951"/>
            <a:ext cx="681444" cy="596570"/>
            <a:chOff x="441668" y="5368951"/>
            <a:chExt cx="681444" cy="596570"/>
          </a:xfrm>
        </p:grpSpPr>
        <p:sp>
          <p:nvSpPr>
            <p:cNvPr id="59" name="Arc 58">
              <a:extLst>
                <a:ext uri="{FF2B5EF4-FFF2-40B4-BE49-F238E27FC236}">
                  <a16:creationId xmlns:a16="http://schemas.microsoft.com/office/drawing/2014/main" id="{54EDCF21-1CEF-48A0-BD97-8E2996D9DC6C}"/>
                </a:ext>
              </a:extLst>
            </p:cNvPr>
            <p:cNvSpPr/>
            <p:nvPr/>
          </p:nvSpPr>
          <p:spPr bwMode="auto">
            <a:xfrm rot="13500000">
              <a:off x="441667" y="5368952"/>
              <a:ext cx="596570" cy="596568"/>
            </a:xfrm>
            <a:prstGeom prst="arc">
              <a:avLst/>
            </a:prstGeom>
            <a:solidFill>
              <a:schemeClr val="tx2">
                <a:lumMod val="20000"/>
                <a:lumOff val="80000"/>
              </a:schemeClr>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D9D434A9-3C1C-46ED-9178-DC7038817E19}"/>
                </a:ext>
              </a:extLst>
            </p:cNvPr>
            <p:cNvSpPr/>
            <p:nvPr/>
          </p:nvSpPr>
          <p:spPr>
            <a:xfrm rot="8100000">
              <a:off x="933433" y="5571948"/>
              <a:ext cx="189679" cy="190575"/>
            </a:xfrm>
            <a:custGeom>
              <a:avLst/>
              <a:gdLst>
                <a:gd name="connsiteX0" fmla="*/ 0 w 1549523"/>
                <a:gd name="connsiteY0" fmla="*/ 0 h 601579"/>
                <a:gd name="connsiteX1" fmla="*/ 1549523 w 1549523"/>
                <a:gd name="connsiteY1" fmla="*/ 0 h 601579"/>
                <a:gd name="connsiteX2" fmla="*/ 1549523 w 1549523"/>
                <a:gd name="connsiteY2" fmla="*/ 601579 h 601579"/>
                <a:gd name="connsiteX3" fmla="*/ 0 w 1549523"/>
                <a:gd name="connsiteY3" fmla="*/ 601579 h 601579"/>
                <a:gd name="connsiteX4" fmla="*/ 0 w 1549523"/>
                <a:gd name="connsiteY4" fmla="*/ 0 h 601579"/>
                <a:gd name="connsiteX0" fmla="*/ 1549523 w 1640963"/>
                <a:gd name="connsiteY0" fmla="*/ 601579 h 693019"/>
                <a:gd name="connsiteX1" fmla="*/ 0 w 1640963"/>
                <a:gd name="connsiteY1" fmla="*/ 601579 h 693019"/>
                <a:gd name="connsiteX2" fmla="*/ 0 w 1640963"/>
                <a:gd name="connsiteY2" fmla="*/ 0 h 693019"/>
                <a:gd name="connsiteX3" fmla="*/ 1549523 w 1640963"/>
                <a:gd name="connsiteY3" fmla="*/ 0 h 693019"/>
                <a:gd name="connsiteX4" fmla="*/ 1640963 w 1640963"/>
                <a:gd name="connsiteY4" fmla="*/ 693019 h 693019"/>
                <a:gd name="connsiteX0" fmla="*/ 1549523 w 1549523"/>
                <a:gd name="connsiteY0" fmla="*/ 601579 h 601579"/>
                <a:gd name="connsiteX1" fmla="*/ 0 w 1549523"/>
                <a:gd name="connsiteY1" fmla="*/ 601579 h 601579"/>
                <a:gd name="connsiteX2" fmla="*/ 0 w 1549523"/>
                <a:gd name="connsiteY2" fmla="*/ 0 h 601579"/>
                <a:gd name="connsiteX3" fmla="*/ 1549523 w 1549523"/>
                <a:gd name="connsiteY3" fmla="*/ 0 h 601579"/>
                <a:gd name="connsiteX0" fmla="*/ 0 w 1549523"/>
                <a:gd name="connsiteY0" fmla="*/ 601579 h 601579"/>
                <a:gd name="connsiteX1" fmla="*/ 0 w 1549523"/>
                <a:gd name="connsiteY1" fmla="*/ 0 h 601579"/>
                <a:gd name="connsiteX2" fmla="*/ 1549523 w 1549523"/>
                <a:gd name="connsiteY2" fmla="*/ 0 h 601579"/>
              </a:gdLst>
              <a:ahLst/>
              <a:cxnLst>
                <a:cxn ang="0">
                  <a:pos x="connsiteX0" y="connsiteY0"/>
                </a:cxn>
                <a:cxn ang="0">
                  <a:pos x="connsiteX1" y="connsiteY1"/>
                </a:cxn>
                <a:cxn ang="0">
                  <a:pos x="connsiteX2" y="connsiteY2"/>
                </a:cxn>
              </a:cxnLst>
              <a:rect l="l" t="t" r="r" b="b"/>
              <a:pathLst>
                <a:path w="1549523" h="601579">
                  <a:moveTo>
                    <a:pt x="0" y="601579"/>
                  </a:moveTo>
                  <a:lnTo>
                    <a:pt x="0" y="0"/>
                  </a:lnTo>
                  <a:lnTo>
                    <a:pt x="1549523" y="0"/>
                  </a:lnTo>
                </a:path>
              </a:pathLst>
            </a:custGeom>
            <a:noFill/>
            <a:ln w="19050">
              <a:solidFill>
                <a:schemeClr val="tx2"/>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marL="0" lvl="0" indent="0" algn="l" defTabSz="622300">
                <a:lnSpc>
                  <a:spcPct val="90000"/>
                </a:lnSpc>
                <a:spcBef>
                  <a:spcPct val="0"/>
                </a:spcBef>
                <a:spcAft>
                  <a:spcPct val="35000"/>
                </a:spcAft>
                <a:buNone/>
              </a:pPr>
              <a:endParaRPr lang="en-US" sz="1400" kern="1200">
                <a:solidFill>
                  <a:schemeClr val="tx1"/>
                </a:solidFill>
              </a:endParaRPr>
            </a:p>
          </p:txBody>
        </p:sp>
        <p:sp>
          <p:nvSpPr>
            <p:cNvPr id="52" name="Oval 51">
              <a:extLst>
                <a:ext uri="{FF2B5EF4-FFF2-40B4-BE49-F238E27FC236}">
                  <a16:creationId xmlns:a16="http://schemas.microsoft.com/office/drawing/2014/main" id="{92EE6B60-7CC3-47CD-AE4C-3C2DEF0E3946}"/>
                </a:ext>
              </a:extLst>
            </p:cNvPr>
            <p:cNvSpPr/>
            <p:nvPr/>
          </p:nvSpPr>
          <p:spPr bwMode="auto">
            <a:xfrm>
              <a:off x="488669" y="5415953"/>
              <a:ext cx="502565" cy="50256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23">
              <a:extLst>
                <a:ext uri="{FF2B5EF4-FFF2-40B4-BE49-F238E27FC236}">
                  <a16:creationId xmlns:a16="http://schemas.microsoft.com/office/drawing/2014/main" id="{A55C9EEF-C61F-4111-90BF-A8CD71B79B43}"/>
                </a:ext>
              </a:extLst>
            </p:cNvPr>
            <p:cNvGrpSpPr>
              <a:grpSpLocks noChangeAspect="1"/>
            </p:cNvGrpSpPr>
            <p:nvPr/>
          </p:nvGrpSpPr>
          <p:grpSpPr bwMode="auto">
            <a:xfrm>
              <a:off x="644585" y="5539110"/>
              <a:ext cx="190732" cy="256251"/>
              <a:chOff x="3709" y="1984"/>
              <a:chExt cx="262" cy="352"/>
            </a:xfrm>
          </p:grpSpPr>
          <p:sp>
            <p:nvSpPr>
              <p:cNvPr id="89" name="Freeform 24">
                <a:extLst>
                  <a:ext uri="{FF2B5EF4-FFF2-40B4-BE49-F238E27FC236}">
                    <a16:creationId xmlns:a16="http://schemas.microsoft.com/office/drawing/2014/main" id="{2D4662B0-5919-4CF0-96C4-57E487EA7423}"/>
                  </a:ext>
                </a:extLst>
              </p:cNvPr>
              <p:cNvSpPr>
                <a:spLocks/>
              </p:cNvSpPr>
              <p:nvPr/>
            </p:nvSpPr>
            <p:spPr bwMode="auto">
              <a:xfrm>
                <a:off x="3709" y="1984"/>
                <a:ext cx="262" cy="352"/>
              </a:xfrm>
              <a:custGeom>
                <a:avLst/>
                <a:gdLst>
                  <a:gd name="T0" fmla="*/ 0 w 262"/>
                  <a:gd name="T1" fmla="*/ 0 h 352"/>
                  <a:gd name="T2" fmla="*/ 0 w 262"/>
                  <a:gd name="T3" fmla="*/ 352 h 352"/>
                  <a:gd name="T4" fmla="*/ 262 w 262"/>
                  <a:gd name="T5" fmla="*/ 352 h 352"/>
                  <a:gd name="T6" fmla="*/ 262 w 262"/>
                  <a:gd name="T7" fmla="*/ 110 h 352"/>
                  <a:gd name="T8" fmla="*/ 154 w 262"/>
                  <a:gd name="T9" fmla="*/ 110 h 352"/>
                  <a:gd name="T10" fmla="*/ 154 w 262"/>
                  <a:gd name="T11" fmla="*/ 0 h 352"/>
                  <a:gd name="T12" fmla="*/ 0 w 262"/>
                  <a:gd name="T13" fmla="*/ 0 h 352"/>
                </a:gdLst>
                <a:ahLst/>
                <a:cxnLst>
                  <a:cxn ang="0">
                    <a:pos x="T0" y="T1"/>
                  </a:cxn>
                  <a:cxn ang="0">
                    <a:pos x="T2" y="T3"/>
                  </a:cxn>
                  <a:cxn ang="0">
                    <a:pos x="T4" y="T5"/>
                  </a:cxn>
                  <a:cxn ang="0">
                    <a:pos x="T6" y="T7"/>
                  </a:cxn>
                  <a:cxn ang="0">
                    <a:pos x="T8" y="T9"/>
                  </a:cxn>
                  <a:cxn ang="0">
                    <a:pos x="T10" y="T11"/>
                  </a:cxn>
                  <a:cxn ang="0">
                    <a:pos x="T12" y="T13"/>
                  </a:cxn>
                </a:cxnLst>
                <a:rect l="0" t="0" r="r" b="b"/>
                <a:pathLst>
                  <a:path w="262" h="352">
                    <a:moveTo>
                      <a:pt x="0" y="0"/>
                    </a:moveTo>
                    <a:lnTo>
                      <a:pt x="0" y="352"/>
                    </a:lnTo>
                    <a:lnTo>
                      <a:pt x="262" y="352"/>
                    </a:lnTo>
                    <a:lnTo>
                      <a:pt x="262" y="110"/>
                    </a:lnTo>
                    <a:lnTo>
                      <a:pt x="154" y="110"/>
                    </a:lnTo>
                    <a:lnTo>
                      <a:pt x="154"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25">
                <a:extLst>
                  <a:ext uri="{FF2B5EF4-FFF2-40B4-BE49-F238E27FC236}">
                    <a16:creationId xmlns:a16="http://schemas.microsoft.com/office/drawing/2014/main" id="{C52CA04F-9AA1-410A-9532-8161C547DBA7}"/>
                  </a:ext>
                </a:extLst>
              </p:cNvPr>
              <p:cNvSpPr>
                <a:spLocks noChangeArrowheads="1"/>
              </p:cNvSpPr>
              <p:nvPr/>
            </p:nvSpPr>
            <p:spPr bwMode="auto">
              <a:xfrm>
                <a:off x="3732" y="2182"/>
                <a:ext cx="218" cy="2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6">
                <a:extLst>
                  <a:ext uri="{FF2B5EF4-FFF2-40B4-BE49-F238E27FC236}">
                    <a16:creationId xmlns:a16="http://schemas.microsoft.com/office/drawing/2014/main" id="{B4428FDF-4362-4E36-AE44-3196C5E59922}"/>
                  </a:ext>
                </a:extLst>
              </p:cNvPr>
              <p:cNvSpPr>
                <a:spLocks noEditPoints="1"/>
              </p:cNvSpPr>
              <p:nvPr/>
            </p:nvSpPr>
            <p:spPr bwMode="auto">
              <a:xfrm>
                <a:off x="3732" y="2226"/>
                <a:ext cx="218" cy="66"/>
              </a:xfrm>
              <a:custGeom>
                <a:avLst/>
                <a:gdLst>
                  <a:gd name="T0" fmla="*/ 214 w 214"/>
                  <a:gd name="T1" fmla="*/ 21 h 64"/>
                  <a:gd name="T2" fmla="*/ 62 w 214"/>
                  <a:gd name="T3" fmla="*/ 21 h 64"/>
                  <a:gd name="T4" fmla="*/ 32 w 214"/>
                  <a:gd name="T5" fmla="*/ 0 h 64"/>
                  <a:gd name="T6" fmla="*/ 0 w 214"/>
                  <a:gd name="T7" fmla="*/ 32 h 64"/>
                  <a:gd name="T8" fmla="*/ 32 w 214"/>
                  <a:gd name="T9" fmla="*/ 64 h 64"/>
                  <a:gd name="T10" fmla="*/ 62 w 214"/>
                  <a:gd name="T11" fmla="*/ 43 h 64"/>
                  <a:gd name="T12" fmla="*/ 214 w 214"/>
                  <a:gd name="T13" fmla="*/ 43 h 64"/>
                  <a:gd name="T14" fmla="*/ 214 w 214"/>
                  <a:gd name="T15" fmla="*/ 21 h 64"/>
                  <a:gd name="T16" fmla="*/ 32 w 214"/>
                  <a:gd name="T17" fmla="*/ 48 h 64"/>
                  <a:gd name="T18" fmla="*/ 17 w 214"/>
                  <a:gd name="T19" fmla="*/ 32 h 64"/>
                  <a:gd name="T20" fmla="*/ 32 w 214"/>
                  <a:gd name="T21" fmla="*/ 16 h 64"/>
                  <a:gd name="T22" fmla="*/ 48 w 214"/>
                  <a:gd name="T23" fmla="*/ 32 h 64"/>
                  <a:gd name="T24" fmla="*/ 32 w 214"/>
                  <a:gd name="T25"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64">
                    <a:moveTo>
                      <a:pt x="214" y="21"/>
                    </a:moveTo>
                    <a:cubicBezTo>
                      <a:pt x="62" y="21"/>
                      <a:pt x="62" y="21"/>
                      <a:pt x="62" y="21"/>
                    </a:cubicBezTo>
                    <a:cubicBezTo>
                      <a:pt x="58" y="9"/>
                      <a:pt x="46" y="0"/>
                      <a:pt x="32" y="0"/>
                    </a:cubicBezTo>
                    <a:cubicBezTo>
                      <a:pt x="15" y="0"/>
                      <a:pt x="0" y="14"/>
                      <a:pt x="0" y="32"/>
                    </a:cubicBezTo>
                    <a:cubicBezTo>
                      <a:pt x="0" y="50"/>
                      <a:pt x="15" y="64"/>
                      <a:pt x="32" y="64"/>
                    </a:cubicBezTo>
                    <a:cubicBezTo>
                      <a:pt x="46" y="64"/>
                      <a:pt x="58" y="55"/>
                      <a:pt x="62" y="43"/>
                    </a:cubicBezTo>
                    <a:cubicBezTo>
                      <a:pt x="214" y="43"/>
                      <a:pt x="214" y="43"/>
                      <a:pt x="214" y="43"/>
                    </a:cubicBezTo>
                    <a:lnTo>
                      <a:pt x="214" y="21"/>
                    </a:lnTo>
                    <a:close/>
                    <a:moveTo>
                      <a:pt x="32" y="48"/>
                    </a:moveTo>
                    <a:cubicBezTo>
                      <a:pt x="24" y="48"/>
                      <a:pt x="17" y="41"/>
                      <a:pt x="17" y="32"/>
                    </a:cubicBezTo>
                    <a:cubicBezTo>
                      <a:pt x="17" y="23"/>
                      <a:pt x="24" y="16"/>
                      <a:pt x="32" y="16"/>
                    </a:cubicBezTo>
                    <a:cubicBezTo>
                      <a:pt x="41" y="16"/>
                      <a:pt x="48" y="23"/>
                      <a:pt x="48" y="32"/>
                    </a:cubicBezTo>
                    <a:cubicBezTo>
                      <a:pt x="48" y="41"/>
                      <a:pt x="41" y="48"/>
                      <a:pt x="32" y="48"/>
                    </a:cubicBez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27">
                <a:extLst>
                  <a:ext uri="{FF2B5EF4-FFF2-40B4-BE49-F238E27FC236}">
                    <a16:creationId xmlns:a16="http://schemas.microsoft.com/office/drawing/2014/main" id="{393A0930-AF04-4B29-A15D-9F7DAA3A2311}"/>
                  </a:ext>
                </a:extLst>
              </p:cNvPr>
              <p:cNvSpPr>
                <a:spLocks noChangeArrowheads="1"/>
              </p:cNvSpPr>
              <p:nvPr/>
            </p:nvSpPr>
            <p:spPr bwMode="auto">
              <a:xfrm>
                <a:off x="3732" y="2138"/>
                <a:ext cx="87" cy="2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28">
                <a:extLst>
                  <a:ext uri="{FF2B5EF4-FFF2-40B4-BE49-F238E27FC236}">
                    <a16:creationId xmlns:a16="http://schemas.microsoft.com/office/drawing/2014/main" id="{993B7B05-C87D-4D81-B774-E0C83720CB11}"/>
                  </a:ext>
                </a:extLst>
              </p:cNvPr>
              <p:cNvSpPr>
                <a:spLocks noChangeArrowheads="1"/>
              </p:cNvSpPr>
              <p:nvPr/>
            </p:nvSpPr>
            <p:spPr bwMode="auto">
              <a:xfrm>
                <a:off x="3862" y="2138"/>
                <a:ext cx="88" cy="22"/>
              </a:xfrm>
              <a:prstGeom prst="rect">
                <a:avLst/>
              </a:prstGeom>
              <a:solidFill>
                <a:srgbClr val="30E3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9">
                <a:extLst>
                  <a:ext uri="{FF2B5EF4-FFF2-40B4-BE49-F238E27FC236}">
                    <a16:creationId xmlns:a16="http://schemas.microsoft.com/office/drawing/2014/main" id="{83A2DA62-4143-481B-B321-84D188CA13DF}"/>
                  </a:ext>
                </a:extLst>
              </p:cNvPr>
              <p:cNvSpPr>
                <a:spLocks/>
              </p:cNvSpPr>
              <p:nvPr/>
            </p:nvSpPr>
            <p:spPr bwMode="auto">
              <a:xfrm>
                <a:off x="3884" y="1984"/>
                <a:ext cx="87" cy="89"/>
              </a:xfrm>
              <a:custGeom>
                <a:avLst/>
                <a:gdLst>
                  <a:gd name="T0" fmla="*/ 0 w 87"/>
                  <a:gd name="T1" fmla="*/ 89 h 89"/>
                  <a:gd name="T2" fmla="*/ 87 w 87"/>
                  <a:gd name="T3" fmla="*/ 89 h 89"/>
                  <a:gd name="T4" fmla="*/ 0 w 87"/>
                  <a:gd name="T5" fmla="*/ 0 h 89"/>
                  <a:gd name="T6" fmla="*/ 0 w 87"/>
                  <a:gd name="T7" fmla="*/ 89 h 89"/>
                </a:gdLst>
                <a:ahLst/>
                <a:cxnLst>
                  <a:cxn ang="0">
                    <a:pos x="T0" y="T1"/>
                  </a:cxn>
                  <a:cxn ang="0">
                    <a:pos x="T2" y="T3"/>
                  </a:cxn>
                  <a:cxn ang="0">
                    <a:pos x="T4" y="T5"/>
                  </a:cxn>
                  <a:cxn ang="0">
                    <a:pos x="T6" y="T7"/>
                  </a:cxn>
                </a:cxnLst>
                <a:rect l="0" t="0" r="r" b="b"/>
                <a:pathLst>
                  <a:path w="87" h="89">
                    <a:moveTo>
                      <a:pt x="0" y="89"/>
                    </a:moveTo>
                    <a:lnTo>
                      <a:pt x="87" y="89"/>
                    </a:lnTo>
                    <a:lnTo>
                      <a:pt x="0" y="0"/>
                    </a:lnTo>
                    <a:lnTo>
                      <a:pt x="0" y="89"/>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3780645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7DB64-89F1-4E6E-BC2F-E72380584D1E}"/>
              </a:ext>
            </a:extLst>
          </p:cNvPr>
          <p:cNvSpPr>
            <a:spLocks noGrp="1"/>
          </p:cNvSpPr>
          <p:nvPr>
            <p:ph type="title"/>
          </p:nvPr>
        </p:nvSpPr>
        <p:spPr>
          <a:xfrm>
            <a:off x="396358" y="794995"/>
            <a:ext cx="10900533" cy="3558191"/>
          </a:xfrm>
        </p:spPr>
        <p:txBody>
          <a:bodyPr/>
          <a:lstStyle/>
          <a:p>
            <a:br>
              <a:rPr lang="en-US" sz="32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r>
              <a:rPr lang="en-US" sz="2800" dirty="0">
                <a:cs typeface="Segoe UI"/>
              </a:rPr>
              <a:t>Lab 05: Add a Power Automate flow</a:t>
            </a:r>
            <a:br>
              <a:rPr lang="en-US" sz="2800" dirty="0">
                <a:cs typeface="Segoe UI"/>
              </a:rPr>
            </a:br>
            <a:br>
              <a:rPr lang="en-US" sz="2800" dirty="0"/>
            </a:br>
            <a:br>
              <a:rPr lang="en-US" sz="2800" dirty="0"/>
            </a:br>
            <a:br>
              <a:rPr lang="en-US" sz="2800" dirty="0"/>
            </a:br>
            <a:br>
              <a:rPr lang="en-US" sz="2800" dirty="0">
                <a:cs typeface="Segoe UI"/>
              </a:rPr>
            </a:br>
            <a:endParaRPr lang="en-US" sz="2800" dirty="0">
              <a:cs typeface="Segoe UI"/>
            </a:endParaRPr>
          </a:p>
        </p:txBody>
      </p:sp>
      <p:grpSp>
        <p:nvGrpSpPr>
          <p:cNvPr id="3" name="Group 2">
            <a:extLst>
              <a:ext uri="{FF2B5EF4-FFF2-40B4-BE49-F238E27FC236}">
                <a16:creationId xmlns:a16="http://schemas.microsoft.com/office/drawing/2014/main" id="{475022C1-FA33-4DEB-8ABD-694C8A6D71A3}"/>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8110FFDF-9FAF-462C-8AA2-A7FA709E06E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836327DC-15E8-42AF-94F0-58FC1512FDF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48C3BD27-C5F1-4724-B145-FB98ACBDFEC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98306460-AD9B-4A3A-8FFE-0926A894C8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93CC866D-041A-407C-8DF8-F17763420F7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C33458F-A5FC-49BE-BE66-CB6798034FD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31071065-5014-4007-A1BD-2D84701235E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5F1A5459-41F4-4B1A-A857-D8C30DAD95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0B6360DF-8306-4B7D-A66B-04A9795FECA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DD08CB6C-4D09-42F1-B6E1-13E66A5FA3F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171145A7-13F1-42FC-9A7E-4DDD3043AE2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D32E4EB-6BC8-4C36-94C0-8E9F4DC0E4A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B99ABFCC-16D4-47A7-AD22-5E9FF81220D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5C6F4CD5-92FE-45DA-9EF4-1C96A4ABE91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613525B1-2352-49A2-A362-496AB7CA1F4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7E9FFEDB-52FC-4340-922E-3CB27B5F94A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6517D1F8-AEE5-4B3E-A8C6-1C6B1D895D6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0B7EE65C-1E96-4F08-8263-4DBF114EB34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780AF220-ED2F-45D4-B409-9D00E57E0D5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97AE2CCA-88F7-4BB0-82D5-ACF890C93DCB}"/>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9254BAFF-27A3-406C-808C-3138CE74D46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14F645DE-3F82-4B4F-B46B-9F466DBA3B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1739375-4285-4622-BDD7-426EF14FC342}"/>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F597EEBD-64C6-4570-B32D-B4A969589C7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4088EA09-4565-4A55-ADF6-7DDE49C15D5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3722F707-3177-4570-9A4D-CDD9E95B241A}"/>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1455157C-0955-49D7-B957-94500F22BA6F}"/>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148EF97-243A-4148-B5DF-09F5BB6C4C3C}"/>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F7BF94-54B2-43C5-B551-34EE6A10B070}"/>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39036EB1-02F1-452F-A89A-E93B86D90A56}"/>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7E871FE-539F-4034-8110-9FD892B0555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A2DE533C-EA0D-4B65-96FD-4327C50E3A3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1174B640-E339-47C5-BB7A-A5078C92266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001EBBDC-59B6-4F03-AAFB-611C5E8C029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C1B73D94-D2DB-4498-9194-B9710E153B09}"/>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E871584F-0390-4675-89E1-C20EDF4F8E76}"/>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0779573D-06B4-4095-8A74-86DD294DDC11}"/>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1BD03806-8DE0-47A2-AB00-620F089E9EB2}"/>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77E3D284-9328-4E9B-B0C9-B5C16992CA4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8EF108F-BAD2-4DAF-9928-133AC4DFE8A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9854C2D7-66F7-4985-BC3E-B0CA7C362DD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8657576A-876E-46F6-83AC-EA5D41A19E1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44B02DDB-989B-4563-AF43-3A40A434EBB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70F04076-FD21-462E-A882-BAC0B514CD0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FB1B4F1-8FDD-4559-B23E-4BADCA38592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3912C55-BF60-434B-8507-357EA69802F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9D6E13A7-42D2-46BF-9386-126ADB3C998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ACE2945-D0F1-4729-AF85-123461A2441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02A2120-4417-4B7C-BFAE-7987FA3CA20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5D0B89E-EC31-4102-BF81-86848001618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B276FC5F-0138-4DC7-8610-38708607A6F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AAA928D6-8D7D-4316-B89F-1A981F61601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0FB5F53C-004A-475D-8442-5211141F507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0099D63-274C-4034-9BF7-3E009DF8DD5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D5D4FCF-A0F8-4097-889B-7D3FD62B80F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B75BC3A0-A124-41BD-A036-2E34EFCE8BA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3FFB635-A8C4-4136-B651-81A3309BADF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9AD93D9-F17B-475E-ABE4-B4345CBB454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CFEA2DE-8D0B-414F-B022-A44BECCBB18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51E54F3-EB89-464A-9861-1A151776E84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0046688F-2FEA-46A9-8A65-698F627327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D1C8A73-120B-4416-9589-24A126E30E4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9E32D788-974C-4DFC-B14C-F76640273B8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323B661-9FA2-4A35-84F3-C0F9D78CB3A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A25F7D75-C019-4A8A-A4D4-AA1A0511C8D1}"/>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65379C9C-5250-4BF9-BA44-4FBAE1ED2651}"/>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A11B069-10B3-4EDA-8DE5-21E2F154327A}"/>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AF5EC0AC-D660-480E-909E-96C95E26AB11}"/>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6424F9-C535-46E7-AC2D-7E2A2838D657}"/>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85D2D971-90A8-46C5-82FE-23F73D3071A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827E06A-F344-42A5-B94A-583409333C1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A3C123E-D2AB-4139-A46A-790BFCBFB40F}"/>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F4645BB-AF58-41F6-8EF9-91FE28281460}"/>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06F4A61B-10DE-4169-8A45-9F41F186C282}"/>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947E171-A58F-4D32-BD35-CE9FBA8635B4}"/>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3D060200-6A56-4485-AE5D-D54894801D16}"/>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B4FD5AD-866C-4A31-AE76-D0B0B9605B11}"/>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0D5F7948-9026-4875-9D48-4AD9F128866D}"/>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C05D6448-03E1-4B48-A22C-F32A25F511F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0EF86C37-15B4-49B3-AF8C-9F711AD93E3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E5E05CA-8FF2-4FD2-B342-E094CEAE8269}"/>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EABA50F7-C586-435F-94F7-8796F40380F1}"/>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5EC1DFE-8197-492E-992F-D418E4CA0101}"/>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CC181621-0A18-4E40-B7AF-0DB1D4FCF97C}"/>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E8443BC1-808F-4C43-8CBC-BBBBC820ED6F}"/>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ECF7F55B-E730-426A-9953-8644B2D39FD2}"/>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6C351148-CD4C-441E-8704-0A749B383EF3}"/>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089D3B01-D361-4995-85BC-93B050725086}"/>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B6DDC327-B974-4847-81E8-731FBC33A4DC}"/>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C814210C-6A27-4534-809A-B7230B53302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0491A14C-6BC9-490D-9A10-A3501D2B9B4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505B18C-57E2-44F6-8D9A-93AB030C0BCE}"/>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66002529-5EBD-4EC6-A230-811FDD41B518}"/>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5D4C2D61-F276-4E93-AF61-7F93A0F164B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02DE906F-2739-4B9C-B9A6-9FCA842B433B}"/>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A8F70A9B-B3AD-49A4-9E67-5C5308B66A1F}"/>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BA6EA86-38CC-498A-A3A9-AEE0A0963733}"/>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C2461EBF-E2C5-4026-B714-A5B2942AB6E4}"/>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E9994C5E-F3BE-47C7-BBEB-A3FEFE13D2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1A718991-14A0-463E-AD9A-797AA02FD47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36FF24A4-2DEF-4559-B478-940C7A3F15C0}"/>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DCDB08FC-1793-4FB1-8949-FB534110315C}"/>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645DE35D-21C0-4D3E-B174-969F55FF90A1}"/>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725258C0-FF6B-4EB8-A15E-7E3F0183AC6A}"/>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03716D7-1EA8-4D1B-BA7E-502D75CF5624}"/>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B16CF61D-8FBA-454E-BDD6-18D356C59EAB}"/>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74681CDB-BB41-4FAC-82E4-164CC716EC68}"/>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476C018C-386E-4848-B392-7333AA283896}"/>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A3BE5DBD-7B39-4447-8CCB-C89975984983}"/>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6F506D1D-246B-4D5A-9E22-6C616F226FC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A3BB834-D0E2-4D9C-B89D-BE826D36D62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E11F5A8F-F7A1-459F-8A95-4836B70C8442}"/>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D644F924-BE0F-4E0A-A600-03C08AA940F2}"/>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7" name="Oval 116">
              <a:extLst>
                <a:ext uri="{FF2B5EF4-FFF2-40B4-BE49-F238E27FC236}">
                  <a16:creationId xmlns:a16="http://schemas.microsoft.com/office/drawing/2014/main" id="{3692AC41-647F-496E-9D33-1FD3E3C86D7F}"/>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F7ADB0F1-100E-411B-A3AA-D29FD00F336F}"/>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9" name="Oval 118">
              <a:extLst>
                <a:ext uri="{FF2B5EF4-FFF2-40B4-BE49-F238E27FC236}">
                  <a16:creationId xmlns:a16="http://schemas.microsoft.com/office/drawing/2014/main" id="{ECEC87FA-A525-4D77-81A3-C72422DD20A8}"/>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043B2587-9BE6-44E4-BCBA-E1740A60A9E0}"/>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1" name="Freeform: Shape 120">
              <a:extLst>
                <a:ext uri="{FF2B5EF4-FFF2-40B4-BE49-F238E27FC236}">
                  <a16:creationId xmlns:a16="http://schemas.microsoft.com/office/drawing/2014/main" id="{7120EE66-E4D8-4D3D-8ECA-CFE0E1C47AA8}"/>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7BAA5E30-DB59-47EA-A85E-E87ABE39B899}"/>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A092B487-65FF-4985-9C3C-DE67F806BA28}"/>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Oval 123">
              <a:extLst>
                <a:ext uri="{FF2B5EF4-FFF2-40B4-BE49-F238E27FC236}">
                  <a16:creationId xmlns:a16="http://schemas.microsoft.com/office/drawing/2014/main" id="{CB875356-990C-4792-9A9E-F211C9FBE75F}"/>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425CD682-2971-46FB-8E30-D45410FB5D19}"/>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6" name="Group 125">
            <a:extLst>
              <a:ext uri="{FF2B5EF4-FFF2-40B4-BE49-F238E27FC236}">
                <a16:creationId xmlns:a16="http://schemas.microsoft.com/office/drawing/2014/main" id="{A1BEE3C5-5D9D-4644-9C0C-EFCF0BA86B6E}"/>
              </a:ext>
            </a:extLst>
          </p:cNvPr>
          <p:cNvGrpSpPr/>
          <p:nvPr/>
        </p:nvGrpSpPr>
        <p:grpSpPr>
          <a:xfrm>
            <a:off x="10357803" y="-4071"/>
            <a:ext cx="1834198" cy="1586279"/>
            <a:chOff x="10357802" y="-4071"/>
            <a:chExt cx="1834198" cy="1586279"/>
          </a:xfrm>
        </p:grpSpPr>
        <p:grpSp>
          <p:nvGrpSpPr>
            <p:cNvPr id="127" name="Group 126">
              <a:extLst>
                <a:ext uri="{FF2B5EF4-FFF2-40B4-BE49-F238E27FC236}">
                  <a16:creationId xmlns:a16="http://schemas.microsoft.com/office/drawing/2014/main" id="{3272040F-F01E-48EA-A1AB-2E818594E96F}"/>
                </a:ext>
              </a:extLst>
            </p:cNvPr>
            <p:cNvGrpSpPr/>
            <p:nvPr/>
          </p:nvGrpSpPr>
          <p:grpSpPr>
            <a:xfrm>
              <a:off x="10357802" y="-4071"/>
              <a:ext cx="1834198" cy="1586279"/>
              <a:chOff x="10357802" y="-4071"/>
              <a:chExt cx="1834198" cy="1586279"/>
            </a:xfrm>
          </p:grpSpPr>
          <p:sp>
            <p:nvSpPr>
              <p:cNvPr id="133" name="Freeform: Shape 132">
                <a:extLst>
                  <a:ext uri="{FF2B5EF4-FFF2-40B4-BE49-F238E27FC236}">
                    <a16:creationId xmlns:a16="http://schemas.microsoft.com/office/drawing/2014/main" id="{2A2D080D-AEC1-4B2F-AF9D-494321898EB1}"/>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7AFA135D-844D-4A5A-9D00-3DFA13AC1057}"/>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CFF85BE6-8871-4D13-875D-416483E65DBC}"/>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2E79ABE-D98C-491C-85A5-10330288D3E0}"/>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BD14C643-F5DC-4704-9732-A1BA49A8CFC4}"/>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25638EA-90E0-4BF6-8F8E-C971AE755FF1}"/>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6B2DBDB-F254-4268-81B5-A607124BDC9F}"/>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A377537C-ED9E-4079-8638-4AFCC5B342F7}"/>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2C46326A-B22D-4FD3-A19A-1261E4EA2E4D}"/>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304750FD-3697-4D2C-89D0-6EEA9A5DFA48}"/>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42622771-8E70-48B1-8ECD-06D7412A031A}"/>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01482585-0240-4D65-AE36-E114100B08B3}"/>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4E192900-A728-4726-B92C-5752D22B4778}"/>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345C917D-80F6-45B0-BE29-ADDF75DC367B}"/>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8BBC8B2-9AFB-4725-82C3-E992C1836530}"/>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B8A55B61-3D68-4143-85D6-7930807ED098}"/>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685B82F9-78BC-4A82-BA30-FC1CA927E2BC}"/>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0A215E8D-2704-42CF-9B8B-40EDD7043A04}"/>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8" name="Oval 127">
              <a:extLst>
                <a:ext uri="{FF2B5EF4-FFF2-40B4-BE49-F238E27FC236}">
                  <a16:creationId xmlns:a16="http://schemas.microsoft.com/office/drawing/2014/main" id="{C97249B7-212B-4537-8305-17A4D86BD8F2}"/>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4A66DD83-08C7-4E97-A830-67645BFBC529}"/>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0" name="Oval 129">
              <a:extLst>
                <a:ext uri="{FF2B5EF4-FFF2-40B4-BE49-F238E27FC236}">
                  <a16:creationId xmlns:a16="http://schemas.microsoft.com/office/drawing/2014/main" id="{AA6AA37F-6649-4B56-93E2-5052431E3BF1}"/>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AFD3594-8067-4219-A1A5-DDBC5E2ED102}"/>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2" name="Freeform: Shape 131">
              <a:extLst>
                <a:ext uri="{FF2B5EF4-FFF2-40B4-BE49-F238E27FC236}">
                  <a16:creationId xmlns:a16="http://schemas.microsoft.com/office/drawing/2014/main" id="{8BF75F1C-9D68-4E3B-9D14-40F9E4FAAD6B}"/>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2993870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t>Virtual Agent Authentication</a:t>
            </a:r>
          </a:p>
        </p:txBody>
      </p:sp>
      <p:grpSp>
        <p:nvGrpSpPr>
          <p:cNvPr id="3" name="Group 2">
            <a:extLst>
              <a:ext uri="{FF2B5EF4-FFF2-40B4-BE49-F238E27FC236}">
                <a16:creationId xmlns:a16="http://schemas.microsoft.com/office/drawing/2014/main" id="{3C3B1646-C6C3-4B79-BD82-F5D3F1E42197}"/>
              </a:ext>
            </a:extLst>
          </p:cNvPr>
          <p:cNvGrpSpPr/>
          <p:nvPr/>
        </p:nvGrpSpPr>
        <p:grpSpPr>
          <a:xfrm>
            <a:off x="9224441" y="4900563"/>
            <a:ext cx="2967561" cy="1976519"/>
            <a:chOff x="9224440" y="4884660"/>
            <a:chExt cx="2967561" cy="1976519"/>
          </a:xfrm>
        </p:grpSpPr>
        <p:sp>
          <p:nvSpPr>
            <p:cNvPr id="4" name="Freeform: Shape 3">
              <a:extLst>
                <a:ext uri="{FF2B5EF4-FFF2-40B4-BE49-F238E27FC236}">
                  <a16:creationId xmlns:a16="http://schemas.microsoft.com/office/drawing/2014/main" id="{40526634-D0A6-40FF-8076-9FABA868640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22A28822-C6CC-40C1-9384-D273EFE6B0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1959A02-684C-45B7-A6A6-1BAFD063809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ED980B09-AED8-41D4-AA4B-D8CA78A7087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0CE01B0-C7FA-4139-9B1B-1FB550F21CF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95F414-4122-4456-B92C-1B50C72AE44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EF84E7A8-1461-4631-84B6-C2DC4FBD8E8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CE2E55F-005C-4714-B92A-DB73A8F5729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621F5A83-5DA3-4B82-8CB8-97AF9512292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3A44CD91-C51F-4C61-8648-5E688ABAEF1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6D65FA7A-9B4B-4638-B0D0-9F9606ADBC2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7CD26367-5B42-4C44-A415-9FA7569377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2DFCEC1-B3DB-4059-8FA2-16D3DBB2BA1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E987735-2FE1-4496-83EF-AF4C5A56C72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024BB965-205D-49AF-823E-E108A1B49B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7E39F57D-B46F-438B-8377-04884D78B29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7B2F5A0B-6558-423E-9420-4539D49F1CD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CEE8EC1F-322E-4416-972A-2ED3401D65D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10F64BA1-DA68-4017-B1DE-B4A4FEDD225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00C0DC11-8C73-4AF7-831B-0700B7ACD5C5}"/>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794769DE-4359-42E2-8A36-7DF7BEA4F0D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F37EB1D3-3A06-417C-9FD8-DC72A93F87F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313D6BF5-7617-440B-95EB-137A9097929E}"/>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4EF203B-1330-4E61-834A-32A744047C2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74576C79-4D14-4A0E-8068-3F8AFB1DEA5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923E6E72-53E3-4218-B4F4-D52502E9016F}"/>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A8DE0F6-870D-4BF2-9B39-D99180CEBF1E}"/>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01D5788-0F3A-48BB-A44B-82CC2F3C7476}"/>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97B411C3-61F0-44E6-B79F-E5B9D082D4D8}"/>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2AC66DE4-8DF0-4CFC-9EF0-F76A5ABA76C8}"/>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749513-DDEB-4476-863A-415F61BF1D8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3C92A74A-2C02-4CF5-ACF7-E941DF68740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CE1DFDB-797A-4D40-A82E-2FD8E92B2C2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F0E48CE8-CA38-4A81-925E-34B8A308475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A21F53CA-FD62-45DC-BA77-F25B4710D31E}"/>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CE31FC1F-6BF9-430E-8D18-4EAFD86EA544}"/>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CA725D7-C4A8-4136-B275-44C6B0EE27BC}"/>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9874B18-1BA9-487F-AEED-EF4DA68B4606}"/>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FF6CB445-393A-4DAF-8ADC-3BCC7670EFE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5C6FCCA-74E3-4AC3-91B6-19E43DC5D4A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FEB81C75-AFCD-4133-AB7A-490A24C50B0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0A33DE9E-09BE-4AFE-871E-62C714A0818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11EB4206-958D-4804-B103-8DFF07A62E2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6AD4913-3264-4E7F-9773-6FA84FFD4A1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C171FC5-3581-4AC8-AF4C-5AA4775EC35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F98E4F1B-F56C-4B2C-8C3A-73F8B425FEE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9E57C08-9949-458D-A012-AA004CC1461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F8FC5192-04F1-4D8D-BF2A-BBD904F156C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1D11B7E-E3FF-4C90-B984-D12607E6FF1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55252569-1C1C-4CF2-8694-BA11F4C6C5B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A79A23D4-41F2-4C53-B52C-0A0BF29D003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2220D9A9-647C-4D89-92CF-F8D4E9E70BC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A0DAD4E3-AC2E-4C6B-9D79-F175C6EC421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A10C68FC-8EE4-4669-B227-FB3A468315D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0268975-5E3F-4734-8ECC-05EDE3F08F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7575F19D-03A8-4955-A83B-B385904CBA4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ADC43207-8D2F-4271-B6BB-71A0881D0FD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E4C61CB2-F20B-47EA-B247-EDEA237387B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6DF6F2B-C0A1-443F-B744-D752E762B12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0FD98CBC-05C7-403C-8AC7-C39D0C3CECC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4B93F38-284A-4FFF-A267-193BE68B9ED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A3C2D9B-F101-4FE6-B7EC-FDD12D1D8AA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4415CA16-D681-4D20-8786-29307020920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03871943-6666-4FB7-AB9B-5BB6A5D0951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F5B85551-69AA-4E8C-BD0F-7F38D4F9792B}"/>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8433914-303D-47CA-A77A-A97DD80CB46D}"/>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12DFD90C-96D5-4225-BC2B-6D43D49F3E74}"/>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86817BF0-749A-4D4C-B815-CFD06A7D0ED6}"/>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5C914D82-2D49-4C9E-A803-F29A1C3858C2}"/>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B89F1577-ECEA-41F9-BAA6-204A0BBE7DE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E562CD-DC72-4D10-98DC-0233F7476B9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A67B965-EE93-4031-B3AF-5D525BCD5791}"/>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672683C6-AB1B-4BC3-80E4-6FCF7C647921}"/>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FCA9555-C101-48C6-83C0-6CE0DB830F24}"/>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26F3DB3E-D278-4744-8373-DE1456840069}"/>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0D8A2B4-D7B0-429B-AD4A-DAB4228F49C9}"/>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57F1EF22-380A-41D1-AF6C-9D458A73CA08}"/>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2E8F655-44A0-4195-89A0-9751E642BF8F}"/>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76D83ECC-9072-4C4A-B9EF-C41F4ACDFB7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345C65F6-00AE-4016-A0E4-9222F4DACCB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E222C7A2-D32D-47C5-B060-B00D01FFA649}"/>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A5FD75F-4B8F-476B-AD94-CF9AACAD32E9}"/>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BBFDB2-6F80-45FD-AB1E-9C14CF694AFC}"/>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52EE8A81-4809-402F-B252-122D2DAC3DD8}"/>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273FDAA2-8667-4451-ADB6-BB436E872B52}"/>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628F0EF2-29CB-4835-93EC-B64C7779897A}"/>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6FA0EE9F-530D-42AC-843E-C7449A98C63F}"/>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C022C676-EE9B-4864-8A0F-1249DA59B2FF}"/>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FF9D69EE-B5ED-4758-BDC7-FFBFCAC812DD}"/>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5A1B1B5D-30EA-4A0D-8B30-9802E46DBD4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CC67E63B-56D9-478A-AAE6-9E7A4116551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26CAF47-A028-4B8A-9C11-74087E2937A6}"/>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CD1A7075-E988-4DCA-AF46-DE4EB0C26937}"/>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2B92AA4-F499-4548-AD94-164EB36B111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EE146205-3E89-42C0-8E83-57243281823B}"/>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0E0F46A8-954F-40F2-994D-3B2B5F115793}"/>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A3F33A11-79F8-4556-A18C-07978558CEAD}"/>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BD60833F-458F-4F43-A6CE-ADACCBD97FF2}"/>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21DA6F45-311A-4810-BA9E-B4CA166A29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46EE86-3602-4B19-8765-4A5915C69F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DFDBC5F-A60F-4A0D-92DA-6D5810BA50DC}"/>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ADA45D38-112B-43DE-8119-D91C2702AA32}"/>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24AE291-CDF7-44CF-B6DF-699CBF9BF479}"/>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301AEDFB-53EB-46A7-AC72-5E40773CD0EA}"/>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55728B57-D105-40CE-A4C4-254FAC9D8267}"/>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8B47741F-6A3D-4FD6-9D5D-EA24471F130D}"/>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751190A5-AF44-4C2C-81D7-6AB105B20B19}"/>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A1352936-2E9B-4435-979B-246E5FFCEB0E}"/>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8AE5414-F5E9-4E45-96B7-08E70E38C139}"/>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841088B9-7F3A-4995-9CA0-C37EFB1A34A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4E3EB7C-4F59-4740-AE40-94B677A217C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85C64DE3-2469-4C5D-B371-FAB263B3B1CA}"/>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038290F8-5644-41D2-947B-31213DB59A96}"/>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E4B8D30A-E462-43FC-81C0-AC1103A6F251}"/>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8607605A-6B50-46ED-A462-A741FACB28F1}"/>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C2399EF8-2DF8-4982-8C9C-B96123541C45}"/>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B12B7DF2-D49C-4F50-9D0F-2C1197BD341D}"/>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FDDC2D77-D933-4FFF-83DA-9AD3F2896CF5}"/>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BECBD369-240A-458B-BA1A-C45F05703BA7}"/>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6237AF99-4EAA-423B-8A31-2772703DDD75}"/>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305F8BF5-56BF-4353-BCF2-CE19CAF3CC3B}"/>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92E0DE2-A0FD-4C4C-8B93-0FA9B90A3C71}"/>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B15D08E1-9D40-4D5B-A642-63D2CA7D569B}"/>
              </a:ext>
            </a:extLst>
          </p:cNvPr>
          <p:cNvGrpSpPr/>
          <p:nvPr/>
        </p:nvGrpSpPr>
        <p:grpSpPr>
          <a:xfrm>
            <a:off x="10357803" y="11831"/>
            <a:ext cx="1834198" cy="1586279"/>
            <a:chOff x="10357802" y="-4071"/>
            <a:chExt cx="1834198" cy="1586279"/>
          </a:xfrm>
        </p:grpSpPr>
        <p:grpSp>
          <p:nvGrpSpPr>
            <p:cNvPr id="128" name="Group 127">
              <a:extLst>
                <a:ext uri="{FF2B5EF4-FFF2-40B4-BE49-F238E27FC236}">
                  <a16:creationId xmlns:a16="http://schemas.microsoft.com/office/drawing/2014/main" id="{4B2C851D-C330-427F-A4CC-22EC76AC0B09}"/>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AD177D9A-6CDF-4736-9DC4-865C7E83AFB2}"/>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9AFB347-7EDE-4481-A1A1-A046A5747B5B}"/>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14D76E2-8BA5-4F74-A3AF-5C29539F6395}"/>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9C570F89-A36A-4CD4-A58A-702A69529A57}"/>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603C5E5-CBDA-4AC5-92EB-450E38156799}"/>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5781789B-C837-4E73-96D7-BA752A4DD1C8}"/>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611A13FF-736E-4980-9362-052B56D5D48E}"/>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9E380A51-5B99-403A-B4DD-41CD954AF458}"/>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C9D861C-AC18-48F1-BC7D-D3875A6DEADB}"/>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9C6405D-5C9B-4267-932F-4D6DAF4DBCF4}"/>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EFADDA7F-972D-4901-87C2-7BD1B7887B32}"/>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01F6AEB5-B36F-4931-8FF3-382EDBD791ED}"/>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0D420AA6-738F-457E-883C-A2F0BB381A7C}"/>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74ABA3BE-0015-4AB8-87E4-78F968E447D3}"/>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1688949-10F1-473A-B13D-74854DEF8779}"/>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F6F61FF-FDC1-4990-B778-D593F4D1F0D0}"/>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D1B87FF9-6589-4B6E-9D88-5EFF640E8BA5}"/>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E34C9266-91F5-44EA-BBB4-8EEA9188983B}"/>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CFC24A88-ABD4-4E0D-8503-9091CE071626}"/>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A2D63D1E-0B70-4873-B197-D7A35D19C2C6}"/>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C26B4460-F74B-459B-A067-8216666E6088}"/>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6655C790-43E5-4DF8-955B-32C7742202D8}"/>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B21E22F3-6D6C-42DE-8EB0-854793C6163F}"/>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7042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567559990"/>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4</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Improve your virtual agent using entities, variables and topic redirects</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kern="1200">
                          <a:solidFill>
                            <a:schemeClr val="tx1"/>
                          </a:solidFill>
                          <a:latin typeface="+mn-lt"/>
                          <a:ea typeface="+mn-ea"/>
                          <a:cs typeface="+mn-cs"/>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tegrate with prebuilt Power Automate flows</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a:solidFill>
                            <a:schemeClr val="bg1"/>
                          </a:solidFill>
                        </a:rPr>
                        <a:t>6</a:t>
                      </a: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rPr>
                        <a:t>Authentication – no lab </a:t>
                      </a:r>
                    </a:p>
                  </a:txBody>
                  <a:tcPr marL="18180" marR="10908" marT="10908" marB="10908" anchor="ctr">
                    <a:solidFill>
                      <a:srgbClr val="0B556A"/>
                    </a:solidFill>
                  </a:tcPr>
                </a:tc>
                <a:tc>
                  <a:txBody>
                    <a:bodyPr/>
                    <a:lstStyle/>
                    <a:p>
                      <a:r>
                        <a:rPr lang="en-US" sz="1100" b="1">
                          <a:solidFill>
                            <a:schemeClr val="bg1"/>
                          </a:solidFill>
                        </a:rPr>
                        <a:t>20 minutes</a:t>
                      </a:r>
                    </a:p>
                  </a:txBody>
                  <a:tcPr marL="18180" marR="10908" marT="10908" marB="10908" anchor="ctr">
                    <a:solidFill>
                      <a:srgbClr val="0B556A"/>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solidFill>
                      <a:srgbClr val="FBFBFB"/>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11444234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C9DADCAC-1FAD-410A-9039-CB208CF014D3}"/>
              </a:ext>
            </a:extLst>
          </p:cNvPr>
          <p:cNvSpPr>
            <a:spLocks noGrp="1"/>
          </p:cNvSpPr>
          <p:nvPr>
            <p:ph type="title"/>
          </p:nvPr>
        </p:nvSpPr>
        <p:spPr/>
        <p:txBody>
          <a:bodyPr/>
          <a:lstStyle/>
          <a:p>
            <a:r>
              <a:rPr lang="en-US"/>
              <a:t>Easily add end-user authentication to your virtual agent</a:t>
            </a:r>
          </a:p>
        </p:txBody>
      </p:sp>
      <p:sp>
        <p:nvSpPr>
          <p:cNvPr id="7" name="Freeform: Shape 6">
            <a:extLst>
              <a:ext uri="{FF2B5EF4-FFF2-40B4-BE49-F238E27FC236}">
                <a16:creationId xmlns:a16="http://schemas.microsoft.com/office/drawing/2014/main" id="{807C4A6E-C001-4FA2-9296-F471A1ACE408}"/>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7A7C0911-9DCF-414C-93F9-66CE0DF1C97A}"/>
              </a:ext>
            </a:extLst>
          </p:cNvPr>
          <p:cNvGrpSpPr/>
          <p:nvPr/>
        </p:nvGrpSpPr>
        <p:grpSpPr>
          <a:xfrm>
            <a:off x="524091" y="2414540"/>
            <a:ext cx="6543010" cy="3754902"/>
            <a:chOff x="524091" y="2414540"/>
            <a:chExt cx="6543010" cy="3754902"/>
          </a:xfrm>
        </p:grpSpPr>
        <p:sp>
          <p:nvSpPr>
            <p:cNvPr id="8" name="Text Placeholder 1">
              <a:extLst>
                <a:ext uri="{FF2B5EF4-FFF2-40B4-BE49-F238E27FC236}">
                  <a16:creationId xmlns:a16="http://schemas.microsoft.com/office/drawing/2014/main" id="{51FDD8BC-5474-4A9D-92D7-F57A1D4129F1}"/>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Call an action</a:t>
              </a:r>
            </a:p>
          </p:txBody>
        </p:sp>
        <p:cxnSp>
          <p:nvCxnSpPr>
            <p:cNvPr id="9" name="Straight Connector 8">
              <a:extLst>
                <a:ext uri="{FF2B5EF4-FFF2-40B4-BE49-F238E27FC236}">
                  <a16:creationId xmlns:a16="http://schemas.microsoft.com/office/drawing/2014/main" id="{E8B033F6-2D0E-4280-AF0C-3712CE4AD8F5}"/>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D656CE8C-95D0-4018-8055-B1BE712F0362}"/>
                </a:ext>
              </a:extLst>
            </p:cNvPr>
            <p:cNvSpPr txBox="1">
              <a:spLocks/>
            </p:cNvSpPr>
            <p:nvPr/>
          </p:nvSpPr>
          <p:spPr>
            <a:xfrm>
              <a:off x="1375928" y="2499579"/>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Add right from dialogue tree</a:t>
              </a:r>
            </a:p>
          </p:txBody>
        </p:sp>
        <p:sp>
          <p:nvSpPr>
            <p:cNvPr id="12" name="Text Placeholder 1">
              <a:extLst>
                <a:ext uri="{FF2B5EF4-FFF2-40B4-BE49-F238E27FC236}">
                  <a16:creationId xmlns:a16="http://schemas.microsoft.com/office/drawing/2014/main" id="{B9666932-432D-41C6-A947-C91279FC975F}"/>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Choose Authenticate</a:t>
              </a:r>
            </a:p>
          </p:txBody>
        </p:sp>
        <p:cxnSp>
          <p:nvCxnSpPr>
            <p:cNvPr id="13" name="Straight Connector 12">
              <a:extLst>
                <a:ext uri="{FF2B5EF4-FFF2-40B4-BE49-F238E27FC236}">
                  <a16:creationId xmlns:a16="http://schemas.microsoft.com/office/drawing/2014/main" id="{D5820AB6-A548-4E5C-9DDD-DA4992FCE016}"/>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Commitments_EC4D" title="Icon of a handshake">
              <a:extLst>
                <a:ext uri="{FF2B5EF4-FFF2-40B4-BE49-F238E27FC236}">
                  <a16:creationId xmlns:a16="http://schemas.microsoft.com/office/drawing/2014/main" id="{7E76D20A-6121-4BE2-B5B8-595E1D21A809}"/>
                </a:ext>
              </a:extLst>
            </p:cNvPr>
            <p:cNvSpPr>
              <a:spLocks noChangeAspect="1" noEditPoints="1"/>
            </p:cNvSpPr>
            <p:nvPr/>
          </p:nvSpPr>
          <p:spPr bwMode="auto">
            <a:xfrm>
              <a:off x="524091" y="2414540"/>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9" name="Commitments_EC4D" title="Icon of a handshake">
              <a:extLst>
                <a:ext uri="{FF2B5EF4-FFF2-40B4-BE49-F238E27FC236}">
                  <a16:creationId xmlns:a16="http://schemas.microsoft.com/office/drawing/2014/main" id="{92475220-B614-43A9-952D-C24B291C025C}"/>
                </a:ext>
              </a:extLst>
            </p:cNvPr>
            <p:cNvSpPr>
              <a:spLocks noChangeAspect="1" noEditPoints="1"/>
            </p:cNvSpPr>
            <p:nvPr/>
          </p:nvSpPr>
          <p:spPr bwMode="auto">
            <a:xfrm>
              <a:off x="524091" y="4022286"/>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0" name="Commitments_EC4D" title="Icon of a handshake">
              <a:extLst>
                <a:ext uri="{FF2B5EF4-FFF2-40B4-BE49-F238E27FC236}">
                  <a16:creationId xmlns:a16="http://schemas.microsoft.com/office/drawing/2014/main" id="{EF0DB5CF-E35A-42B2-A276-E4493C3A3171}"/>
                </a:ext>
              </a:extLst>
            </p:cNvPr>
            <p:cNvSpPr>
              <a:spLocks noChangeAspect="1" noEditPoints="1"/>
            </p:cNvSpPr>
            <p:nvPr/>
          </p:nvSpPr>
          <p:spPr bwMode="auto">
            <a:xfrm>
              <a:off x="524091" y="5630032"/>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0C7152DD-D70E-4F60-8F6C-D8618ACBCA83}"/>
              </a:ext>
            </a:extLst>
          </p:cNvPr>
          <p:cNvGrpSpPr/>
          <p:nvPr/>
        </p:nvGrpSpPr>
        <p:grpSpPr>
          <a:xfrm>
            <a:off x="6345757" y="2205361"/>
            <a:ext cx="5757343" cy="3526776"/>
            <a:chOff x="6193357" y="2205361"/>
            <a:chExt cx="6345836" cy="3887269"/>
          </a:xfrm>
        </p:grpSpPr>
        <p:sp>
          <p:nvSpPr>
            <p:cNvPr id="10" name="Freeform: Shape 9">
              <a:extLst>
                <a:ext uri="{FF2B5EF4-FFF2-40B4-BE49-F238E27FC236}">
                  <a16:creationId xmlns:a16="http://schemas.microsoft.com/office/drawing/2014/main" id="{20D5A8EA-6260-4E9F-8178-F23C0F950D77}"/>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8" name="Picture 17" descr="A screenshot of a cell phone&#10;&#10;Description automatically generated">
              <a:extLst>
                <a:ext uri="{FF2B5EF4-FFF2-40B4-BE49-F238E27FC236}">
                  <a16:creationId xmlns:a16="http://schemas.microsoft.com/office/drawing/2014/main" id="{B8CBCDCC-27BA-4DC1-B0FF-EC8FDB5DD76E}"/>
                </a:ext>
              </a:extLst>
            </p:cNvPr>
            <p:cNvPicPr>
              <a:picLocks noChangeAspect="1"/>
            </p:cNvPicPr>
            <p:nvPr/>
          </p:nvPicPr>
          <p:blipFill rotWithShape="1">
            <a:blip r:embed="rId3"/>
            <a:srcRect l="-1" t="2902" r="-2054" b="1489"/>
            <a:stretch/>
          </p:blipFill>
          <p:spPr>
            <a:xfrm>
              <a:off x="6371200" y="2382524"/>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a:solidFill>
              <a:srgbClr val="F8F8F8"/>
            </a:solidFill>
          </p:spPr>
        </p:pic>
      </p:grpSp>
    </p:spTree>
    <p:extLst>
      <p:ext uri="{BB962C8B-B14F-4D97-AF65-F5344CB8AC3E}">
        <p14:creationId xmlns:p14="http://schemas.microsoft.com/office/powerpoint/2010/main" val="3134155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path" presetSubtype="0" decel="100000" fill="hold" nodeType="withEffect">
                                  <p:stCondLst>
                                    <p:cond delay="0"/>
                                  </p:stCondLst>
                                  <p:childTnLst>
                                    <p:animMotion origin="layout" path="M 3.125E-6 2.96296E-6 L -0.03451 -0.00093 " pathEditMode="relative" rAng="0" ptsTypes="AA">
                                      <p:cBhvr>
                                        <p:cTn id="17"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
            <a:extLst>
              <a:ext uri="{FF2B5EF4-FFF2-40B4-BE49-F238E27FC236}">
                <a16:creationId xmlns:a16="http://schemas.microsoft.com/office/drawing/2014/main" id="{8DD877D0-D299-4A90-B032-87D3951CACAE}"/>
              </a:ext>
            </a:extLst>
          </p:cNvPr>
          <p:cNvSpPr>
            <a:spLocks noGrp="1"/>
          </p:cNvSpPr>
          <p:nvPr>
            <p:ph type="title"/>
          </p:nvPr>
        </p:nvSpPr>
        <p:spPr/>
        <p:txBody>
          <a:bodyPr/>
          <a:lstStyle/>
          <a:p>
            <a:r>
              <a:rPr lang="en-US"/>
              <a:t>Configure end-user authentication</a:t>
            </a:r>
          </a:p>
        </p:txBody>
      </p:sp>
      <p:sp>
        <p:nvSpPr>
          <p:cNvPr id="8" name="Freeform: Shape 7">
            <a:extLst>
              <a:ext uri="{FF2B5EF4-FFF2-40B4-BE49-F238E27FC236}">
                <a16:creationId xmlns:a16="http://schemas.microsoft.com/office/drawing/2014/main" id="{3BF83CED-4FEB-4430-9C2B-760E5C6618F0}"/>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E119BFEC-7B03-4639-9B46-CC3BDE014CEF}"/>
              </a:ext>
            </a:extLst>
          </p:cNvPr>
          <p:cNvGrpSpPr/>
          <p:nvPr/>
        </p:nvGrpSpPr>
        <p:grpSpPr>
          <a:xfrm>
            <a:off x="503338" y="2314913"/>
            <a:ext cx="6563763" cy="3835443"/>
            <a:chOff x="503338" y="2314913"/>
            <a:chExt cx="6563763" cy="3835443"/>
          </a:xfrm>
        </p:grpSpPr>
        <p:sp>
          <p:nvSpPr>
            <p:cNvPr id="9" name="Text Placeholder 1">
              <a:extLst>
                <a:ext uri="{FF2B5EF4-FFF2-40B4-BE49-F238E27FC236}">
                  <a16:creationId xmlns:a16="http://schemas.microsoft.com/office/drawing/2014/main" id="{E2319907-A048-4993-90D5-9299B9E7D114}"/>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Leverage Azure Active Directory</a:t>
              </a:r>
            </a:p>
          </p:txBody>
        </p:sp>
        <p:cxnSp>
          <p:nvCxnSpPr>
            <p:cNvPr id="10" name="Straight Connector 9">
              <a:extLst>
                <a:ext uri="{FF2B5EF4-FFF2-40B4-BE49-F238E27FC236}">
                  <a16:creationId xmlns:a16="http://schemas.microsoft.com/office/drawing/2014/main" id="{313DE0A7-AFED-431F-B94C-F9149FA4F0AD}"/>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1">
              <a:extLst>
                <a:ext uri="{FF2B5EF4-FFF2-40B4-BE49-F238E27FC236}">
                  <a16:creationId xmlns:a16="http://schemas.microsoft.com/office/drawing/2014/main" id="{F1CB7CCC-43D6-4FEA-ACC7-C498EBD29ED4}"/>
                </a:ext>
              </a:extLst>
            </p:cNvPr>
            <p:cNvSpPr txBox="1">
              <a:spLocks/>
            </p:cNvSpPr>
            <p:nvPr/>
          </p:nvSpPr>
          <p:spPr>
            <a:xfrm>
              <a:off x="1375928" y="2314913"/>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Add configuration capabilities</a:t>
              </a:r>
              <a:br>
                <a:rPr lang="en-US" spc="0">
                  <a:solidFill>
                    <a:schemeClr val="bg1"/>
                  </a:solidFill>
                </a:rPr>
              </a:br>
              <a:r>
                <a:rPr lang="en-US" spc="0">
                  <a:solidFill>
                    <a:schemeClr val="bg1"/>
                  </a:solidFill>
                </a:rPr>
                <a:t>to your virtual agent</a:t>
              </a:r>
            </a:p>
          </p:txBody>
        </p:sp>
        <p:sp>
          <p:nvSpPr>
            <p:cNvPr id="13" name="Text Placeholder 1">
              <a:extLst>
                <a:ext uri="{FF2B5EF4-FFF2-40B4-BE49-F238E27FC236}">
                  <a16:creationId xmlns:a16="http://schemas.microsoft.com/office/drawing/2014/main" id="{5FFA8F13-FA65-4EAB-A69B-592638EA4C9A}"/>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Adheres to </a:t>
              </a:r>
              <a:r>
                <a:rPr lang="en-US" spc="0">
                  <a:solidFill>
                    <a:schemeClr val="bg1"/>
                  </a:solidFill>
                  <a:hlinkClick r:id="rId3">
                    <a:extLst>
                      <a:ext uri="{A12FA001-AC4F-418D-AE19-62706E023703}">
                        <ahyp:hlinkClr xmlns:ahyp="http://schemas.microsoft.com/office/drawing/2018/hyperlinkcolor" val="tx"/>
                      </a:ext>
                    </a:extLst>
                  </a:hlinkClick>
                </a:rPr>
                <a:t>OAuth2 standard</a:t>
              </a:r>
              <a:endParaRPr lang="en-US" spc="0">
                <a:solidFill>
                  <a:schemeClr val="bg1"/>
                </a:solidFill>
              </a:endParaRPr>
            </a:p>
          </p:txBody>
        </p:sp>
        <p:cxnSp>
          <p:nvCxnSpPr>
            <p:cNvPr id="14" name="Straight Connector 13">
              <a:extLst>
                <a:ext uri="{FF2B5EF4-FFF2-40B4-BE49-F238E27FC236}">
                  <a16:creationId xmlns:a16="http://schemas.microsoft.com/office/drawing/2014/main" id="{0D171009-69B2-46DB-B4CB-AEE4E0E7C1FC}"/>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arrow_6" title="Icon of two arrows pointing in opposite direction of each other">
              <a:extLst>
                <a:ext uri="{FF2B5EF4-FFF2-40B4-BE49-F238E27FC236}">
                  <a16:creationId xmlns:a16="http://schemas.microsoft.com/office/drawing/2014/main" id="{8271D4DA-5082-48B1-A6C4-F20EB13CB266}"/>
                </a:ext>
              </a:extLst>
            </p:cNvPr>
            <p:cNvSpPr>
              <a:spLocks noChangeAspect="1" noEditPoints="1"/>
            </p:cNvSpPr>
            <p:nvPr/>
          </p:nvSpPr>
          <p:spPr bwMode="auto">
            <a:xfrm>
              <a:off x="544911" y="5649118"/>
              <a:ext cx="533658" cy="50123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Archive_F03F" title="Icon of an archival box">
              <a:extLst>
                <a:ext uri="{FF2B5EF4-FFF2-40B4-BE49-F238E27FC236}">
                  <a16:creationId xmlns:a16="http://schemas.microsoft.com/office/drawing/2014/main" id="{1AA8CE8A-6D6A-4C95-9044-E9138FE304E2}"/>
                </a:ext>
              </a:extLst>
            </p:cNvPr>
            <p:cNvSpPr>
              <a:spLocks noChangeAspect="1" noEditPoints="1"/>
            </p:cNvSpPr>
            <p:nvPr/>
          </p:nvSpPr>
          <p:spPr bwMode="auto">
            <a:xfrm>
              <a:off x="510283" y="4053433"/>
              <a:ext cx="550188" cy="477116"/>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Shape 29">
              <a:extLst>
                <a:ext uri="{FF2B5EF4-FFF2-40B4-BE49-F238E27FC236}">
                  <a16:creationId xmlns:a16="http://schemas.microsoft.com/office/drawing/2014/main" id="{76FA888E-6AD2-470C-899F-44D04CDF601C}"/>
                </a:ext>
              </a:extLst>
            </p:cNvPr>
            <p:cNvSpPr/>
            <p:nvPr/>
          </p:nvSpPr>
          <p:spPr>
            <a:xfrm>
              <a:off x="503338" y="2375845"/>
              <a:ext cx="616802" cy="616800"/>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BBA88EB5-7B3A-4EB8-87B8-02BFC6415A22}"/>
              </a:ext>
            </a:extLst>
          </p:cNvPr>
          <p:cNvGrpSpPr/>
          <p:nvPr/>
        </p:nvGrpSpPr>
        <p:grpSpPr>
          <a:xfrm>
            <a:off x="6345757" y="2205361"/>
            <a:ext cx="5757343" cy="3526776"/>
            <a:chOff x="6193357" y="2205361"/>
            <a:chExt cx="6345836" cy="3887269"/>
          </a:xfrm>
        </p:grpSpPr>
        <p:sp>
          <p:nvSpPr>
            <p:cNvPr id="11" name="Freeform: Shape 10">
              <a:extLst>
                <a:ext uri="{FF2B5EF4-FFF2-40B4-BE49-F238E27FC236}">
                  <a16:creationId xmlns:a16="http://schemas.microsoft.com/office/drawing/2014/main" id="{8AED0F5F-7FDB-4197-B659-CD6F2E1A1DC2}"/>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7" name="Picture 26">
              <a:extLst>
                <a:ext uri="{FF2B5EF4-FFF2-40B4-BE49-F238E27FC236}">
                  <a16:creationId xmlns:a16="http://schemas.microsoft.com/office/drawing/2014/main" id="{3B91E512-BD97-4FB5-B23D-AA36CA1C31C3}"/>
                </a:ext>
              </a:extLst>
            </p:cNvPr>
            <p:cNvPicPr>
              <a:picLocks noChangeAspect="1"/>
            </p:cNvPicPr>
            <p:nvPr/>
          </p:nvPicPr>
          <p:blipFill rotWithShape="1">
            <a:blip r:embed="rId4"/>
            <a:srcRect l="1" r="19952" b="28908"/>
            <a:stretch/>
          </p:blipFill>
          <p:spPr>
            <a:xfrm>
              <a:off x="6371200" y="2382525"/>
              <a:ext cx="5940334" cy="3517219"/>
            </a:xfrm>
            <a:custGeom>
              <a:avLst/>
              <a:gdLst>
                <a:gd name="connsiteX0" fmla="*/ 0 w 5940334"/>
                <a:gd name="connsiteY0" fmla="*/ 0 h 3517219"/>
                <a:gd name="connsiteX1" fmla="*/ 5940334 w 5940334"/>
                <a:gd name="connsiteY1" fmla="*/ 0 h 3517219"/>
                <a:gd name="connsiteX2" fmla="*/ 5940334 w 5940334"/>
                <a:gd name="connsiteY2" fmla="*/ 3517219 h 3517219"/>
                <a:gd name="connsiteX3" fmla="*/ 0 w 5940334"/>
                <a:gd name="connsiteY3" fmla="*/ 3517219 h 3517219"/>
              </a:gdLst>
              <a:ahLst/>
              <a:cxnLst>
                <a:cxn ang="0">
                  <a:pos x="connsiteX0" y="connsiteY0"/>
                </a:cxn>
                <a:cxn ang="0">
                  <a:pos x="connsiteX1" y="connsiteY1"/>
                </a:cxn>
                <a:cxn ang="0">
                  <a:pos x="connsiteX2" y="connsiteY2"/>
                </a:cxn>
                <a:cxn ang="0">
                  <a:pos x="connsiteX3" y="connsiteY3"/>
                </a:cxn>
              </a:cxnLst>
              <a:rect l="l" t="t" r="r" b="b"/>
              <a:pathLst>
                <a:path w="5940334" h="3517219">
                  <a:moveTo>
                    <a:pt x="0" y="0"/>
                  </a:moveTo>
                  <a:lnTo>
                    <a:pt x="5940334" y="0"/>
                  </a:lnTo>
                  <a:lnTo>
                    <a:pt x="5940334" y="3517219"/>
                  </a:lnTo>
                  <a:lnTo>
                    <a:pt x="0" y="3517219"/>
                  </a:lnTo>
                  <a:close/>
                </a:path>
              </a:pathLst>
            </a:custGeom>
          </p:spPr>
        </p:pic>
      </p:grpSp>
    </p:spTree>
    <p:extLst>
      <p:ext uri="{BB962C8B-B14F-4D97-AF65-F5344CB8AC3E}">
        <p14:creationId xmlns:p14="http://schemas.microsoft.com/office/powerpoint/2010/main" val="3404446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3.75E-6 1.85185E-6 L -0.0345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CAEAF973-502F-4C08-8BCE-4F83B3871EF4}"/>
              </a:ext>
            </a:extLst>
          </p:cNvPr>
          <p:cNvGrpSpPr/>
          <p:nvPr/>
        </p:nvGrpSpPr>
        <p:grpSpPr>
          <a:xfrm>
            <a:off x="2562225" y="4502409"/>
            <a:ext cx="7067550" cy="334370"/>
            <a:chOff x="3429816" y="4681550"/>
            <a:chExt cx="5443255" cy="334370"/>
          </a:xfrm>
        </p:grpSpPr>
        <p:sp>
          <p:nvSpPr>
            <p:cNvPr id="53" name="Rectangle 42">
              <a:extLst>
                <a:ext uri="{FF2B5EF4-FFF2-40B4-BE49-F238E27FC236}">
                  <a16:creationId xmlns:a16="http://schemas.microsoft.com/office/drawing/2014/main" id="{6B94CA6C-6B74-4548-B848-C9E69F68FBB6}"/>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D453D2C6-BC9D-4DC5-BE05-955781525424}"/>
                </a:ext>
              </a:extLst>
            </p:cNvPr>
            <p:cNvCxnSpPr>
              <a:cxnSpLocks/>
            </p:cNvCxnSpPr>
            <p:nvPr/>
          </p:nvCxnSpPr>
          <p:spPr>
            <a:xfrm>
              <a:off x="5199808" y="4686072"/>
              <a:ext cx="0" cy="329848"/>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E0E5928-A3C0-40CD-AF8E-74C5583A757B}"/>
                </a:ext>
              </a:extLst>
            </p:cNvPr>
            <p:cNvCxnSpPr>
              <a:cxnSpLocks/>
            </p:cNvCxnSpPr>
            <p:nvPr/>
          </p:nvCxnSpPr>
          <p:spPr>
            <a:xfrm>
              <a:off x="7065580" y="4681550"/>
              <a:ext cx="0" cy="329847"/>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2ADFECC4-B95E-4DB1-96B3-C6B5BC155F0B}"/>
              </a:ext>
            </a:extLst>
          </p:cNvPr>
          <p:cNvGrpSpPr/>
          <p:nvPr/>
        </p:nvGrpSpPr>
        <p:grpSpPr>
          <a:xfrm>
            <a:off x="8948993" y="5028535"/>
            <a:ext cx="1371600" cy="1240503"/>
            <a:chOff x="8948993" y="5028535"/>
            <a:chExt cx="1371600" cy="1240503"/>
          </a:xfrm>
        </p:grpSpPr>
        <p:sp>
          <p:nvSpPr>
            <p:cNvPr id="54" name="Rectangle 53">
              <a:extLst>
                <a:ext uri="{FF2B5EF4-FFF2-40B4-BE49-F238E27FC236}">
                  <a16:creationId xmlns:a16="http://schemas.microsoft.com/office/drawing/2014/main" id="{D279005D-B6A4-4CD8-AB41-8E095C6196CA}"/>
                </a:ext>
              </a:extLst>
            </p:cNvPr>
            <p:cNvSpPr/>
            <p:nvPr/>
          </p:nvSpPr>
          <p:spPr bwMode="auto">
            <a:xfrm>
              <a:off x="8948993"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Common</a:t>
              </a:r>
              <a:b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b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Data Service</a:t>
              </a:r>
            </a:p>
          </p:txBody>
        </p:sp>
        <p:pic>
          <p:nvPicPr>
            <p:cNvPr id="56" name="Graphic 55">
              <a:extLst>
                <a:ext uri="{FF2B5EF4-FFF2-40B4-BE49-F238E27FC236}">
                  <a16:creationId xmlns:a16="http://schemas.microsoft.com/office/drawing/2014/main" id="{1AC12484-9024-4D86-8092-437B883072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71207" y="5028535"/>
              <a:ext cx="527174" cy="527172"/>
            </a:xfrm>
            <a:prstGeom prst="rect">
              <a:avLst/>
            </a:prstGeom>
          </p:spPr>
        </p:pic>
      </p:grpSp>
      <p:grpSp>
        <p:nvGrpSpPr>
          <p:cNvPr id="44" name="Group 43">
            <a:extLst>
              <a:ext uri="{FF2B5EF4-FFF2-40B4-BE49-F238E27FC236}">
                <a16:creationId xmlns:a16="http://schemas.microsoft.com/office/drawing/2014/main" id="{5531323A-97C0-49FA-A641-800104E9DEEE}"/>
              </a:ext>
            </a:extLst>
          </p:cNvPr>
          <p:cNvGrpSpPr/>
          <p:nvPr/>
        </p:nvGrpSpPr>
        <p:grpSpPr>
          <a:xfrm>
            <a:off x="1879028" y="4899286"/>
            <a:ext cx="1371600" cy="1369752"/>
            <a:chOff x="1879028" y="4899286"/>
            <a:chExt cx="1371600" cy="1369752"/>
          </a:xfrm>
        </p:grpSpPr>
        <p:sp>
          <p:nvSpPr>
            <p:cNvPr id="55" name="Rectangle 54">
              <a:extLst>
                <a:ext uri="{FF2B5EF4-FFF2-40B4-BE49-F238E27FC236}">
                  <a16:creationId xmlns:a16="http://schemas.microsoft.com/office/drawing/2014/main" id="{09CFBE09-0693-4145-AC12-649C994C526C}"/>
                </a:ext>
              </a:extLst>
            </p:cNvPr>
            <p:cNvSpPr/>
            <p:nvPr/>
          </p:nvSpPr>
          <p:spPr bwMode="auto">
            <a:xfrm>
              <a:off x="187902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Data</a:t>
              </a:r>
              <a:b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b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connectors</a:t>
              </a:r>
            </a:p>
          </p:txBody>
        </p:sp>
        <p:sp>
          <p:nvSpPr>
            <p:cNvPr id="58" name="plug" title="Icon of a power plug showing an A to B connection">
              <a:extLst>
                <a:ext uri="{FF2B5EF4-FFF2-40B4-BE49-F238E27FC236}">
                  <a16:creationId xmlns:a16="http://schemas.microsoft.com/office/drawing/2014/main" id="{8D7BA314-4BB1-4B46-894E-91BF0E6CE7B7}"/>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B9C63596-5DA6-493E-BC7C-28DCC53DEFAB}"/>
              </a:ext>
            </a:extLst>
          </p:cNvPr>
          <p:cNvGrpSpPr/>
          <p:nvPr/>
        </p:nvGrpSpPr>
        <p:grpSpPr>
          <a:xfrm>
            <a:off x="6599958" y="4938346"/>
            <a:ext cx="1371600" cy="1330692"/>
            <a:chOff x="6599958" y="4938346"/>
            <a:chExt cx="1371600" cy="1330692"/>
          </a:xfrm>
        </p:grpSpPr>
        <p:pic>
          <p:nvPicPr>
            <p:cNvPr id="59" name="Graphic 58">
              <a:extLst>
                <a:ext uri="{FF2B5EF4-FFF2-40B4-BE49-F238E27FC236}">
                  <a16:creationId xmlns:a16="http://schemas.microsoft.com/office/drawing/2014/main" id="{06F1BE52-42D1-4859-A63D-F12CC380A8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59137" y="4938346"/>
              <a:ext cx="653244" cy="670740"/>
            </a:xfrm>
            <a:prstGeom prst="rect">
              <a:avLst/>
            </a:prstGeom>
          </p:spPr>
        </p:pic>
        <p:sp>
          <p:nvSpPr>
            <p:cNvPr id="67" name="Rectangle 66">
              <a:extLst>
                <a:ext uri="{FF2B5EF4-FFF2-40B4-BE49-F238E27FC236}">
                  <a16:creationId xmlns:a16="http://schemas.microsoft.com/office/drawing/2014/main" id="{5019F559-BECE-4747-8A85-145C9D218C6B}"/>
                </a:ext>
              </a:extLst>
            </p:cNvPr>
            <p:cNvSpPr/>
            <p:nvPr/>
          </p:nvSpPr>
          <p:spPr bwMode="auto">
            <a:xfrm>
              <a:off x="659995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AI Builder</a:t>
              </a:r>
            </a:p>
          </p:txBody>
        </p:sp>
      </p:grpSp>
      <p:grpSp>
        <p:nvGrpSpPr>
          <p:cNvPr id="45" name="Group 44">
            <a:extLst>
              <a:ext uri="{FF2B5EF4-FFF2-40B4-BE49-F238E27FC236}">
                <a16:creationId xmlns:a16="http://schemas.microsoft.com/office/drawing/2014/main" id="{21EB340A-833C-454F-BA2E-839AA5DEC3DD}"/>
              </a:ext>
            </a:extLst>
          </p:cNvPr>
          <p:cNvGrpSpPr/>
          <p:nvPr/>
        </p:nvGrpSpPr>
        <p:grpSpPr>
          <a:xfrm>
            <a:off x="4182212" y="5021901"/>
            <a:ext cx="1371600" cy="1247137"/>
            <a:chOff x="4182212" y="5021901"/>
            <a:chExt cx="1371600" cy="1247137"/>
          </a:xfrm>
        </p:grpSpPr>
        <p:grpSp>
          <p:nvGrpSpPr>
            <p:cNvPr id="69" name="Group 68">
              <a:extLst>
                <a:ext uri="{FF2B5EF4-FFF2-40B4-BE49-F238E27FC236}">
                  <a16:creationId xmlns:a16="http://schemas.microsoft.com/office/drawing/2014/main" id="{8918393A-C49D-46CC-9DE1-E7C3EA53D8CC}"/>
                </a:ext>
              </a:extLst>
            </p:cNvPr>
            <p:cNvGrpSpPr/>
            <p:nvPr/>
          </p:nvGrpSpPr>
          <p:grpSpPr>
            <a:xfrm>
              <a:off x="4630379" y="5021901"/>
              <a:ext cx="475266" cy="454817"/>
              <a:chOff x="4939349" y="5201042"/>
              <a:chExt cx="475266" cy="454817"/>
            </a:xfrm>
          </p:grpSpPr>
          <p:sp>
            <p:nvSpPr>
              <p:cNvPr id="63" name="Oval 62">
                <a:extLst>
                  <a:ext uri="{FF2B5EF4-FFF2-40B4-BE49-F238E27FC236}">
                    <a16:creationId xmlns:a16="http://schemas.microsoft.com/office/drawing/2014/main" id="{A0C30EA7-E1B3-41AE-8CC7-833C11DE7905}"/>
                  </a:ext>
                </a:extLst>
              </p:cNvPr>
              <p:cNvSpPr/>
              <p:nvPr/>
            </p:nvSpPr>
            <p:spPr bwMode="auto">
              <a:xfrm>
                <a:off x="4939349" y="5201042"/>
                <a:ext cx="475266"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446B6E2-8517-4C47-8FA2-F00AAD94185F}"/>
                  </a:ext>
                </a:extLst>
              </p:cNvPr>
              <p:cNvSpPr/>
              <p:nvPr/>
            </p:nvSpPr>
            <p:spPr bwMode="auto">
              <a:xfrm>
                <a:off x="5056392" y="5201042"/>
                <a:ext cx="241179"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62EA3F3C-6A5F-4DDD-B40C-5F48A14EF319}"/>
                  </a:ext>
                </a:extLst>
              </p:cNvPr>
              <p:cNvCxnSpPr>
                <a:cxnSpLocks/>
              </p:cNvCxnSpPr>
              <p:nvPr/>
            </p:nvCxnSpPr>
            <p:spPr>
              <a:xfrm>
                <a:off x="4950980" y="5350947"/>
                <a:ext cx="437987"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EC80470-3AE1-4B9E-BFFD-307CF3347592}"/>
                  </a:ext>
                </a:extLst>
              </p:cNvPr>
              <p:cNvCxnSpPr>
                <a:cxnSpLocks/>
              </p:cNvCxnSpPr>
              <p:nvPr/>
            </p:nvCxnSpPr>
            <p:spPr>
              <a:xfrm>
                <a:off x="4950980" y="5508817"/>
                <a:ext cx="45339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C35CD774-B3D7-41E2-BC9E-35FFEDEC2C84}"/>
                </a:ext>
              </a:extLst>
            </p:cNvPr>
            <p:cNvSpPr/>
            <p:nvPr/>
          </p:nvSpPr>
          <p:spPr bwMode="auto">
            <a:xfrm>
              <a:off x="4182212"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Segoe UI" pitchFamily="34" charset="0"/>
                </a:rPr>
                <a:t>Portals</a:t>
              </a:r>
            </a:p>
          </p:txBody>
        </p:sp>
      </p:grpSp>
      <p:grpSp>
        <p:nvGrpSpPr>
          <p:cNvPr id="40" name="Group 39">
            <a:extLst>
              <a:ext uri="{FF2B5EF4-FFF2-40B4-BE49-F238E27FC236}">
                <a16:creationId xmlns:a16="http://schemas.microsoft.com/office/drawing/2014/main" id="{069B27BE-F87C-4A49-834C-C2771E10F69B}"/>
              </a:ext>
            </a:extLst>
          </p:cNvPr>
          <p:cNvGrpSpPr/>
          <p:nvPr/>
        </p:nvGrpSpPr>
        <p:grpSpPr>
          <a:xfrm>
            <a:off x="1015099" y="3679602"/>
            <a:ext cx="10161803" cy="640080"/>
            <a:chOff x="1015099" y="3541701"/>
            <a:chExt cx="10161803" cy="640080"/>
          </a:xfrm>
        </p:grpSpPr>
        <p:sp>
          <p:nvSpPr>
            <p:cNvPr id="15" name="Rectangle 14">
              <a:extLst>
                <a:ext uri="{FF2B5EF4-FFF2-40B4-BE49-F238E27FC236}">
                  <a16:creationId xmlns:a16="http://schemas.microsoft.com/office/drawing/2014/main" id="{0316D266-FFD0-4896-8B6D-C108125A1B5C}"/>
                </a:ext>
              </a:extLst>
            </p:cNvPr>
            <p:cNvSpPr/>
            <p:nvPr/>
          </p:nvSpPr>
          <p:spPr bwMode="auto">
            <a:xfrm>
              <a:off x="1015099"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mj-lt"/>
                  <a:ea typeface="Segoe UI" pitchFamily="34" charset="0"/>
                  <a:cs typeface="Segoe UI" pitchFamily="34" charset="0"/>
                </a:rPr>
                <a:t>Power BI</a:t>
              </a:r>
            </a:p>
            <a:p>
              <a:pPr marL="0" marR="0" lvl="0" indent="0" algn="ctr" defTabSz="932114" rtl="0" eaLnBrk="1" fontAlgn="base" latinLnBrk="0" hangingPunct="1">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ea typeface="Segoe UI" pitchFamily="34" charset="0"/>
                  <a:cs typeface="Segoe UI" pitchFamily="34" charset="0"/>
                </a:rPr>
                <a:t>Business analytics</a:t>
              </a:r>
            </a:p>
          </p:txBody>
        </p:sp>
        <p:sp>
          <p:nvSpPr>
            <p:cNvPr id="21" name="Rectangle 20">
              <a:extLst>
                <a:ext uri="{FF2B5EF4-FFF2-40B4-BE49-F238E27FC236}">
                  <a16:creationId xmlns:a16="http://schemas.microsoft.com/office/drawing/2014/main" id="{441B4494-6E38-4E31-B699-537AEE7C9BBC}"/>
                </a:ext>
              </a:extLst>
            </p:cNvPr>
            <p:cNvSpPr/>
            <p:nvPr/>
          </p:nvSpPr>
          <p:spPr bwMode="auto">
            <a:xfrm>
              <a:off x="3294316" y="3541701"/>
              <a:ext cx="2628828"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mj-lt"/>
                  <a:ea typeface="+mn-ea"/>
                  <a:cs typeface="Segoe UI" pitchFamily="34" charset="0"/>
                </a:rPr>
                <a:t>Power Apps</a:t>
              </a:r>
            </a:p>
            <a:p>
              <a:pPr marL="0" marR="0" lvl="0" indent="0" algn="ctr" defTabSz="932114" rtl="0" eaLnBrk="1" fontAlgn="base" latinLnBrk="0" hangingPunct="1">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ea typeface="+mn-ea"/>
                  <a:cs typeface="Segoe UI" pitchFamily="34" charset="0"/>
                </a:rPr>
                <a:t>Application development</a:t>
              </a:r>
            </a:p>
          </p:txBody>
        </p:sp>
        <p:sp>
          <p:nvSpPr>
            <p:cNvPr id="24" name="Rectangle 23">
              <a:extLst>
                <a:ext uri="{FF2B5EF4-FFF2-40B4-BE49-F238E27FC236}">
                  <a16:creationId xmlns:a16="http://schemas.microsoft.com/office/drawing/2014/main" id="{75BAD04C-EF6A-4190-AA65-2748DF7FAF30}"/>
                </a:ext>
              </a:extLst>
            </p:cNvPr>
            <p:cNvSpPr/>
            <p:nvPr/>
          </p:nvSpPr>
          <p:spPr bwMode="auto">
            <a:xfrm>
              <a:off x="6373561"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mj-lt"/>
                  <a:ea typeface="+mn-ea"/>
                  <a:cs typeface="Segoe UI" pitchFamily="34" charset="0"/>
                </a:rPr>
                <a:t>Power Automate</a:t>
              </a:r>
            </a:p>
            <a:p>
              <a:pPr marL="0" marR="0" lvl="0" indent="0" algn="ctr" defTabSz="932114" rtl="0" eaLnBrk="1" fontAlgn="base" latinLnBrk="0" hangingPunct="1">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ea typeface="+mn-ea"/>
                  <a:cs typeface="Segoe UI" pitchFamily="34" charset="0"/>
                </a:rPr>
                <a:t>Process automation</a:t>
              </a:r>
            </a:p>
          </p:txBody>
        </p:sp>
        <p:sp>
          <p:nvSpPr>
            <p:cNvPr id="31" name="Rectangle 30">
              <a:extLst>
                <a:ext uri="{FF2B5EF4-FFF2-40B4-BE49-F238E27FC236}">
                  <a16:creationId xmlns:a16="http://schemas.microsoft.com/office/drawing/2014/main" id="{1C2AB203-CFAF-4B26-9C7F-C2701BC98F72}"/>
                </a:ext>
              </a:extLst>
            </p:cNvPr>
            <p:cNvSpPr/>
            <p:nvPr/>
          </p:nvSpPr>
          <p:spPr bwMode="auto">
            <a:xfrm>
              <a:off x="8652778" y="3541701"/>
              <a:ext cx="2524124"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mj-lt"/>
                  <a:ea typeface="+mn-ea"/>
                  <a:cs typeface="Segoe UI" pitchFamily="34" charset="0"/>
                </a:rPr>
                <a:t>Power Virtual Agents</a:t>
              </a:r>
            </a:p>
            <a:p>
              <a:pPr marL="0" marR="0" lvl="0" indent="0" algn="ctr" defTabSz="932114" rtl="0" eaLnBrk="1" fontAlgn="base" latinLnBrk="0" hangingPunct="1">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ea typeface="+mn-ea"/>
                  <a:cs typeface="Segoe UI" pitchFamily="34" charset="0"/>
                </a:rPr>
                <a:t>Intelligent virtual agents</a:t>
              </a:r>
            </a:p>
          </p:txBody>
        </p:sp>
      </p:grpSp>
      <p:cxnSp>
        <p:nvCxnSpPr>
          <p:cNvPr id="51" name="Straight Connector 50">
            <a:extLst>
              <a:ext uri="{FF2B5EF4-FFF2-40B4-BE49-F238E27FC236}">
                <a16:creationId xmlns:a16="http://schemas.microsoft.com/office/drawing/2014/main" id="{103B4CD7-608D-4C45-88B3-769B202FD478}"/>
              </a:ext>
            </a:extLst>
          </p:cNvPr>
          <p:cNvCxnSpPr>
            <a:cxnSpLocks/>
          </p:cNvCxnSpPr>
          <p:nvPr/>
        </p:nvCxnSpPr>
        <p:spPr>
          <a:xfrm>
            <a:off x="2305104" y="2950994"/>
            <a:ext cx="7443734" cy="0"/>
          </a:xfrm>
          <a:prstGeom prst="line">
            <a:avLst/>
          </a:prstGeom>
          <a:ln w="15875">
            <a:solidFill>
              <a:srgbClr val="75757A"/>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470947B-7682-4DFB-A705-C4ECFB737BF3}"/>
              </a:ext>
            </a:extLst>
          </p:cNvPr>
          <p:cNvGrpSpPr/>
          <p:nvPr/>
        </p:nvGrpSpPr>
        <p:grpSpPr>
          <a:xfrm>
            <a:off x="1403868" y="2420021"/>
            <a:ext cx="1051262" cy="1051262"/>
            <a:chOff x="1779473" y="2250094"/>
            <a:chExt cx="1051262" cy="1051262"/>
          </a:xfrm>
        </p:grpSpPr>
        <p:sp>
          <p:nvSpPr>
            <p:cNvPr id="13" name="Oval 12">
              <a:extLst>
                <a:ext uri="{FF2B5EF4-FFF2-40B4-BE49-F238E27FC236}">
                  <a16:creationId xmlns:a16="http://schemas.microsoft.com/office/drawing/2014/main" id="{6EDC856C-5731-4C34-B122-3AC56561FFA7}"/>
                </a:ext>
              </a:extLst>
            </p:cNvPr>
            <p:cNvSpPr/>
            <p:nvPr/>
          </p:nvSpPr>
          <p:spPr bwMode="auto">
            <a:xfrm>
              <a:off x="1779473" y="2250094"/>
              <a:ext cx="1051262" cy="1051262"/>
            </a:xfrm>
            <a:prstGeom prst="ellipse">
              <a:avLst/>
            </a:prstGeom>
            <a:solidFill>
              <a:srgbClr val="FFC000"/>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a:ea typeface="+mn-ea"/>
                <a:cs typeface="Segoe UI" pitchFamily="34" charset="0"/>
              </a:endParaRPr>
            </a:p>
          </p:txBody>
        </p:sp>
        <p:grpSp>
          <p:nvGrpSpPr>
            <p:cNvPr id="23" name="Group 22">
              <a:extLst>
                <a:ext uri="{FF2B5EF4-FFF2-40B4-BE49-F238E27FC236}">
                  <a16:creationId xmlns:a16="http://schemas.microsoft.com/office/drawing/2014/main" id="{B23D2DB6-197D-41F6-A79C-5A6AC443F87A}"/>
                </a:ext>
              </a:extLst>
            </p:cNvPr>
            <p:cNvGrpSpPr/>
            <p:nvPr/>
          </p:nvGrpSpPr>
          <p:grpSpPr>
            <a:xfrm>
              <a:off x="2063012" y="2591810"/>
              <a:ext cx="484184" cy="367831"/>
              <a:chOff x="2063012" y="2591810"/>
              <a:chExt cx="484184" cy="367831"/>
            </a:xfrm>
          </p:grpSpPr>
          <p:sp>
            <p:nvSpPr>
              <p:cNvPr id="16" name="Freeform 13">
                <a:extLst>
                  <a:ext uri="{FF2B5EF4-FFF2-40B4-BE49-F238E27FC236}">
                    <a16:creationId xmlns:a16="http://schemas.microsoft.com/office/drawing/2014/main" id="{768DE153-A62D-41CA-B172-45DF7327D325}"/>
                  </a:ext>
                </a:extLst>
              </p:cNvPr>
              <p:cNvSpPr>
                <a:spLocks/>
              </p:cNvSpPr>
              <p:nvPr/>
            </p:nvSpPr>
            <p:spPr bwMode="auto">
              <a:xfrm>
                <a:off x="2063012" y="2591810"/>
                <a:ext cx="484184" cy="319037"/>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Semilight"/>
                  <a:ea typeface="+mn-ea"/>
                  <a:cs typeface="+mn-cs"/>
                </a:endParaRPr>
              </a:p>
            </p:txBody>
          </p:sp>
          <p:sp>
            <p:nvSpPr>
              <p:cNvPr id="17" name="Freeform 14">
                <a:extLst>
                  <a:ext uri="{FF2B5EF4-FFF2-40B4-BE49-F238E27FC236}">
                    <a16:creationId xmlns:a16="http://schemas.microsoft.com/office/drawing/2014/main" id="{64E1E131-0A7F-4191-A36C-D6E9DFB72FFE}"/>
                  </a:ext>
                </a:extLst>
              </p:cNvPr>
              <p:cNvSpPr>
                <a:spLocks/>
              </p:cNvSpPr>
              <p:nvPr/>
            </p:nvSpPr>
            <p:spPr bwMode="auto">
              <a:xfrm>
                <a:off x="2153093" y="2845163"/>
                <a:ext cx="52547" cy="114478"/>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Semilight"/>
                  <a:ea typeface="+mn-ea"/>
                  <a:cs typeface="+mn-cs"/>
                </a:endParaRPr>
              </a:p>
            </p:txBody>
          </p:sp>
          <p:sp>
            <p:nvSpPr>
              <p:cNvPr id="18" name="Freeform 15">
                <a:extLst>
                  <a:ext uri="{FF2B5EF4-FFF2-40B4-BE49-F238E27FC236}">
                    <a16:creationId xmlns:a16="http://schemas.microsoft.com/office/drawing/2014/main" id="{D3ECBE5D-3664-433B-BADD-1E92032F47C7}"/>
                  </a:ext>
                </a:extLst>
              </p:cNvPr>
              <p:cNvSpPr>
                <a:spLocks/>
              </p:cNvSpPr>
              <p:nvPr/>
            </p:nvSpPr>
            <p:spPr bwMode="auto">
              <a:xfrm>
                <a:off x="2235667" y="2747575"/>
                <a:ext cx="54424" cy="212066"/>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Semilight"/>
                  <a:ea typeface="+mn-ea"/>
                  <a:cs typeface="+mn-cs"/>
                </a:endParaRPr>
              </a:p>
            </p:txBody>
          </p:sp>
          <p:sp>
            <p:nvSpPr>
              <p:cNvPr id="19" name="Freeform 16">
                <a:extLst>
                  <a:ext uri="{FF2B5EF4-FFF2-40B4-BE49-F238E27FC236}">
                    <a16:creationId xmlns:a16="http://schemas.microsoft.com/office/drawing/2014/main" id="{0CB78171-CEC5-47F3-9EF7-BF81FEF0738E}"/>
                  </a:ext>
                </a:extLst>
              </p:cNvPr>
              <p:cNvSpPr>
                <a:spLocks/>
              </p:cNvSpPr>
              <p:nvPr/>
            </p:nvSpPr>
            <p:spPr bwMode="auto">
              <a:xfrm>
                <a:off x="2402691" y="2680014"/>
                <a:ext cx="54424" cy="279627"/>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Semilight"/>
                  <a:ea typeface="+mn-ea"/>
                  <a:cs typeface="+mn-cs"/>
                </a:endParaRPr>
              </a:p>
            </p:txBody>
          </p:sp>
          <p:sp>
            <p:nvSpPr>
              <p:cNvPr id="20" name="Freeform 17">
                <a:extLst>
                  <a:ext uri="{FF2B5EF4-FFF2-40B4-BE49-F238E27FC236}">
                    <a16:creationId xmlns:a16="http://schemas.microsoft.com/office/drawing/2014/main" id="{789309BE-3AA9-4692-BEEE-62972F889136}"/>
                  </a:ext>
                </a:extLst>
              </p:cNvPr>
              <p:cNvSpPr>
                <a:spLocks/>
              </p:cNvSpPr>
              <p:nvPr/>
            </p:nvSpPr>
            <p:spPr bwMode="auto">
              <a:xfrm>
                <a:off x="2320117" y="2786986"/>
                <a:ext cx="52547" cy="172655"/>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Semilight"/>
                  <a:ea typeface="+mn-ea"/>
                  <a:cs typeface="+mn-cs"/>
                </a:endParaRPr>
              </a:p>
            </p:txBody>
          </p:sp>
        </p:grpSp>
      </p:grpSp>
      <p:grpSp>
        <p:nvGrpSpPr>
          <p:cNvPr id="36" name="Group 35">
            <a:extLst>
              <a:ext uri="{FF2B5EF4-FFF2-40B4-BE49-F238E27FC236}">
                <a16:creationId xmlns:a16="http://schemas.microsoft.com/office/drawing/2014/main" id="{36D66C4A-B06F-4F96-B288-A3077E229700}"/>
              </a:ext>
            </a:extLst>
          </p:cNvPr>
          <p:cNvGrpSpPr/>
          <p:nvPr/>
        </p:nvGrpSpPr>
        <p:grpSpPr>
          <a:xfrm>
            <a:off x="4083099" y="2420022"/>
            <a:ext cx="1051262" cy="1051262"/>
            <a:chOff x="4260718" y="2250095"/>
            <a:chExt cx="1051262" cy="1051262"/>
          </a:xfrm>
        </p:grpSpPr>
        <p:sp>
          <p:nvSpPr>
            <p:cNvPr id="5" name="Oval 4">
              <a:extLst>
                <a:ext uri="{FF2B5EF4-FFF2-40B4-BE49-F238E27FC236}">
                  <a16:creationId xmlns:a16="http://schemas.microsoft.com/office/drawing/2014/main" id="{AAB1F6A0-286E-4048-9B74-D60969D5F23D}"/>
                </a:ext>
              </a:extLst>
            </p:cNvPr>
            <p:cNvSpPr/>
            <p:nvPr/>
          </p:nvSpPr>
          <p:spPr bwMode="auto">
            <a:xfrm>
              <a:off x="4260718" y="2250095"/>
              <a:ext cx="1051262" cy="1051262"/>
            </a:xfrm>
            <a:prstGeom prst="ellipse">
              <a:avLst/>
            </a:prstGeom>
            <a:solidFill>
              <a:srgbClr val="8A2E8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a:ea typeface="+mn-ea"/>
                <a:cs typeface="Segoe UI" pitchFamily="34" charset="0"/>
              </a:endParaRPr>
            </a:p>
          </p:txBody>
        </p:sp>
        <p:grpSp>
          <p:nvGrpSpPr>
            <p:cNvPr id="6" name="Group 4">
              <a:extLst>
                <a:ext uri="{FF2B5EF4-FFF2-40B4-BE49-F238E27FC236}">
                  <a16:creationId xmlns:a16="http://schemas.microsoft.com/office/drawing/2014/main" id="{7432378F-97C8-4AEB-82DA-21347AEA88EB}"/>
                </a:ext>
              </a:extLst>
            </p:cNvPr>
            <p:cNvGrpSpPr>
              <a:grpSpLocks noChangeAspect="1"/>
            </p:cNvGrpSpPr>
            <p:nvPr/>
          </p:nvGrpSpPr>
          <p:grpSpPr bwMode="auto">
            <a:xfrm>
              <a:off x="4546135" y="2590874"/>
              <a:ext cx="480428" cy="369704"/>
              <a:chOff x="2880" y="2176"/>
              <a:chExt cx="256" cy="197"/>
            </a:xfrm>
            <a:solidFill>
              <a:srgbClr val="D2D2D2"/>
            </a:solidFill>
          </p:grpSpPr>
          <p:sp>
            <p:nvSpPr>
              <p:cNvPr id="7" name="Freeform 5">
                <a:extLst>
                  <a:ext uri="{FF2B5EF4-FFF2-40B4-BE49-F238E27FC236}">
                    <a16:creationId xmlns:a16="http://schemas.microsoft.com/office/drawing/2014/main" id="{3DA6F1F9-B4D0-4B6D-B1CA-737C2F6F3DC2}"/>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8" name="Freeform 6">
                <a:extLst>
                  <a:ext uri="{FF2B5EF4-FFF2-40B4-BE49-F238E27FC236}">
                    <a16:creationId xmlns:a16="http://schemas.microsoft.com/office/drawing/2014/main" id="{0F354DEF-5341-4E7D-B755-DF23BC64A766}"/>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9" name="Freeform 7">
                <a:extLst>
                  <a:ext uri="{FF2B5EF4-FFF2-40B4-BE49-F238E27FC236}">
                    <a16:creationId xmlns:a16="http://schemas.microsoft.com/office/drawing/2014/main" id="{7127517B-70A9-4F05-94D8-9938D9511117}"/>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 name="Freeform 8">
                <a:extLst>
                  <a:ext uri="{FF2B5EF4-FFF2-40B4-BE49-F238E27FC236}">
                    <a16:creationId xmlns:a16="http://schemas.microsoft.com/office/drawing/2014/main" id="{348B09CC-4AC1-486D-AB1B-540186BF9EEA}"/>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 name="Freeform 9">
                <a:extLst>
                  <a:ext uri="{FF2B5EF4-FFF2-40B4-BE49-F238E27FC236}">
                    <a16:creationId xmlns:a16="http://schemas.microsoft.com/office/drawing/2014/main" id="{2228491F-7C18-4493-B18C-AD3D1EB5FE13}"/>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grpSp>
      <p:grpSp>
        <p:nvGrpSpPr>
          <p:cNvPr id="37" name="Group 36">
            <a:extLst>
              <a:ext uri="{FF2B5EF4-FFF2-40B4-BE49-F238E27FC236}">
                <a16:creationId xmlns:a16="http://schemas.microsoft.com/office/drawing/2014/main" id="{110CF3C7-9F92-479F-A9F5-1B21DF68D6E4}"/>
              </a:ext>
            </a:extLst>
          </p:cNvPr>
          <p:cNvGrpSpPr/>
          <p:nvPr/>
        </p:nvGrpSpPr>
        <p:grpSpPr>
          <a:xfrm>
            <a:off x="6762330" y="2408185"/>
            <a:ext cx="1051262" cy="1051262"/>
            <a:chOff x="6741963" y="2238258"/>
            <a:chExt cx="1051262" cy="1051262"/>
          </a:xfrm>
        </p:grpSpPr>
        <p:sp>
          <p:nvSpPr>
            <p:cNvPr id="25" name="Oval 24">
              <a:extLst>
                <a:ext uri="{FF2B5EF4-FFF2-40B4-BE49-F238E27FC236}">
                  <a16:creationId xmlns:a16="http://schemas.microsoft.com/office/drawing/2014/main" id="{80C280F7-9990-4208-AD10-CF335236D02B}"/>
                </a:ext>
              </a:extLst>
            </p:cNvPr>
            <p:cNvSpPr/>
            <p:nvPr/>
          </p:nvSpPr>
          <p:spPr bwMode="auto">
            <a:xfrm>
              <a:off x="6741963" y="2238258"/>
              <a:ext cx="1051262" cy="1051262"/>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D4567BBC-1109-4F17-B645-70E13772912F}"/>
                </a:ext>
              </a:extLst>
            </p:cNvPr>
            <p:cNvGrpSpPr/>
            <p:nvPr/>
          </p:nvGrpSpPr>
          <p:grpSpPr>
            <a:xfrm>
              <a:off x="7005209" y="2564545"/>
              <a:ext cx="524770" cy="398688"/>
              <a:chOff x="-1146792" y="678443"/>
              <a:chExt cx="1017587" cy="773113"/>
            </a:xfrm>
            <a:solidFill>
              <a:srgbClr val="D2D2D2"/>
            </a:solidFill>
          </p:grpSpPr>
          <p:sp>
            <p:nvSpPr>
              <p:cNvPr id="27" name="Freeform 5">
                <a:extLst>
                  <a:ext uri="{FF2B5EF4-FFF2-40B4-BE49-F238E27FC236}">
                    <a16:creationId xmlns:a16="http://schemas.microsoft.com/office/drawing/2014/main" id="{5DCD86B8-BBC0-4C40-B5C8-FE6A7BCC60E2}"/>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spcBef>
                    <a:spcPts val="0"/>
                  </a:spcBef>
                  <a:spcAft>
                    <a:spcPts val="0"/>
                  </a:spcAft>
                  <a:buClrTx/>
                  <a:buSzTx/>
                  <a:buFontTx/>
                  <a:buNone/>
                  <a:tabLst/>
                  <a:defRPr/>
                </a:pPr>
                <a:endParaRPr kumimoji="0" lang="en-US" sz="1920" b="0" i="0" u="none" strike="noStrike" kern="1200" cap="none" spc="0" normalizeH="0" baseline="0" noProof="0">
                  <a:ln>
                    <a:noFill/>
                  </a:ln>
                  <a:effectLst/>
                  <a:uLnTx/>
                  <a:uFillTx/>
                  <a:latin typeface="Segoe UI"/>
                  <a:ea typeface="+mn-ea"/>
                  <a:cs typeface="+mn-cs"/>
                </a:endParaRPr>
              </a:p>
            </p:txBody>
          </p:sp>
          <p:sp>
            <p:nvSpPr>
              <p:cNvPr id="28" name="Freeform 6">
                <a:extLst>
                  <a:ext uri="{FF2B5EF4-FFF2-40B4-BE49-F238E27FC236}">
                    <a16:creationId xmlns:a16="http://schemas.microsoft.com/office/drawing/2014/main" id="{3FE70181-290C-4E8E-830C-E99130414549}"/>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spcBef>
                    <a:spcPts val="0"/>
                  </a:spcBef>
                  <a:spcAft>
                    <a:spcPts val="0"/>
                  </a:spcAft>
                  <a:buClrTx/>
                  <a:buSzTx/>
                  <a:buFontTx/>
                  <a:buNone/>
                  <a:tabLst/>
                  <a:defRPr/>
                </a:pPr>
                <a:endParaRPr kumimoji="0" lang="en-US" sz="1920" b="0" i="0" u="none" strike="noStrike" kern="1200" cap="none" spc="0" normalizeH="0" baseline="0" noProof="0">
                  <a:ln>
                    <a:noFill/>
                  </a:ln>
                  <a:effectLst/>
                  <a:uLnTx/>
                  <a:uFillTx/>
                  <a:latin typeface="Segoe UI"/>
                  <a:ea typeface="+mn-ea"/>
                  <a:cs typeface="+mn-cs"/>
                </a:endParaRPr>
              </a:p>
            </p:txBody>
          </p:sp>
        </p:grpSp>
      </p:grpSp>
      <p:sp>
        <p:nvSpPr>
          <p:cNvPr id="33" name="Rectangle 32">
            <a:extLst>
              <a:ext uri="{FF2B5EF4-FFF2-40B4-BE49-F238E27FC236}">
                <a16:creationId xmlns:a16="http://schemas.microsoft.com/office/drawing/2014/main" id="{7D7F9718-61C7-468F-8163-2EB9268A9284}"/>
              </a:ext>
            </a:extLst>
          </p:cNvPr>
          <p:cNvSpPr/>
          <p:nvPr/>
        </p:nvSpPr>
        <p:spPr>
          <a:xfrm>
            <a:off x="9878" y="1320800"/>
            <a:ext cx="12169862" cy="899886"/>
          </a:xfrm>
          <a:prstGeom prst="rect">
            <a:avLst/>
          </a:prstGeom>
          <a:solidFill>
            <a:srgbClr val="F2F2F2"/>
          </a:solidFill>
          <a:ln w="9525" cap="flat" cmpd="sng" algn="ctr">
            <a:noFill/>
            <a:prstDash val="dash"/>
          </a:ln>
          <a:effectLst/>
        </p:spPr>
        <p:txBody>
          <a:bodyPr wrap="square" lIns="0" tIns="0" rIns="0" bIns="0" rtlCol="0" anchor="ctr" anchorCtr="0">
            <a:noAutofit/>
          </a:bodyPr>
          <a:lstStyle/>
          <a:p>
            <a:pPr marL="0" marR="0" lvl="0" indent="0" algn="ctr" defTabSz="913523" rtl="0" eaLnBrk="1" fontAlgn="auto" latinLnBrk="0" hangingPunct="1">
              <a:spcAft>
                <a:spcPts val="300"/>
              </a:spcAft>
              <a:buClrTx/>
              <a:buSzTx/>
              <a:buFontTx/>
              <a:buNone/>
              <a:tabLst/>
              <a:defRPr/>
            </a:pPr>
            <a:r>
              <a:rPr kumimoji="0" lang="en-US" sz="2000" b="0" i="0" u="none" strike="noStrike" kern="1200" cap="none" spc="0" normalizeH="0" baseline="0" noProof="0">
                <a:ln>
                  <a:noFill/>
                </a:ln>
                <a:effectLst/>
                <a:uLnTx/>
                <a:uFillTx/>
                <a:ea typeface="+mn-ea"/>
                <a:cs typeface="Segoe UI Semilight"/>
              </a:rPr>
              <a:t>The low-code platform that spans Office 365, Azure, Dynamics 365, and standalone applications</a:t>
            </a:r>
          </a:p>
          <a:p>
            <a:pPr marL="0" marR="0" lvl="0" indent="0" algn="ctr" defTabSz="913523" rtl="0" eaLnBrk="1" fontAlgn="auto" latinLnBrk="0" hangingPunct="1">
              <a:spcAft>
                <a:spcPts val="300"/>
              </a:spcAft>
              <a:buClrTx/>
              <a:buSzTx/>
              <a:buFontTx/>
              <a:buNone/>
              <a:tabLst/>
              <a:defRPr/>
            </a:pPr>
            <a:r>
              <a:rPr kumimoji="0" lang="en-US" sz="2000" b="1" i="0" u="none" strike="noStrike" kern="1200" cap="none" spc="0" normalizeH="0" baseline="0" noProof="0">
                <a:ln>
                  <a:noFill/>
                </a:ln>
                <a:solidFill>
                  <a:srgbClr val="3C3C41"/>
                </a:solidFill>
                <a:effectLst/>
                <a:uLnTx/>
                <a:uFillTx/>
                <a:latin typeface="+mj-lt"/>
                <a:ea typeface="+mn-ea"/>
                <a:cs typeface="Segoe UI"/>
              </a:rPr>
              <a:t>Innovation anywhere. Unlocks value everywhere.</a:t>
            </a:r>
          </a:p>
        </p:txBody>
      </p:sp>
      <p:sp>
        <p:nvSpPr>
          <p:cNvPr id="4" name="Title 3">
            <a:extLst>
              <a:ext uri="{FF2B5EF4-FFF2-40B4-BE49-F238E27FC236}">
                <a16:creationId xmlns:a16="http://schemas.microsoft.com/office/drawing/2014/main" id="{45880BFB-910B-4AAF-8E03-021BE09DD1FC}"/>
              </a:ext>
            </a:extLst>
          </p:cNvPr>
          <p:cNvSpPr>
            <a:spLocks noGrp="1"/>
          </p:cNvSpPr>
          <p:nvPr>
            <p:ph type="title"/>
          </p:nvPr>
        </p:nvSpPr>
        <p:spPr/>
        <p:txBody>
          <a:bodyPr/>
          <a:lstStyle/>
          <a:p>
            <a:r>
              <a:rPr lang="en-IN"/>
              <a:t>Microsoft Power Platform</a:t>
            </a:r>
          </a:p>
        </p:txBody>
      </p:sp>
      <p:grpSp>
        <p:nvGrpSpPr>
          <p:cNvPr id="74" name="Group 73">
            <a:extLst>
              <a:ext uri="{FF2B5EF4-FFF2-40B4-BE49-F238E27FC236}">
                <a16:creationId xmlns:a16="http://schemas.microsoft.com/office/drawing/2014/main" id="{69955C01-A248-4EA6-8968-E2174BD4BA0B}"/>
              </a:ext>
            </a:extLst>
          </p:cNvPr>
          <p:cNvGrpSpPr/>
          <p:nvPr/>
        </p:nvGrpSpPr>
        <p:grpSpPr>
          <a:xfrm rot="10800000">
            <a:off x="10930986" y="-4"/>
            <a:ext cx="1597358" cy="604900"/>
            <a:chOff x="10334604" y="6155531"/>
            <a:chExt cx="1855015" cy="702471"/>
          </a:xfrm>
        </p:grpSpPr>
        <p:sp>
          <p:nvSpPr>
            <p:cNvPr id="75" name="Freeform: Shape 74">
              <a:extLst>
                <a:ext uri="{FF2B5EF4-FFF2-40B4-BE49-F238E27FC236}">
                  <a16:creationId xmlns:a16="http://schemas.microsoft.com/office/drawing/2014/main" id="{833A4DA0-BF1D-44FE-A604-EE5CF23AFAA6}"/>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B04F20C9-3C83-4C58-8B4B-77EF6C3713E7}"/>
                </a:ext>
              </a:extLst>
            </p:cNvPr>
            <p:cNvSpPr/>
            <p:nvPr/>
          </p:nvSpPr>
          <p:spPr bwMode="auto">
            <a:xfrm>
              <a:off x="10334604" y="6333020"/>
              <a:ext cx="1083778" cy="524982"/>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D4353B32-83E8-4079-825F-4D2560555C9E}"/>
              </a:ext>
            </a:extLst>
          </p:cNvPr>
          <p:cNvGrpSpPr/>
          <p:nvPr/>
        </p:nvGrpSpPr>
        <p:grpSpPr>
          <a:xfrm>
            <a:off x="9389209" y="2420021"/>
            <a:ext cx="1051262" cy="1051262"/>
            <a:chOff x="9389209" y="2289392"/>
            <a:chExt cx="1051262" cy="1051262"/>
          </a:xfrm>
        </p:grpSpPr>
        <p:sp>
          <p:nvSpPr>
            <p:cNvPr id="30" name="Oval 29">
              <a:extLst>
                <a:ext uri="{FF2B5EF4-FFF2-40B4-BE49-F238E27FC236}">
                  <a16:creationId xmlns:a16="http://schemas.microsoft.com/office/drawing/2014/main" id="{C3CCB781-CC53-4196-A1ED-63C23D8354D4}"/>
                </a:ext>
              </a:extLst>
            </p:cNvPr>
            <p:cNvSpPr/>
            <p:nvPr/>
          </p:nvSpPr>
          <p:spPr bwMode="auto">
            <a:xfrm>
              <a:off x="9389209" y="2289392"/>
              <a:ext cx="1051262" cy="1051262"/>
            </a:xfrm>
            <a:prstGeom prst="ellipse">
              <a:avLst/>
            </a:prstGeom>
            <a:solidFill>
              <a:srgbClr val="0B556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70" name="Freeform 5">
              <a:extLst>
                <a:ext uri="{FF2B5EF4-FFF2-40B4-BE49-F238E27FC236}">
                  <a16:creationId xmlns:a16="http://schemas.microsoft.com/office/drawing/2014/main" id="{73E7E50F-F7D3-4473-A94A-8AB60B914A1C}"/>
                </a:ext>
              </a:extLst>
            </p:cNvPr>
            <p:cNvSpPr>
              <a:spLocks noEditPoints="1"/>
            </p:cNvSpPr>
            <p:nvPr/>
          </p:nvSpPr>
          <p:spPr bwMode="auto">
            <a:xfrm>
              <a:off x="9650634" y="2622170"/>
              <a:ext cx="528412" cy="385706"/>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61" name="Group 60">
            <a:extLst>
              <a:ext uri="{FF2B5EF4-FFF2-40B4-BE49-F238E27FC236}">
                <a16:creationId xmlns:a16="http://schemas.microsoft.com/office/drawing/2014/main" id="{B676F52F-3AA3-4C68-A367-35BD98017ABF}"/>
              </a:ext>
            </a:extLst>
          </p:cNvPr>
          <p:cNvGrpSpPr/>
          <p:nvPr/>
        </p:nvGrpSpPr>
        <p:grpSpPr>
          <a:xfrm>
            <a:off x="0" y="6253100"/>
            <a:ext cx="1597358" cy="604900"/>
            <a:chOff x="10334604" y="6155531"/>
            <a:chExt cx="1855015" cy="702471"/>
          </a:xfrm>
        </p:grpSpPr>
        <p:sp>
          <p:nvSpPr>
            <p:cNvPr id="71" name="Freeform: Shape 70">
              <a:extLst>
                <a:ext uri="{FF2B5EF4-FFF2-40B4-BE49-F238E27FC236}">
                  <a16:creationId xmlns:a16="http://schemas.microsoft.com/office/drawing/2014/main" id="{D7D3AEE3-B9A9-46BD-8652-3CA0D36E469D}"/>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DFFA0F32-B8AB-4C7E-B4FC-2884894E0FB7}"/>
                </a:ext>
              </a:extLst>
            </p:cNvPr>
            <p:cNvSpPr/>
            <p:nvPr/>
          </p:nvSpPr>
          <p:spPr bwMode="auto">
            <a:xfrm>
              <a:off x="10334604" y="6333020"/>
              <a:ext cx="1083778" cy="524982"/>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49416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10"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par>
                                <p:cTn id="19" presetID="10"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10" presetClass="entr" presetSubtype="0" fill="hold"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par>
                                <p:cTn id="25" presetID="10"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nodeType="with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par>
                                <p:cTn id="31" presetID="10"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par>
                                <p:cTn id="34" presetID="10" presetClass="entr" presetSubtype="0" fill="hold" nodeType="with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par>
                                <p:cTn id="37" presetID="10"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10" presetClass="entr" presetSubtype="0" fill="hold"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b="1" dirty="0">
                <a:solidFill>
                  <a:schemeClr val="bg1"/>
                </a:solidFill>
              </a:rPr>
              <a:t>Hand off to support agent– no l</a:t>
            </a:r>
            <a:br>
              <a:rPr lang="en-US" sz="4400" b="1" dirty="0">
                <a:solidFill>
                  <a:schemeClr val="bg1"/>
                </a:solidFill>
              </a:rPr>
            </a:br>
            <a:r>
              <a:rPr lang="en-US" sz="4400" dirty="0"/>
              <a:t>Hand off to support agent</a:t>
            </a:r>
            <a:br>
              <a:rPr lang="en-US" sz="4400" b="1" dirty="0">
                <a:solidFill>
                  <a:schemeClr val="bg1"/>
                </a:solidFill>
              </a:rPr>
            </a:br>
            <a:endParaRPr lang="en-US" sz="4400" dirty="0"/>
          </a:p>
        </p:txBody>
      </p:sp>
      <p:grpSp>
        <p:nvGrpSpPr>
          <p:cNvPr id="3" name="Group 2">
            <a:extLst>
              <a:ext uri="{FF2B5EF4-FFF2-40B4-BE49-F238E27FC236}">
                <a16:creationId xmlns:a16="http://schemas.microsoft.com/office/drawing/2014/main" id="{BAB06D2D-A742-46AA-B508-0ED316F08B41}"/>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1735B0F0-9C62-4691-B0F6-5995B5D75B3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22941CE3-88A7-4795-B125-F316F59CB68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F3C0B7C-DE7B-4A23-ACCF-C9EF41DCF1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CDC700E3-7706-46A2-9F03-E7873A75740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99A1610-48EE-4381-BB26-382B00CB1D8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01B5BA9-C46E-46CC-B89E-43DCEE99178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AC0A01B-065D-4AE7-8C9B-A2796D49BCD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4A92D19-775F-4487-9ACE-C53CEEB281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B3A3F7A-FA42-4BB7-BDCF-C9F8C153420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6544B72-D0C0-4DA0-9AD1-E51DC0C3C0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697FB3D-B3AF-4DC1-AFCC-D850DBB690E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5290FE6-7E28-42ED-A72F-3F331A47916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F50D57AF-A0BC-45A6-AF5B-A23CCE47FB7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D9E2A12-7A1D-4D7A-90DA-45C8C6F1F60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2A4F2C9F-D8FF-4434-A2E8-EC89ED75976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EC209769-27CE-4076-9484-874E22BC4F1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CBE7A0A-2850-4F0B-A022-4CFA48CF2AB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B405A56-732C-4701-BC14-F9732C6C4B0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956747C5-2D86-4505-AA61-41BC0F37185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3A900C2-5834-42C8-9460-AD823BB0D951}"/>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A080D82-5114-4B5E-8BC1-A9A8C11FFFE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2327642-6ED8-492F-9C94-7FA68F2E698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988A9DE4-3103-44F0-875F-D93F1C750ED5}"/>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B5C5CCF0-693D-40AC-9A53-553CBC20DF5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36132475-1ED9-4958-A4E9-F9F0CD1E249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1FF66F7-9F75-4CB6-821A-9873916CA8DA}"/>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3519E48-0471-42C7-96A0-8CEF5BB6315F}"/>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426B77C9-FF6F-4543-BD32-07A82C8698D9}"/>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E4905BAF-DC3E-42D4-AEA8-2321BA19B3DA}"/>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DF49BD39-F584-475E-9EBC-C04034DAACA3}"/>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DD41D72F-ACD5-4C04-A423-DADE0D100F2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6FB1B756-0C3E-4155-8169-A8C067F236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4A14458-0550-4B1E-A51B-174F205F5E8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89EFC54A-56C3-400E-BC25-53CD33E121F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920F797-7594-43A9-ACC8-DA754A6D1901}"/>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89CADC6-E74F-4BE6-9D57-A75E2455802C}"/>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BCED0D6-0E3D-4627-B2FE-90CCC0CD9B39}"/>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1CA4BED-EE1A-40BD-A3F5-FDEDD87FFE88}"/>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5E3B6952-E452-4EEF-8C1B-E2398ADB564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90A2BDBB-04B1-49D4-9BE4-433153BCAE0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63A06ED-97D3-48D3-A4BC-32D618342BA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82E62937-BD01-421F-B300-5B66E13582F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5720F0BE-A21A-499D-A9EA-2816AF75DD9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838F479-0110-4EE4-A43B-675A9953179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A7E2DD97-A587-40EA-9485-98E8557C4D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8290A46-3463-4C93-BE41-0264A36B5F4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D7503A6-0F83-4658-85BA-38BB9731F0E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E1023F9-C566-46F5-B8ED-45ED8F7601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6C0832F0-EF87-4F2B-9988-0E14C453740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700314A2-0A78-4109-B92F-48D10194B91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376B08B-1085-42D5-86D1-E10E0317229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38257429-FB7A-49A2-B132-B581CD12AD7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CF8F726-9C6D-420A-B221-5252A0FCDFA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F9EE805-5E91-4A11-9F6A-A2AF0A64BAB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CDCC979-E7A7-4E0B-B6C8-DF0D459143B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697715DA-99DE-4EAD-82B6-A731CFD7C5F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AF55E9B-CCDC-4C40-A71A-C9F6C6C96A0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01B5A11-2B70-4F72-98E6-BAB0283A304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61EBB29-13A6-48D8-A8C0-AE2E2AA6CA7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76C9641-6303-41CA-B1D6-5BA413A6668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A8524A59-FC02-40DA-A963-789BABFAE1B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F2D65D7-73DA-4E68-A596-51CD8046F8B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BF430B9-60BD-4988-9FA0-E68FC6096AD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2A72CA2-3D6B-426F-A3B0-7B8B898AAE0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03D18D79-DC12-4AC2-B423-EBCA12DA19E6}"/>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1450C50-E84A-461A-B2C9-59408B2015D4}"/>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CD563-056B-4C4E-B760-0B8914E1D811}"/>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D752BDDC-3DD7-4142-ADFA-CF561BD360F8}"/>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A6DD8B5-210D-4301-BA1A-CCE3FC92CB44}"/>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6E108CBD-A568-43D8-94CC-B434CBC3805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F99703D-4E2E-4F5E-969E-63159B02F3B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3E0DD2D-6DE2-4D27-B94D-126AD03892FE}"/>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4AB4451-51E7-4CBF-B026-AAC2D1A6FA06}"/>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EF963CA-02A3-4647-BF8B-9B1B09592BB6}"/>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EB5A139C-2B89-4E4E-ADD5-AD062901C4E9}"/>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517CBD2F-BF85-43F5-81D6-960C4B18FED8}"/>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EC705CA6-2BAA-48B1-B89A-78D244E73AA8}"/>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4826EF7-29FA-45B4-9F15-82917C1CF9E3}"/>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E409E19-1BBF-4B5D-B394-79484B07402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56B2D1BF-9F8F-4F4F-B0C5-94F5A727FB3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9D2AA70-BA68-4BE1-940F-48AEE3A48D2A}"/>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128CB181-7A53-4BA9-96AB-FC7D840394CD}"/>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65E4F669-34A7-4EC4-BACE-A6AC82969ABF}"/>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6B23C6E7-72AC-4791-9B9C-2AF7B8B3CBFE}"/>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2A0C9F58-2FB0-41FC-B1CB-FDC51804DF20}"/>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5D208A3D-2069-4C2C-8368-35F341415701}"/>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33774FF7-02F9-4E0A-864E-8F75B1704694}"/>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A9979D1C-EF16-4669-BA9A-7BF70646A640}"/>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77982054-CD59-4120-A2F8-6FFEA2A06077}"/>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3096E64B-3A08-4480-AAF7-25C01BFC32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322E40E-98B3-46AE-92DF-74EEDF403F1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08CA790D-8E46-4A79-84EB-34A7B6112526}"/>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94B89464-F8A0-4C19-8875-F5D032363A89}"/>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20D8BF3-57E1-41D6-B580-058F4760EB4C}"/>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AF727C36-A35D-4C67-B482-0B5571CE7588}"/>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D68F0FA-4EE9-45B5-9D0E-CF9D4E5388C6}"/>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F12FE766-7472-4CFA-9A34-B878294149F3}"/>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15C25E42-FF30-46DF-B64D-95476EA2F253}"/>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CFBB041B-3972-4EAE-BDF2-40727C8F064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ACF16644-701D-43F0-BC1B-7AF24BE5AB7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C3821FB6-B8E8-4CA7-9106-1C7FEC36583E}"/>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156D73BC-FC92-4CDA-8A6C-B15C990F7F8E}"/>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713A12B4-BCAE-4835-9D63-1CA999F8DE80}"/>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2D476362-EC5F-46DE-98C1-52892D74D787}"/>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9069042-B1ED-4C70-BBBD-6B36736E2BF3}"/>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70E34527-D6BA-47C8-A3D2-3351E4B34C14}"/>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A90AEEB2-7735-43D7-8C62-EF58C0AD2D1B}"/>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B01D3B29-47B4-4824-A8E9-5113FB1138C1}"/>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C61A80D-36E3-430B-B962-B569F0AB5D26}"/>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1D4B072B-673D-4F3B-8EDB-1478A394FB2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FF95C7E1-3214-4914-A0D0-232E1810C93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E03F5272-F425-4B17-91D6-B7105E2A9754}"/>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64EDD31E-0EAB-4C73-A991-2537BF2F498A}"/>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FCC7B591-8B48-499E-AA5F-188C8567BFA3}"/>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3EF5F9B2-659C-4DA0-9578-AD82A38AC09C}"/>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DE2461EA-4FA0-48D7-A007-3380EBECC39B}"/>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382B27B7-DC28-4368-A3A1-A56ED558962F}"/>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0619A841-B763-4FA9-8AC3-115680F0741F}"/>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646D7A25-49C8-4344-A760-B8BE2E8FC498}"/>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7BCBA9A8-2A84-4E5D-BE77-341E122D17D5}"/>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F5AAB129-E122-4D35-B671-61201A58ECFB}"/>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DB67C953-C534-4FE2-87DD-7294A26077BD}"/>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8D1BBEBD-C369-454F-8889-0CE1800534BA}"/>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95D04849-016D-485E-B2D7-0FA0B8374E66}"/>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E473CDBE-4353-4D95-B386-90BF788754ED}"/>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F0154B3B-AAD8-451C-9001-84922718FC10}"/>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B43EACFD-5706-4A5E-BC93-ED6E38398AC1}"/>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A18D00E8-D5BF-4F20-817C-E7FEF1B237D5}"/>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882821F-344E-41F3-BA80-9517D34DBB78}"/>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582F7F1D-D0FA-4ED6-822A-AE763FBE7BAE}"/>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4C89E62-5196-410B-8A73-D3C9657455B4}"/>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B9A10012-48B8-47C1-A134-CC3123907D60}"/>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CF31954C-E2A6-4101-8B70-369F377F9F35}"/>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19C0819A-1401-481D-9E54-2564E62DD0BF}"/>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0915FC1-50C0-4D57-860D-7A54087652C6}"/>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3374D361-7BA8-47F7-9CB4-38AFC3A85A66}"/>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AE8BAA31-E66C-42D0-967C-4EA4C3E96CDD}"/>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C45044BB-5EE8-4D96-B346-A6BCB04E0BC9}"/>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BE8E08D0-383D-415E-BEDF-5787660FB1B5}"/>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6F8D1998-F04A-446A-8863-E921D8054943}"/>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72925D64-645C-4A9D-A866-01ECFB2EE221}"/>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528C9634-609D-4151-8704-7736DDFDDD51}"/>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301650F9-0780-418B-AD8C-061ED35E32F5}"/>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F26C9343-C911-4C1C-821F-0BC0E0F1D3F6}"/>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6EDE9C45-D757-48EC-BBF8-DAFCC0FBC4E7}"/>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3F6CD1B0-40C2-429C-A962-0765F28000C2}"/>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A54791F5-3663-4CC0-8D5D-BC56BD4DA3EE}"/>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3887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2593137235"/>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4</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Improve your virtual agent using entities, variables and topic redirects</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kern="1200">
                          <a:solidFill>
                            <a:schemeClr val="tx1"/>
                          </a:solidFill>
                          <a:latin typeface="+mn-lt"/>
                          <a:ea typeface="+mn-ea"/>
                          <a:cs typeface="+mn-cs"/>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tegrate with prebuilt Power Automate flows</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b="1">
                          <a:solidFill>
                            <a:schemeClr val="bg1"/>
                          </a:solidFill>
                        </a:rPr>
                        <a:t>7</a:t>
                      </a:r>
                      <a:endParaRPr lang="en-US" sz="1100" b="1">
                        <a:solidFill>
                          <a:schemeClr val="bg1"/>
                        </a:solidFill>
                      </a:endParaRP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Hand off to support agent– no lab</a:t>
                      </a:r>
                    </a:p>
                  </a:txBody>
                  <a:tcPr marL="18180" marR="10908" marT="10908" marB="10908" anchor="ctr">
                    <a:solidFill>
                      <a:srgbClr val="0B556A"/>
                    </a:solidFill>
                  </a:tcPr>
                </a:tc>
                <a:tc>
                  <a:txBody>
                    <a:bodyPr/>
                    <a:lstStyle/>
                    <a:p>
                      <a:r>
                        <a:rPr lang="en-US" sz="1100" b="1">
                          <a:solidFill>
                            <a:schemeClr val="bg1"/>
                          </a:solidFill>
                        </a:rPr>
                        <a:t>20 minutes</a:t>
                      </a:r>
                    </a:p>
                  </a:txBody>
                  <a:tcPr marL="18180" marR="10908" marT="10908" marB="10908" anchor="ctr">
                    <a:solidFill>
                      <a:srgbClr val="0B556A"/>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116367989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B5BED983-9FB8-4645-9BFC-DB5EA04ABC59}"/>
              </a:ext>
            </a:extLst>
          </p:cNvPr>
          <p:cNvSpPr>
            <a:spLocks noGrp="1"/>
          </p:cNvSpPr>
          <p:nvPr>
            <p:ph type="title"/>
          </p:nvPr>
        </p:nvSpPr>
        <p:spPr/>
        <p:txBody>
          <a:bodyPr/>
          <a:lstStyle/>
          <a:p>
            <a:pPr lvl="0"/>
            <a:r>
              <a:rPr lang="en-US"/>
              <a:t>Virtual Agents and Human Agents Enhance Each Other</a:t>
            </a:r>
          </a:p>
        </p:txBody>
      </p:sp>
      <p:sp>
        <p:nvSpPr>
          <p:cNvPr id="9" name="Freeform: Shape 8">
            <a:extLst>
              <a:ext uri="{FF2B5EF4-FFF2-40B4-BE49-F238E27FC236}">
                <a16:creationId xmlns:a16="http://schemas.microsoft.com/office/drawing/2014/main" id="{05745740-F4F6-44A7-875D-9B2B772EA06F}"/>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3A7D3035-4A0E-4A31-8791-C9205EEDF505}"/>
              </a:ext>
            </a:extLst>
          </p:cNvPr>
          <p:cNvGrpSpPr/>
          <p:nvPr/>
        </p:nvGrpSpPr>
        <p:grpSpPr>
          <a:xfrm>
            <a:off x="505239" y="2130248"/>
            <a:ext cx="6561862" cy="4138821"/>
            <a:chOff x="505239" y="2130248"/>
            <a:chExt cx="6561862" cy="4138821"/>
          </a:xfrm>
        </p:grpSpPr>
        <p:sp>
          <p:nvSpPr>
            <p:cNvPr id="10" name="Text Placeholder 1">
              <a:extLst>
                <a:ext uri="{FF2B5EF4-FFF2-40B4-BE49-F238E27FC236}">
                  <a16:creationId xmlns:a16="http://schemas.microsoft.com/office/drawing/2014/main" id="{6CDB1702-BB9C-4500-ABA3-C25527381F41}"/>
                </a:ext>
              </a:extLst>
            </p:cNvPr>
            <p:cNvSpPr txBox="1">
              <a:spLocks/>
            </p:cNvSpPr>
            <p:nvPr/>
          </p:nvSpPr>
          <p:spPr>
            <a:xfrm>
              <a:off x="1375928" y="4199658"/>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Leverage the best of both</a:t>
              </a:r>
            </a:p>
          </p:txBody>
        </p:sp>
        <p:cxnSp>
          <p:nvCxnSpPr>
            <p:cNvPr id="11" name="Straight Connector 10">
              <a:extLst>
                <a:ext uri="{FF2B5EF4-FFF2-40B4-BE49-F238E27FC236}">
                  <a16:creationId xmlns:a16="http://schemas.microsoft.com/office/drawing/2014/main" id="{7A547EC5-3E79-4EC5-A05A-A368AB23031F}"/>
                </a:ext>
              </a:extLst>
            </p:cNvPr>
            <p:cNvCxnSpPr/>
            <p:nvPr/>
          </p:nvCxnSpPr>
          <p:spPr>
            <a:xfrm>
              <a:off x="1375928" y="36266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1">
              <a:extLst>
                <a:ext uri="{FF2B5EF4-FFF2-40B4-BE49-F238E27FC236}">
                  <a16:creationId xmlns:a16="http://schemas.microsoft.com/office/drawing/2014/main" id="{FF8C6FEA-DB93-4D2C-AE16-0F950FA392C5}"/>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Power Virtual Agents easily partners with your human agents</a:t>
              </a:r>
            </a:p>
          </p:txBody>
        </p:sp>
        <p:sp>
          <p:nvSpPr>
            <p:cNvPr id="14" name="Text Placeholder 1">
              <a:extLst>
                <a:ext uri="{FF2B5EF4-FFF2-40B4-BE49-F238E27FC236}">
                  <a16:creationId xmlns:a16="http://schemas.microsoft.com/office/drawing/2014/main" id="{D6FCC523-4371-4968-BEE0-5C9B3F58368F}"/>
                </a:ext>
              </a:extLst>
            </p:cNvPr>
            <p:cNvSpPr txBox="1">
              <a:spLocks/>
            </p:cNvSpPr>
            <p:nvPr/>
          </p:nvSpPr>
          <p:spPr>
            <a:xfrm>
              <a:off x="1375928" y="5530405"/>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Create the ultimate experiences for your customers </a:t>
              </a:r>
            </a:p>
          </p:txBody>
        </p:sp>
        <p:cxnSp>
          <p:nvCxnSpPr>
            <p:cNvPr id="15" name="Straight Connector 14">
              <a:extLst>
                <a:ext uri="{FF2B5EF4-FFF2-40B4-BE49-F238E27FC236}">
                  <a16:creationId xmlns:a16="http://schemas.microsoft.com/office/drawing/2014/main" id="{0C98A299-2002-487B-974C-EB29F19CA28A}"/>
                </a:ext>
              </a:extLst>
            </p:cNvPr>
            <p:cNvCxnSpPr/>
            <p:nvPr/>
          </p:nvCxnSpPr>
          <p:spPr>
            <a:xfrm>
              <a:off x="1375928" y="514203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Commitments_EC4D" title="Icon of a handshake">
              <a:extLst>
                <a:ext uri="{FF2B5EF4-FFF2-40B4-BE49-F238E27FC236}">
                  <a16:creationId xmlns:a16="http://schemas.microsoft.com/office/drawing/2014/main" id="{95624D64-FB5A-4E83-B88D-8F7757053E28}"/>
                </a:ext>
              </a:extLst>
            </p:cNvPr>
            <p:cNvSpPr>
              <a:spLocks noChangeAspect="1" noEditPoints="1"/>
            </p:cNvSpPr>
            <p:nvPr/>
          </p:nvSpPr>
          <p:spPr bwMode="auto">
            <a:xfrm>
              <a:off x="524091" y="2414541"/>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5" name="arrow_16" title="Icon of two arrows that crisscross">
              <a:extLst>
                <a:ext uri="{FF2B5EF4-FFF2-40B4-BE49-F238E27FC236}">
                  <a16:creationId xmlns:a16="http://schemas.microsoft.com/office/drawing/2014/main" id="{24AAC043-1D8B-4D3A-B8D8-EE2981700FDC}"/>
                </a:ext>
              </a:extLst>
            </p:cNvPr>
            <p:cNvSpPr>
              <a:spLocks noChangeAspect="1" noEditPoints="1"/>
            </p:cNvSpPr>
            <p:nvPr/>
          </p:nvSpPr>
          <p:spPr bwMode="auto">
            <a:xfrm>
              <a:off x="505239" y="4158420"/>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6" name="Freeform 96" title="Icon of a gear with a wrench">
              <a:extLst>
                <a:ext uri="{FF2B5EF4-FFF2-40B4-BE49-F238E27FC236}">
                  <a16:creationId xmlns:a16="http://schemas.microsoft.com/office/drawing/2014/main" id="{F0CE6A1C-CC0C-446C-9918-3C86989522C5}"/>
                </a:ext>
              </a:extLst>
            </p:cNvPr>
            <p:cNvSpPr>
              <a:spLocks noChangeAspect="1" noEditPoints="1"/>
            </p:cNvSpPr>
            <p:nvPr/>
          </p:nvSpPr>
          <p:spPr bwMode="auto">
            <a:xfrm>
              <a:off x="538404" y="5621654"/>
              <a:ext cx="604032" cy="55616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07DF1912-B324-4014-A7A8-011133B4063A}"/>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A7F3CA7-4FEB-4EDA-A0DC-AF327BF60A19}"/>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A screenshot of a social media post&#10;&#10;Description automatically generated">
              <a:extLst>
                <a:ext uri="{FF2B5EF4-FFF2-40B4-BE49-F238E27FC236}">
                  <a16:creationId xmlns:a16="http://schemas.microsoft.com/office/drawing/2014/main" id="{3E111F68-555E-4413-BDFD-0D2D5334EF2F}"/>
                </a:ext>
              </a:extLst>
            </p:cNvPr>
            <p:cNvPicPr>
              <a:picLocks noChangeAspect="1"/>
            </p:cNvPicPr>
            <p:nvPr/>
          </p:nvPicPr>
          <p:blipFill rotWithShape="1">
            <a:blip r:embed="rId3"/>
            <a:srcRect l="612" t="-1" r="4309" b="-53"/>
            <a:stretch/>
          </p:blipFill>
          <p:spPr>
            <a:xfrm>
              <a:off x="6371199"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210159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1.04167E-6 -7.40741E-7 L -0.03451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5995" y="620428"/>
            <a:ext cx="11306469" cy="492443"/>
          </a:xfrm>
        </p:spPr>
        <p:txBody>
          <a:bodyPr/>
          <a:lstStyle/>
          <a:p>
            <a:pPr>
              <a:spcAft>
                <a:spcPts val="1765"/>
              </a:spcAft>
            </a:pPr>
            <a:r>
              <a:rPr lang="en-US" spc="0" dirty="0"/>
              <a:t>Configure and connect a bot to a human</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373127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61" b="1" spc="0" dirty="0">
                <a:gradFill>
                  <a:gsLst>
                    <a:gs pos="83000">
                      <a:schemeClr val="tx2"/>
                    </a:gs>
                    <a:gs pos="100000">
                      <a:schemeClr val="tx2"/>
                    </a:gs>
                  </a:gsLst>
                  <a:lin ang="5400000" scaled="1"/>
                </a:gradFill>
                <a:latin typeface="+mn-lt"/>
              </a:rPr>
              <a:t>Hand-off to Dynamics 365 Omnichannel for Customer Service</a:t>
            </a:r>
          </a:p>
          <a:p>
            <a:pPr>
              <a:spcAft>
                <a:spcPts val="588"/>
              </a:spcAft>
            </a:pPr>
            <a:r>
              <a:rPr lang="en-US" sz="1961" spc="0" dirty="0">
                <a:latin typeface="+mn-lt"/>
                <a:cs typeface="Segoe UI" panose="020B0502040204020203" pitchFamily="34" charset="0"/>
              </a:rPr>
              <a:t>IT admins can configure hand-off to live chat using Dynamics 365 Omnichannel for Customer Service</a:t>
            </a:r>
          </a:p>
          <a:p>
            <a:endParaRPr lang="en-US" sz="1961" b="1" spc="0" dirty="0">
              <a:gradFill>
                <a:gsLst>
                  <a:gs pos="83000">
                    <a:schemeClr val="tx2"/>
                  </a:gs>
                  <a:gs pos="100000">
                    <a:schemeClr val="tx2"/>
                  </a:gs>
                </a:gsLst>
                <a:lin ang="5400000" scaled="1"/>
              </a:gradFill>
              <a:latin typeface="+mn-lt"/>
            </a:endParaRPr>
          </a:p>
          <a:p>
            <a:r>
              <a:rPr lang="en-US" sz="1961" b="1" spc="0" dirty="0">
                <a:gradFill>
                  <a:gsLst>
                    <a:gs pos="83000">
                      <a:schemeClr val="tx2"/>
                    </a:gs>
                    <a:gs pos="100000">
                      <a:schemeClr val="tx2"/>
                    </a:gs>
                  </a:gsLst>
                  <a:lin ang="5400000" scaled="1"/>
                </a:gradFill>
                <a:latin typeface="+mn-lt"/>
              </a:rPr>
              <a:t>Hand-off to generic live-chat provider</a:t>
            </a:r>
          </a:p>
          <a:p>
            <a:pPr>
              <a:spcAft>
                <a:spcPts val="588"/>
              </a:spcAft>
            </a:pPr>
            <a:r>
              <a:rPr lang="en-US" sz="1765" spc="0" dirty="0">
                <a:latin typeface="+mn-lt"/>
                <a:cs typeface="Segoe UI" panose="020B0502040204020203" pitchFamily="34" charset="0"/>
              </a:rPr>
              <a:t>IT admins can configure hand-off to live chat using an interface and sample code</a:t>
            </a:r>
          </a:p>
          <a:p>
            <a:pPr>
              <a:spcAft>
                <a:spcPts val="588"/>
              </a:spcAft>
            </a:pPr>
            <a:endParaRPr lang="en-US" sz="1765" spc="0" dirty="0">
              <a:latin typeface="+mn-lt"/>
              <a:cs typeface="Segoe UI" panose="020B0502040204020203" pitchFamily="34" charset="0"/>
            </a:endParaRPr>
          </a:p>
          <a:p>
            <a:pPr>
              <a:spcAft>
                <a:spcPts val="588"/>
              </a:spcAft>
            </a:pPr>
            <a:endParaRPr lang="en-US" sz="1765" spc="0" dirty="0">
              <a:latin typeface="+mn-lt"/>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28C45DB0-735F-9D4F-BDFB-78AB16793A5E}"/>
              </a:ext>
            </a:extLst>
          </p:cNvPr>
          <p:cNvGrpSpPr/>
          <p:nvPr/>
        </p:nvGrpSpPr>
        <p:grpSpPr>
          <a:xfrm>
            <a:off x="452808" y="750208"/>
            <a:ext cx="11286384" cy="4736758"/>
            <a:chOff x="-749572" y="533624"/>
            <a:chExt cx="13219885" cy="5447295"/>
          </a:xfrm>
        </p:grpSpPr>
        <p:sp>
          <p:nvSpPr>
            <p:cNvPr id="18" name="TextBox 17">
              <a:extLst>
                <a:ext uri="{FF2B5EF4-FFF2-40B4-BE49-F238E27FC236}">
                  <a16:creationId xmlns:a16="http://schemas.microsoft.com/office/drawing/2014/main" id="{3153A03A-0E97-2B42-AD32-A61CCED79406}"/>
                </a:ext>
              </a:extLst>
            </p:cNvPr>
            <p:cNvSpPr txBox="1"/>
            <p:nvPr/>
          </p:nvSpPr>
          <p:spPr>
            <a:xfrm>
              <a:off x="2346435" y="4140331"/>
              <a:ext cx="1415990" cy="671991"/>
            </a:xfrm>
            <a:prstGeom prst="rect">
              <a:avLst/>
            </a:prstGeom>
            <a:noFill/>
          </p:spPr>
          <p:txBody>
            <a:bodyPr wrap="none" lIns="182854" tIns="146284" rIns="182854" bIns="146284" rtlCol="0">
              <a:spAutoFit/>
            </a:bodyPr>
            <a:lstStyle/>
            <a:p>
              <a:pPr algn="r" defTabSz="914225">
                <a:lnSpc>
                  <a:spcPct val="90000"/>
                </a:lnSpc>
                <a:spcAft>
                  <a:spcPts val="600"/>
                </a:spcAft>
                <a:defRPr/>
              </a:pPr>
              <a:r>
                <a:rPr lang="en-US" sz="1400" b="1">
                  <a:solidFill>
                    <a:srgbClr val="3A7F72"/>
                  </a:solidFill>
                  <a:latin typeface="Segoe UI" panose="020B0502040204020203" pitchFamily="34" charset="0"/>
                  <a:cs typeface="Segoe UI" panose="020B0502040204020203" pitchFamily="34" charset="0"/>
                </a:rPr>
                <a:t>Channels</a:t>
              </a:r>
            </a:p>
          </p:txBody>
        </p:sp>
        <p:sp>
          <p:nvSpPr>
            <p:cNvPr id="20" name="TextBox 19">
              <a:extLst>
                <a:ext uri="{FF2B5EF4-FFF2-40B4-BE49-F238E27FC236}">
                  <a16:creationId xmlns:a16="http://schemas.microsoft.com/office/drawing/2014/main" id="{A5BA1B26-DC57-BC41-86B4-E792BC18E0F2}"/>
                </a:ext>
              </a:extLst>
            </p:cNvPr>
            <p:cNvSpPr txBox="1"/>
            <p:nvPr/>
          </p:nvSpPr>
          <p:spPr>
            <a:xfrm>
              <a:off x="5274568" y="533624"/>
              <a:ext cx="1644657" cy="5627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400" b="1">
                  <a:solidFill>
                    <a:srgbClr val="3A7F72"/>
                  </a:solidFill>
                  <a:latin typeface="Segoe UI" panose="020B0502040204020203" pitchFamily="34" charset="0"/>
                  <a:cs typeface="Segoe UI" panose="020B0502040204020203" pitchFamily="34" charset="0"/>
                </a:rPr>
                <a:t>Productivity</a:t>
              </a:r>
            </a:p>
          </p:txBody>
        </p:sp>
        <p:sp>
          <p:nvSpPr>
            <p:cNvPr id="21" name="TextBox 20">
              <a:extLst>
                <a:ext uri="{FF2B5EF4-FFF2-40B4-BE49-F238E27FC236}">
                  <a16:creationId xmlns:a16="http://schemas.microsoft.com/office/drawing/2014/main" id="{DC825D18-7930-7843-BB14-A674F68EF75F}"/>
                </a:ext>
              </a:extLst>
            </p:cNvPr>
            <p:cNvSpPr txBox="1"/>
            <p:nvPr/>
          </p:nvSpPr>
          <p:spPr>
            <a:xfrm>
              <a:off x="8146071" y="4058366"/>
              <a:ext cx="1590206" cy="5627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400" b="1">
                  <a:solidFill>
                    <a:srgbClr val="3A7F72"/>
                  </a:solidFill>
                  <a:latin typeface="Segoe UI" panose="020B0502040204020203" pitchFamily="34" charset="0"/>
                  <a:cs typeface="Segoe UI" panose="020B0502040204020203" pitchFamily="34" charset="0"/>
                </a:rPr>
                <a:t>Intelligence</a:t>
              </a:r>
            </a:p>
          </p:txBody>
        </p:sp>
        <p:sp>
          <p:nvSpPr>
            <p:cNvPr id="3" name="Oval 2">
              <a:extLst>
                <a:ext uri="{FF2B5EF4-FFF2-40B4-BE49-F238E27FC236}">
                  <a16:creationId xmlns:a16="http://schemas.microsoft.com/office/drawing/2014/main" id="{F0764192-3624-5E46-A123-89B3C048FC91}"/>
                </a:ext>
              </a:extLst>
            </p:cNvPr>
            <p:cNvSpPr/>
            <p:nvPr/>
          </p:nvSpPr>
          <p:spPr bwMode="auto">
            <a:xfrm>
              <a:off x="4028702" y="2211743"/>
              <a:ext cx="3769176" cy="3769176"/>
            </a:xfrm>
            <a:prstGeom prst="ellipse">
              <a:avLst/>
            </a:prstGeom>
            <a:noFill/>
            <a:ln w="19050">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1F33FB10-34AF-A448-8D37-88644B0E893C}"/>
                </a:ext>
              </a:extLst>
            </p:cNvPr>
            <p:cNvSpPr txBox="1"/>
            <p:nvPr/>
          </p:nvSpPr>
          <p:spPr>
            <a:xfrm>
              <a:off x="8156318" y="4410663"/>
              <a:ext cx="4313995" cy="1133167"/>
            </a:xfrm>
            <a:prstGeom prst="rect">
              <a:avLst/>
            </a:prstGeom>
            <a:noFill/>
          </p:spPr>
          <p:txBody>
            <a:bodyPr wrap="square" lIns="182854" tIns="146284" rIns="182854" bIns="146284" rtlCol="0">
              <a:spAutoFit/>
            </a:bodyPr>
            <a:lstStyle/>
            <a:p>
              <a:pPr>
                <a:spcAft>
                  <a:spcPts val="100"/>
                </a:spcAft>
              </a:pPr>
              <a:r>
                <a:rPr lang="en-US" sz="1100">
                  <a:gradFill>
                    <a:gsLst>
                      <a:gs pos="2917">
                        <a:schemeClr val="tx1"/>
                      </a:gs>
                      <a:gs pos="30000">
                        <a:schemeClr val="tx1"/>
                      </a:gs>
                    </a:gsLst>
                    <a:lin ang="5400000" scaled="0"/>
                  </a:gradFill>
                </a:rPr>
                <a:t>Determine customer satisfaction automatically in real time with Sentiment Analysis. Get actionable insights from Interaction trends across channels, Agent performance &amp; utilization data</a:t>
              </a:r>
            </a:p>
          </p:txBody>
        </p:sp>
        <p:sp>
          <p:nvSpPr>
            <p:cNvPr id="27" name="TextBox 26">
              <a:extLst>
                <a:ext uri="{FF2B5EF4-FFF2-40B4-BE49-F238E27FC236}">
                  <a16:creationId xmlns:a16="http://schemas.microsoft.com/office/drawing/2014/main" id="{EC4DD538-2464-2E4E-AFC4-B6316759F66C}"/>
                </a:ext>
              </a:extLst>
            </p:cNvPr>
            <p:cNvSpPr txBox="1"/>
            <p:nvPr/>
          </p:nvSpPr>
          <p:spPr>
            <a:xfrm>
              <a:off x="5274568" y="838750"/>
              <a:ext cx="5402087" cy="1133167"/>
            </a:xfrm>
            <a:prstGeom prst="rect">
              <a:avLst/>
            </a:prstGeom>
            <a:noFill/>
          </p:spPr>
          <p:txBody>
            <a:bodyPr wrap="square" lIns="182854" tIns="146284" rIns="182854" bIns="146284" rtlCol="0">
              <a:spAutoFit/>
            </a:bodyPr>
            <a:lstStyle/>
            <a:p>
              <a:pPr>
                <a:spcAft>
                  <a:spcPts val="100"/>
                </a:spcAft>
              </a:pPr>
              <a:r>
                <a:rPr lang="en-US" sz="1100">
                  <a:gradFill>
                    <a:gsLst>
                      <a:gs pos="2917">
                        <a:schemeClr val="tx1"/>
                      </a:gs>
                      <a:gs pos="30000">
                        <a:schemeClr val="tx1"/>
                      </a:gs>
                    </a:gsLst>
                    <a:lin ang="5400000" scaled="0"/>
                  </a:gradFill>
                </a:rPr>
                <a:t>Multisession, Unified, Contextually rich experience for agents &amp; Supervisors with enhanced service management capabilities for routing, work distribution and </a:t>
              </a:r>
              <a:r>
                <a:rPr lang="en-US" sz="1100" b="1">
                  <a:gradFill>
                    <a:gsLst>
                      <a:gs pos="2917">
                        <a:schemeClr val="tx1"/>
                      </a:gs>
                      <a:gs pos="30000">
                        <a:schemeClr val="tx1"/>
                      </a:gs>
                    </a:gsLst>
                    <a:lin ang="5400000" scaled="0"/>
                  </a:gradFill>
                </a:rPr>
                <a:t>new productivity tools.</a:t>
              </a:r>
            </a:p>
            <a:p>
              <a:pPr>
                <a:spcAft>
                  <a:spcPts val="100"/>
                </a:spcAft>
              </a:pPr>
              <a:endParaRPr lang="en-US" sz="1100">
                <a:gradFill>
                  <a:gsLst>
                    <a:gs pos="2917">
                      <a:schemeClr val="tx1"/>
                    </a:gs>
                    <a:gs pos="30000">
                      <a:schemeClr val="tx1"/>
                    </a:gs>
                  </a:gsLst>
                  <a:lin ang="5400000" scaled="0"/>
                </a:gradFill>
              </a:endParaRPr>
            </a:p>
          </p:txBody>
        </p:sp>
        <p:sp>
          <p:nvSpPr>
            <p:cNvPr id="29" name="TextBox 28">
              <a:extLst>
                <a:ext uri="{FF2B5EF4-FFF2-40B4-BE49-F238E27FC236}">
                  <a16:creationId xmlns:a16="http://schemas.microsoft.com/office/drawing/2014/main" id="{62D32E60-446F-B841-85B8-3F7F49020E4B}"/>
                </a:ext>
              </a:extLst>
            </p:cNvPr>
            <p:cNvSpPr txBox="1"/>
            <p:nvPr/>
          </p:nvSpPr>
          <p:spPr>
            <a:xfrm>
              <a:off x="-749572" y="4385015"/>
              <a:ext cx="4511998" cy="1118419"/>
            </a:xfrm>
            <a:prstGeom prst="rect">
              <a:avLst/>
            </a:prstGeom>
            <a:noFill/>
          </p:spPr>
          <p:txBody>
            <a:bodyPr wrap="square" lIns="182854" tIns="146284" rIns="182854" bIns="146284" rtlCol="0">
              <a:spAutoFit/>
            </a:bodyPr>
            <a:lstStyle/>
            <a:p>
              <a:pPr algn="r">
                <a:spcAft>
                  <a:spcPts val="100"/>
                </a:spcAft>
              </a:pPr>
              <a:r>
                <a:rPr lang="en-US" sz="1100" dirty="0">
                  <a:gradFill>
                    <a:gsLst>
                      <a:gs pos="2917">
                        <a:schemeClr val="tx1"/>
                      </a:gs>
                      <a:gs pos="30000">
                        <a:schemeClr val="tx1"/>
                      </a:gs>
                    </a:gsLst>
                    <a:lin ang="5400000" scaled="0"/>
                  </a:gradFill>
                </a:rPr>
                <a:t>Provide personalized service to customers from a channel of their choice – Chat, SMS. Plugin a bot to handle routine requests and free your agents to work on complex issues</a:t>
              </a:r>
            </a:p>
          </p:txBody>
        </p:sp>
        <p:grpSp>
          <p:nvGrpSpPr>
            <p:cNvPr id="42" name="Group 41">
              <a:extLst>
                <a:ext uri="{FF2B5EF4-FFF2-40B4-BE49-F238E27FC236}">
                  <a16:creationId xmlns:a16="http://schemas.microsoft.com/office/drawing/2014/main" id="{8445124C-BF97-274F-8F86-37B604FE2127}"/>
                </a:ext>
              </a:extLst>
            </p:cNvPr>
            <p:cNvGrpSpPr/>
            <p:nvPr/>
          </p:nvGrpSpPr>
          <p:grpSpPr>
            <a:xfrm>
              <a:off x="3697416" y="4058366"/>
              <a:ext cx="808989" cy="841004"/>
              <a:chOff x="3697416" y="4058366"/>
              <a:chExt cx="808989" cy="841004"/>
            </a:xfrm>
          </p:grpSpPr>
          <p:sp>
            <p:nvSpPr>
              <p:cNvPr id="26" name="Oval 25">
                <a:extLst>
                  <a:ext uri="{FF2B5EF4-FFF2-40B4-BE49-F238E27FC236}">
                    <a16:creationId xmlns:a16="http://schemas.microsoft.com/office/drawing/2014/main" id="{6F226AFA-CF8F-5F4D-8E4B-1248E3AC3354}"/>
                  </a:ext>
                </a:extLst>
              </p:cNvPr>
              <p:cNvSpPr/>
              <p:nvPr/>
            </p:nvSpPr>
            <p:spPr bwMode="auto">
              <a:xfrm>
                <a:off x="3697416" y="4058366"/>
                <a:ext cx="808989" cy="84100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00">
                  <a:solidFill>
                    <a:schemeClr val="bg1"/>
                  </a:solidFill>
                  <a:latin typeface="Full MDL2 Assets" pitchFamily="2" charset="0"/>
                </a:endParaRPr>
              </a:p>
            </p:txBody>
          </p:sp>
          <p:pic>
            <p:nvPicPr>
              <p:cNvPr id="11" name="Picture 10">
                <a:extLst>
                  <a:ext uri="{FF2B5EF4-FFF2-40B4-BE49-F238E27FC236}">
                    <a16:creationId xmlns:a16="http://schemas.microsoft.com/office/drawing/2014/main" id="{4B8F2C1C-A1B0-A449-B7F9-55491F2D8711}"/>
                  </a:ext>
                </a:extLst>
              </p:cNvPr>
              <p:cNvPicPr>
                <a:picLocks noChangeAspect="1"/>
              </p:cNvPicPr>
              <p:nvPr/>
            </p:nvPicPr>
            <p:blipFill>
              <a:blip r:embed="rId3"/>
              <a:stretch>
                <a:fillRect/>
              </a:stretch>
            </p:blipFill>
            <p:spPr>
              <a:xfrm>
                <a:off x="3805557" y="4189015"/>
                <a:ext cx="580327" cy="580328"/>
              </a:xfrm>
              <a:prstGeom prst="rect">
                <a:avLst/>
              </a:prstGeom>
            </p:spPr>
          </p:pic>
        </p:grpSp>
        <p:sp>
          <p:nvSpPr>
            <p:cNvPr id="22" name="Oval 21">
              <a:extLst>
                <a:ext uri="{FF2B5EF4-FFF2-40B4-BE49-F238E27FC236}">
                  <a16:creationId xmlns:a16="http://schemas.microsoft.com/office/drawing/2014/main" id="{C9383606-F2AD-9C4E-8ADB-F537FF8FAFDC}"/>
                </a:ext>
              </a:extLst>
            </p:cNvPr>
            <p:cNvSpPr/>
            <p:nvPr/>
          </p:nvSpPr>
          <p:spPr bwMode="auto">
            <a:xfrm>
              <a:off x="7402251" y="4030821"/>
              <a:ext cx="808989" cy="810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00">
                <a:solidFill>
                  <a:schemeClr val="bg1"/>
                </a:solidFill>
                <a:latin typeface="Full MDL2 Assets" pitchFamily="2" charset="0"/>
              </a:endParaRPr>
            </a:p>
          </p:txBody>
        </p:sp>
        <p:grpSp>
          <p:nvGrpSpPr>
            <p:cNvPr id="44" name="Group 43">
              <a:extLst>
                <a:ext uri="{FF2B5EF4-FFF2-40B4-BE49-F238E27FC236}">
                  <a16:creationId xmlns:a16="http://schemas.microsoft.com/office/drawing/2014/main" id="{8A11087A-71BE-AF4C-A62D-516C9A076BBF}"/>
                </a:ext>
              </a:extLst>
            </p:cNvPr>
            <p:cNvGrpSpPr/>
            <p:nvPr/>
          </p:nvGrpSpPr>
          <p:grpSpPr>
            <a:xfrm>
              <a:off x="4391830" y="3329424"/>
              <a:ext cx="3139903" cy="1277443"/>
              <a:chOff x="4391830" y="3329424"/>
              <a:chExt cx="3139903" cy="1277443"/>
            </a:xfrm>
          </p:grpSpPr>
          <p:pic>
            <p:nvPicPr>
              <p:cNvPr id="33" name="Picture 32">
                <a:extLst>
                  <a:ext uri="{FF2B5EF4-FFF2-40B4-BE49-F238E27FC236}">
                    <a16:creationId xmlns:a16="http://schemas.microsoft.com/office/drawing/2014/main" id="{27DF6604-1F6F-5641-86E6-C43DF5EA2F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4568" y="3329424"/>
                <a:ext cx="1277443" cy="1277443"/>
              </a:xfrm>
              <a:prstGeom prst="rect">
                <a:avLst/>
              </a:prstGeom>
            </p:spPr>
          </p:pic>
          <p:sp>
            <p:nvSpPr>
              <p:cNvPr id="10" name="Rectangle 9">
                <a:extLst>
                  <a:ext uri="{FF2B5EF4-FFF2-40B4-BE49-F238E27FC236}">
                    <a16:creationId xmlns:a16="http://schemas.microsoft.com/office/drawing/2014/main" id="{98699719-9882-C449-B95B-DD7CD4072903}"/>
                  </a:ext>
                </a:extLst>
              </p:cNvPr>
              <p:cNvSpPr/>
              <p:nvPr/>
            </p:nvSpPr>
            <p:spPr>
              <a:xfrm>
                <a:off x="4391830" y="3836493"/>
                <a:ext cx="986060" cy="359270"/>
              </a:xfrm>
              <a:prstGeom prst="rect">
                <a:avLst/>
              </a:prstGeom>
            </p:spPr>
            <p:txBody>
              <a:bodyPr wrap="none">
                <a:spAutoFit/>
              </a:bodyPr>
              <a:lstStyle/>
              <a:p>
                <a:pPr algn="ctr">
                  <a:spcAft>
                    <a:spcPts val="100"/>
                  </a:spcAft>
                </a:pPr>
                <a:r>
                  <a:rPr lang="en-US" sz="1100">
                    <a:gradFill>
                      <a:gsLst>
                        <a:gs pos="2917">
                          <a:schemeClr val="tx1"/>
                        </a:gs>
                        <a:gs pos="30000">
                          <a:schemeClr val="tx1"/>
                        </a:gs>
                      </a:gsLst>
                      <a:lin ang="5400000" scaled="0"/>
                    </a:gradFill>
                  </a:rPr>
                  <a:t>Customer</a:t>
                </a:r>
              </a:p>
            </p:txBody>
          </p:sp>
          <p:sp>
            <p:nvSpPr>
              <p:cNvPr id="32" name="Rectangle 31">
                <a:extLst>
                  <a:ext uri="{FF2B5EF4-FFF2-40B4-BE49-F238E27FC236}">
                    <a16:creationId xmlns:a16="http://schemas.microsoft.com/office/drawing/2014/main" id="{360CFF7A-4A52-FE42-9101-8AC78DD47CEA}"/>
                  </a:ext>
                </a:extLst>
              </p:cNvPr>
              <p:cNvSpPr/>
              <p:nvPr/>
            </p:nvSpPr>
            <p:spPr>
              <a:xfrm>
                <a:off x="6405151" y="3747287"/>
                <a:ext cx="1126582" cy="609350"/>
              </a:xfrm>
              <a:prstGeom prst="rect">
                <a:avLst/>
              </a:prstGeom>
            </p:spPr>
            <p:txBody>
              <a:bodyPr wrap="none">
                <a:spAutoFit/>
              </a:bodyPr>
              <a:lstStyle/>
              <a:p>
                <a:pPr algn="ctr">
                  <a:spcAft>
                    <a:spcPts val="100"/>
                  </a:spcAft>
                </a:pPr>
                <a:r>
                  <a:rPr lang="en-US" sz="1100">
                    <a:gradFill>
                      <a:gsLst>
                        <a:gs pos="2917">
                          <a:schemeClr val="tx1"/>
                        </a:gs>
                        <a:gs pos="30000">
                          <a:schemeClr val="tx1"/>
                        </a:gs>
                      </a:gsLst>
                      <a:lin ang="5400000" scaled="0"/>
                    </a:gradFill>
                  </a:rPr>
                  <a:t>Agent, </a:t>
                </a:r>
              </a:p>
              <a:p>
                <a:pPr algn="ctr">
                  <a:spcAft>
                    <a:spcPts val="100"/>
                  </a:spcAft>
                </a:pPr>
                <a:r>
                  <a:rPr lang="en-US" sz="1100">
                    <a:gradFill>
                      <a:gsLst>
                        <a:gs pos="2917">
                          <a:schemeClr val="tx1"/>
                        </a:gs>
                        <a:gs pos="30000">
                          <a:schemeClr val="tx1"/>
                        </a:gs>
                      </a:gsLst>
                      <a:lin ang="5400000" scaled="0"/>
                    </a:gradFill>
                  </a:rPr>
                  <a:t>Supervisors</a:t>
                </a:r>
              </a:p>
            </p:txBody>
          </p:sp>
        </p:grpSp>
        <p:grpSp>
          <p:nvGrpSpPr>
            <p:cNvPr id="40" name="Group 39">
              <a:extLst>
                <a:ext uri="{FF2B5EF4-FFF2-40B4-BE49-F238E27FC236}">
                  <a16:creationId xmlns:a16="http://schemas.microsoft.com/office/drawing/2014/main" id="{20CA2014-B1F1-A648-A111-0D75F6B207D5}"/>
                </a:ext>
              </a:extLst>
            </p:cNvPr>
            <p:cNvGrpSpPr/>
            <p:nvPr/>
          </p:nvGrpSpPr>
          <p:grpSpPr>
            <a:xfrm>
              <a:off x="5552070" y="1837257"/>
              <a:ext cx="837888" cy="787781"/>
              <a:chOff x="5552070" y="1837257"/>
              <a:chExt cx="837888" cy="787781"/>
            </a:xfrm>
          </p:grpSpPr>
          <p:sp>
            <p:nvSpPr>
              <p:cNvPr id="23" name="Oval 22">
                <a:extLst>
                  <a:ext uri="{FF2B5EF4-FFF2-40B4-BE49-F238E27FC236}">
                    <a16:creationId xmlns:a16="http://schemas.microsoft.com/office/drawing/2014/main" id="{469331E6-C48B-A142-A3EF-AEF668081F43}"/>
                  </a:ext>
                </a:extLst>
              </p:cNvPr>
              <p:cNvSpPr/>
              <p:nvPr/>
            </p:nvSpPr>
            <p:spPr bwMode="auto">
              <a:xfrm>
                <a:off x="5552070" y="1837257"/>
                <a:ext cx="837888" cy="78778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00">
                  <a:solidFill>
                    <a:schemeClr val="bg1"/>
                  </a:solidFill>
                  <a:latin typeface="Full MDL2 Assets" pitchFamily="2" charset="0"/>
                </a:endParaRPr>
              </a:p>
            </p:txBody>
          </p:sp>
          <p:pic>
            <p:nvPicPr>
              <p:cNvPr id="16" name="Graphic 15">
                <a:extLst>
                  <a:ext uri="{FF2B5EF4-FFF2-40B4-BE49-F238E27FC236}">
                    <a16:creationId xmlns:a16="http://schemas.microsoft.com/office/drawing/2014/main" id="{0121036F-1905-B642-B80C-A1F6BB7129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73043" y="2018118"/>
                <a:ext cx="371799" cy="413109"/>
              </a:xfrm>
              <a:prstGeom prst="rect">
                <a:avLst/>
              </a:prstGeom>
            </p:spPr>
          </p:pic>
        </p:grpSp>
      </p:grpSp>
      <p:sp>
        <p:nvSpPr>
          <p:cNvPr id="30" name="Title 2">
            <a:extLst>
              <a:ext uri="{FF2B5EF4-FFF2-40B4-BE49-F238E27FC236}">
                <a16:creationId xmlns:a16="http://schemas.microsoft.com/office/drawing/2014/main" id="{02E2986A-C550-4616-A959-0F4313240126}"/>
              </a:ext>
            </a:extLst>
          </p:cNvPr>
          <p:cNvSpPr txBox="1">
            <a:spLocks/>
          </p:cNvSpPr>
          <p:nvPr/>
        </p:nvSpPr>
        <p:spPr>
          <a:xfrm>
            <a:off x="395764" y="328951"/>
            <a:ext cx="9317683" cy="553920"/>
          </a:xfrm>
          <a:prstGeom prst="rect">
            <a:avLst/>
          </a:prstGeom>
        </p:spPr>
        <p:txBody>
          <a:bodyPr vert="horz" wrap="square" lIns="146284" tIns="91427" rIns="146284" bIns="91427" rtlCol="0" anchor="t">
            <a:noAutofit/>
          </a:bodyPr>
          <a:lstStyle>
            <a:lvl1pPr algn="l" defTabSz="914192" rtl="0" eaLnBrk="1" latinLnBrk="0" hangingPunct="1">
              <a:lnSpc>
                <a:spcPct val="90000"/>
              </a:lnSpc>
              <a:spcBef>
                <a:spcPct val="0"/>
              </a:spcBef>
              <a:buNone/>
              <a:defRPr lang="en-US" sz="3600" b="0" kern="1200" cap="none" spc="-100" baseline="0" dirty="0">
                <a:ln w="3175">
                  <a:noFill/>
                </a:ln>
                <a:solidFill>
                  <a:schemeClr val="tx1">
                    <a:lumMod val="75000"/>
                  </a:schemeClr>
                </a:solidFill>
                <a:effectLst/>
                <a:latin typeface="+mj-lt"/>
                <a:ea typeface="+mn-ea"/>
                <a:cs typeface="Segoe UI" pitchFamily="34" charset="0"/>
              </a:defRPr>
            </a:lvl1pPr>
          </a:lstStyle>
          <a:p>
            <a:pPr defTabSz="914016">
              <a:defRPr/>
            </a:pPr>
            <a:r>
              <a:rPr lang="en-US" sz="3200" spc="-49" dirty="0">
                <a:gradFill>
                  <a:gsLst>
                    <a:gs pos="83000">
                      <a:schemeClr val="tx1"/>
                    </a:gs>
                    <a:gs pos="99000">
                      <a:schemeClr val="tx1"/>
                    </a:gs>
                  </a:gsLst>
                  <a:lin ang="5400000" scaled="1"/>
                </a:gradFill>
              </a:rPr>
              <a:t>Dynamics 365 Omnichannel for Customer Service</a:t>
            </a:r>
            <a:endParaRPr lang="en-US" sz="2800" dirty="0">
              <a:solidFill>
                <a:srgbClr val="515151"/>
              </a:solidFill>
              <a:latin typeface="Segoe UI Semibold"/>
            </a:endParaRPr>
          </a:p>
        </p:txBody>
      </p:sp>
      <p:sp>
        <p:nvSpPr>
          <p:cNvPr id="5" name="TextBox 4">
            <a:extLst>
              <a:ext uri="{FF2B5EF4-FFF2-40B4-BE49-F238E27FC236}">
                <a16:creationId xmlns:a16="http://schemas.microsoft.com/office/drawing/2014/main" id="{EF3CDCD4-4C4F-4713-B5AB-8BF05942E5A1}"/>
              </a:ext>
            </a:extLst>
          </p:cNvPr>
          <p:cNvSpPr txBox="1"/>
          <p:nvPr/>
        </p:nvSpPr>
        <p:spPr>
          <a:xfrm>
            <a:off x="1304396" y="6064349"/>
            <a:ext cx="2652813" cy="544765"/>
          </a:xfrm>
          <a:prstGeom prst="rect">
            <a:avLst/>
          </a:prstGeom>
        </p:spPr>
        <p:style>
          <a:lnRef idx="0">
            <a:schemeClr val="accent4"/>
          </a:lnRef>
          <a:fillRef idx="3">
            <a:schemeClr val="accent4"/>
          </a:fillRef>
          <a:effectRef idx="3">
            <a:schemeClr val="accent4"/>
          </a:effectRef>
          <a:fontRef idx="minor">
            <a:schemeClr val="lt1"/>
          </a:fontRef>
        </p:style>
        <p:txBody>
          <a:bodyPr wrap="square" lIns="182880" tIns="146304" rIns="182880" bIns="146304" rtlCol="0">
            <a:spAutoFit/>
          </a:bodyPr>
          <a:lstStyle/>
          <a:p>
            <a:pPr algn="ctr">
              <a:lnSpc>
                <a:spcPct val="90000"/>
              </a:lnSpc>
              <a:spcAft>
                <a:spcPts val="600"/>
              </a:spcAft>
            </a:pPr>
            <a:r>
              <a:rPr lang="en-US" b="1">
                <a:solidFill>
                  <a:schemeClr val="bg1"/>
                </a:solidFill>
              </a:rPr>
              <a:t>Convenient</a:t>
            </a:r>
          </a:p>
        </p:txBody>
      </p:sp>
      <p:sp>
        <p:nvSpPr>
          <p:cNvPr id="46" name="TextBox 45">
            <a:extLst>
              <a:ext uri="{FF2B5EF4-FFF2-40B4-BE49-F238E27FC236}">
                <a16:creationId xmlns:a16="http://schemas.microsoft.com/office/drawing/2014/main" id="{53F64BF5-AA47-4DB1-871F-170539B24241}"/>
              </a:ext>
            </a:extLst>
          </p:cNvPr>
          <p:cNvSpPr txBox="1"/>
          <p:nvPr/>
        </p:nvSpPr>
        <p:spPr>
          <a:xfrm>
            <a:off x="4772171" y="6064349"/>
            <a:ext cx="2652813" cy="544765"/>
          </a:xfrm>
          <a:prstGeom prst="rect">
            <a:avLst/>
          </a:prstGeom>
        </p:spPr>
        <p:style>
          <a:lnRef idx="0">
            <a:schemeClr val="accent4"/>
          </a:lnRef>
          <a:fillRef idx="3">
            <a:schemeClr val="accent4"/>
          </a:fillRef>
          <a:effectRef idx="3">
            <a:schemeClr val="accent4"/>
          </a:effectRef>
          <a:fontRef idx="minor">
            <a:schemeClr val="lt1"/>
          </a:fontRef>
        </p:style>
        <p:txBody>
          <a:bodyPr wrap="square" lIns="182880" tIns="146304" rIns="182880" bIns="146304" rtlCol="0">
            <a:spAutoFit/>
          </a:bodyPr>
          <a:lstStyle>
            <a:defPPr>
              <a:defRPr lang="en-US"/>
            </a:defPPr>
            <a:lvl1pPr algn="ctr">
              <a:lnSpc>
                <a:spcPct val="90000"/>
              </a:lnSpc>
              <a:spcAft>
                <a:spcPts val="600"/>
              </a:spcAft>
              <a:defRPr b="1">
                <a:solidFill>
                  <a:schemeClr val="bg1"/>
                </a:solidFill>
              </a:defRPr>
            </a:lvl1pPr>
          </a:lstStyle>
          <a:p>
            <a:r>
              <a:rPr lang="en-US"/>
              <a:t>Productive</a:t>
            </a:r>
          </a:p>
        </p:txBody>
      </p:sp>
      <p:sp>
        <p:nvSpPr>
          <p:cNvPr id="51" name="TextBox 50">
            <a:extLst>
              <a:ext uri="{FF2B5EF4-FFF2-40B4-BE49-F238E27FC236}">
                <a16:creationId xmlns:a16="http://schemas.microsoft.com/office/drawing/2014/main" id="{B0A69348-A521-4B2F-AADD-A30B9715A077}"/>
              </a:ext>
            </a:extLst>
          </p:cNvPr>
          <p:cNvSpPr txBox="1"/>
          <p:nvPr/>
        </p:nvSpPr>
        <p:spPr>
          <a:xfrm>
            <a:off x="8239946" y="6065988"/>
            <a:ext cx="2652813" cy="539891"/>
          </a:xfrm>
          <a:prstGeom prst="rect">
            <a:avLst/>
          </a:prstGeom>
        </p:spPr>
        <p:style>
          <a:lnRef idx="0">
            <a:schemeClr val="accent4"/>
          </a:lnRef>
          <a:fillRef idx="3">
            <a:schemeClr val="accent4"/>
          </a:fillRef>
          <a:effectRef idx="3">
            <a:schemeClr val="accent4"/>
          </a:effectRef>
          <a:fontRef idx="minor">
            <a:schemeClr val="lt1"/>
          </a:fontRef>
        </p:style>
        <p:txBody>
          <a:bodyPr wrap="square" lIns="182880" tIns="146304" rIns="182880" bIns="146304" rtlCol="0">
            <a:spAutoFit/>
          </a:bodyPr>
          <a:lstStyle>
            <a:defPPr>
              <a:defRPr lang="en-US"/>
            </a:defPPr>
            <a:lvl1pPr algn="ctr">
              <a:lnSpc>
                <a:spcPct val="90000"/>
              </a:lnSpc>
              <a:spcAft>
                <a:spcPts val="600"/>
              </a:spcAft>
              <a:defRPr b="1">
                <a:solidFill>
                  <a:schemeClr val="bg1"/>
                </a:solidFill>
              </a:defRPr>
            </a:lvl1pPr>
          </a:lstStyle>
          <a:p>
            <a:r>
              <a:rPr lang="en-US"/>
              <a:t>Insightful</a:t>
            </a:r>
          </a:p>
        </p:txBody>
      </p:sp>
      <p:pic>
        <p:nvPicPr>
          <p:cNvPr id="31" name="Graphic 30">
            <a:extLst>
              <a:ext uri="{FF2B5EF4-FFF2-40B4-BE49-F238E27FC236}">
                <a16:creationId xmlns:a16="http://schemas.microsoft.com/office/drawing/2014/main" id="{837D51EB-5501-427F-9295-55DD595BCC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15366" y="3977795"/>
            <a:ext cx="325276" cy="331303"/>
          </a:xfrm>
          <a:prstGeom prst="rect">
            <a:avLst/>
          </a:prstGeom>
        </p:spPr>
      </p:pic>
    </p:spTree>
    <p:extLst>
      <p:ext uri="{BB962C8B-B14F-4D97-AF65-F5344CB8AC3E}">
        <p14:creationId xmlns:p14="http://schemas.microsoft.com/office/powerpoint/2010/main" val="141430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t>Virtual agent topic design</a:t>
            </a:r>
          </a:p>
        </p:txBody>
      </p:sp>
      <p:grpSp>
        <p:nvGrpSpPr>
          <p:cNvPr id="3" name="Group 2">
            <a:extLst>
              <a:ext uri="{FF2B5EF4-FFF2-40B4-BE49-F238E27FC236}">
                <a16:creationId xmlns:a16="http://schemas.microsoft.com/office/drawing/2014/main" id="{8AEF019F-A719-41BF-ADFD-17AF31B21ABC}"/>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8EA3EEE6-CB3F-4B94-931B-3564707DFBD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A5A25771-9E78-473F-88BB-67C241DE3E8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2B30CA4A-ED0E-48A9-B71C-4A9E4DFF7B7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2A0BAB6-4662-4CEE-A5A8-057D8FCEF83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AA152EDA-3E3F-42AD-B193-0A03C01132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99B988FB-7D8F-45A8-9C76-B02B749158C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56F84C8-968B-4B62-9760-78902E3747A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BA754245-59CC-4EEA-8E02-5A2BF158B7E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E2718B37-6D2E-404C-925C-F2DBA59A76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58177D3D-8433-4CEF-95EB-F62653AC394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00D1879E-324A-471D-B395-C0A59E26578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52AD7B2-A2CF-4C16-A35F-DBFA8CC71D5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761D400A-9168-4934-840C-B4D9CA5491E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D8A4A8B-8341-4469-902E-0052384AB70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78AE1463-CB76-424F-9F09-0439206E855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8EAA9A91-5A50-48A9-BC62-0A4548504B6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8DF8D3B9-FAE5-44CC-AE78-9B9391214AC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302A4CF5-5972-4676-BC34-F918FD73932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218C8F09-BE34-4D9D-B618-33945F7A37E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7D9A3832-42E0-4188-BC75-A32F8D3D8820}"/>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5A0B64-886B-412A-B5C4-5BAD1C0D9A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38E4855-17BD-442A-BA5E-EFC6F75B0C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706099B7-80D6-4C7A-B7D2-1D77ECCAE21A}"/>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9634FEF-7C5A-4EA4-B755-59B959990A3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CF647E56-7C40-40D8-A91F-9FE94B3F08B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1D09DC4D-5850-4B29-A998-573D7767044D}"/>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4C57461-103E-4AF3-BDB5-8D94D79655E8}"/>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7F19F05E-6984-49E9-AC77-E46E8F903EDF}"/>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DE12E71A-E136-4A65-9216-A3ADA83D145C}"/>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4E1C6ACB-3382-4DA5-AB0B-EE147D1AB215}"/>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7A50E164-6706-4790-9D7A-0B01270675C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D9CBB60-5E9A-4D8E-8C40-E88F6ECEDF6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71A772B3-29D1-40FF-B8E2-304238BA8E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B3B80845-04EF-4514-8A40-5432260A2F9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9BAB51E5-32B1-4807-AA11-A81EAB84D18D}"/>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43673B45-6191-46BC-8DA8-71428889204D}"/>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960C6DD4-EAB6-48EE-B0EF-65C6223386E0}"/>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7243B6AB-250D-441A-A6B1-F4B4D125AB55}"/>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257B0AB-DA15-4B35-8B91-0F5937F4B45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20C8114-DA0F-4B88-9CE7-EE188E8DF1A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C967821-DAD0-4198-B3D3-0A2AB5750BD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A9138E6B-D585-422F-9713-ADE80B75DC7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1A51AF82-3085-4A2D-B7E6-21B8358E3EE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B07A89D-8B1E-486F-96CB-C47E55EF079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30309D6-D2F3-4AD8-92E1-573D8BC7AF3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50B547D5-7D15-4A37-8EB5-069B4503A64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C6A83EC0-D76D-4C23-999A-D941A317E54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F670B8A-1226-402F-91AB-DBBFD625892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1D093BC-E947-4395-BB0F-E276CAB8D1D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5EBB509-004D-4771-A5E2-533038DA14B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5C318FF1-ACFC-4A22-9800-B2FCD0C1296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2B23B60-EA66-4158-B236-E510BC6A39B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69ED00B-6972-49B2-9725-1CEB6CAA426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EE477F05-D1B9-4D5C-A4C9-E353F83B003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AEF24B10-BA30-4A2A-A727-7A287EC7A9C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0088F709-0B99-4083-8B59-CC39B78E0A2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38EA572-56B1-4184-AB5C-0292E621974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B4C7E99-68AE-4715-998E-CDCEC9104A9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CB369C0E-9F84-4BE5-A5FB-4C980CBC380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F039E17-D2C3-4878-AD44-C2AC080E3BF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28DB23CA-B0AD-4EA4-817E-81BEA2E52BC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ED0BCDD-42C4-49B4-93BA-300555BCE72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89ED59DF-DE8D-4B8C-A829-DAB760FE8A6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65953FB-9284-497F-B7F0-93F0F61675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1EF65999-DD9E-45F5-8219-990C83924889}"/>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F6C395B6-6550-4EC9-9BFD-D7824D6134D5}"/>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A1B0267-0487-454B-822A-3E95F272002F}"/>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0D2C4CCB-0EA5-4C57-B463-659B53665042}"/>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90408AB-7A65-4AAB-A6C4-30494E022458}"/>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88A1D8E-CC21-43A1-884D-43C3249BF21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F886259-0A66-4603-9F72-39382D2F459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2AF0E4A7-D99E-41F7-B8D0-EB9FD955D415}"/>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3EFF68E-3640-4E7C-88CB-A8AABF91CB7C}"/>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391A654-69E0-4072-9E6D-01B65B8A5FA9}"/>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547B9D9E-6CCA-45CA-8AB3-EB9D6B8F9FF9}"/>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C689F71-992E-45AD-8B11-A97B90AEF939}"/>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03184591-A2ED-476D-BE85-F4E81B84EBFE}"/>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E87D7B0B-9A96-4A7B-895D-6AEB99AAC677}"/>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D432BA85-3F30-402D-B815-4DE4AA3CC81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D788D593-E97A-47D2-AA5D-1F190423082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7EAE83D-D299-4558-93BC-39868E43BF4D}"/>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D09937C-DE55-404B-A50C-081028BEC73A}"/>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02502A30-4ED4-4A20-9D80-DA619843A0AA}"/>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87DFA9FE-0F2D-4425-93C3-856F13BF9DEC}"/>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4D35A4D6-73BF-4294-B5CD-B7FBE4219012}"/>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E6D3278-2F29-4301-AFEC-C7F29746D25D}"/>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B44CA362-3C5C-4480-9092-16C1E8048D43}"/>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BE64D6AB-5F03-482A-8847-727B0026C55F}"/>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6F8C9C5-E603-402A-BF26-0035C56A6D2E}"/>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DADB81A8-1AA3-44A4-8913-CB28EB989A4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1B94AD0C-53D4-4EC7-A56A-E4A936AC1D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05B26B5A-352E-479A-8218-451BCE9CB10F}"/>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767D7CE-2BC9-42AC-B177-9684170536E4}"/>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A1DB0544-8958-464F-B279-276CADC3F5E7}"/>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CCBADC3A-AF21-4B3A-93FF-A36FFACEA9A8}"/>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5D623D80-C750-44BA-98B7-6B64087C561F}"/>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32A6E2D-D24C-4AF8-95CF-95CB8C69E838}"/>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3FF64F35-A6B0-4841-8ED2-1AE19D6875AC}"/>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1F73B5C-98FA-43BC-BFA1-EAAD6383001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8AE65467-B410-4073-A654-FD28F8B665B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734B98C-72CB-43A6-A010-0B4783451208}"/>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A9B5C500-8B3A-4847-A797-1AA820055B82}"/>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A15A30-7FB3-43CE-AF79-06D58FF85709}"/>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02F02FC3-8C18-4232-A152-E32D52FCDD81}"/>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684F84A7-A6B1-411D-B17F-D42089D22C1C}"/>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0611837B-8A53-4238-9D32-F85C1E6ABD3D}"/>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F5F471D0-CC6D-43A0-AAE5-FF3B7D15A869}"/>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835AFEBA-40C6-4F05-8162-49CAF7F680D1}"/>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0C20130-04CB-47BE-AFC6-B324E9F96FAB}"/>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49FDB9CC-06C7-4125-A3F6-7ACB5F28003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0DF3D1DB-4E1E-45A0-992E-6BE0F2C024A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D7E5B0A4-D1E4-4ED5-8641-92ED8B52E5B2}"/>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8B930B2-0405-491D-81B7-5C09E9680027}"/>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448347CF-FA60-4BCC-BFE9-5BC19F5F713C}"/>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03AA64F0-44AC-4B7D-9FC4-6CB3DF94BD5D}"/>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253D02DB-B133-42A9-B506-A4AF82DBC436}"/>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94C5B6E4-105C-4030-A485-3150B5F4E871}"/>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AF69400B-D8BC-43D6-8541-B6512441439F}"/>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34278BFC-93B0-4F35-A4B2-EF8B8983A0B8}"/>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84FE3575-C5F0-436A-A40A-A333560434E9}"/>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74114BBA-2BDA-4E64-B01C-C6787626EC9E}"/>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3D6257B0-722C-4825-BB4A-CFF97774B267}"/>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911E9385-E47F-407C-8C07-542BC53C1D1D}"/>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4E6A8A41-2ADC-4613-B491-1B2B9595CC95}"/>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AA034CA2-6420-4A30-AE55-33964EA430B2}"/>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1CCF0AC5-0304-47EE-8D16-FB1B6206545B}"/>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F882EC85-5A02-4FB0-B341-8D66229B4771}"/>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EA073DE-E4C4-4AA1-88EF-0ABBEA5D90D1}"/>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9EA825AB-DC6B-4B6F-811B-F44391683FBB}"/>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CC6603E6-8583-4635-82F7-C781EDAF79F2}"/>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AE1F560B-E21B-411B-A06A-FF2257894AF3}"/>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286A45F9-CEC5-4903-84A9-101902033467}"/>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8D2B2E8A-27C3-4368-8C70-6575E8B846C0}"/>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94DED9F5-ED1D-4441-8731-2D3C670539F6}"/>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A6F3E952-7A69-4165-9AB2-3D03814D8F00}"/>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CC58529B-C097-414D-842D-C25C09D20C26}"/>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05A421EC-1FA2-4109-B161-11896255E438}"/>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8E106A62-1DFC-4F01-9C02-3A3E44E89231}"/>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BB4C6375-EA41-45CE-BBE0-68B4467EC74E}"/>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DAD76AC0-E5D3-4BC9-9E6B-D568CE49F0BC}"/>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96E9E802-90DA-472E-A4C2-AD16CEA45C13}"/>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F6F647D6-2858-4279-9420-C55A5B936E77}"/>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3F521C12-2765-4A63-B187-87ABBEE77AB6}"/>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FBEABDAB-2A7D-4B3C-A9C6-F1DE2C7F9177}"/>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3EEBE025-57FA-4C7E-A975-3FAF995F8EF1}"/>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9C4F6D1D-0072-457A-B0A7-E4D71157575F}"/>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41F532D8-0986-4005-984E-F3B8A24842C6}"/>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29437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252980485"/>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4</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Improve your virtual agent using entities, variables and topic redirects</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kern="1200">
                          <a:solidFill>
                            <a:schemeClr val="tx1"/>
                          </a:solidFill>
                          <a:latin typeface="+mn-lt"/>
                          <a:ea typeface="+mn-ea"/>
                          <a:cs typeface="+mn-cs"/>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tegrate with prebuilt Power Automate flows</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kern="1200">
                          <a:solidFill>
                            <a:schemeClr val="tx1"/>
                          </a:solidFill>
                          <a:latin typeface="+mn-lt"/>
                          <a:ea typeface="+mn-ea"/>
                          <a:cs typeface="+mn-cs"/>
                        </a:rPr>
                        <a:t>7</a:t>
                      </a:r>
                      <a:endParaRPr lang="en-US" sz="1100" kern="1200">
                        <a:solidFill>
                          <a:schemeClr val="tx1"/>
                        </a:solidFill>
                        <a:latin typeface="+mn-lt"/>
                        <a:ea typeface="+mn-ea"/>
                        <a:cs typeface="+mn-cs"/>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Hand off to support agent– no lab</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20 minutes</a:t>
                      </a: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b="1">
                          <a:solidFill>
                            <a:schemeClr val="bg1"/>
                          </a:solidFill>
                        </a:rPr>
                        <a:t>8</a:t>
                      </a: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rPr>
                        <a:t>Virtual agent topic design</a:t>
                      </a:r>
                    </a:p>
                  </a:txBody>
                  <a:tcPr marL="18180" marR="10908" marT="10908" marB="10908" anchor="ctr">
                    <a:solidFill>
                      <a:srgbClr val="0B55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rPr>
                        <a:t>45 minutes</a:t>
                      </a:r>
                    </a:p>
                  </a:txBody>
                  <a:tcPr marL="18180" marR="10908" marT="10908" marB="10908" anchor="ctr">
                    <a:solidFill>
                      <a:srgbClr val="0B556A"/>
                    </a:solidFill>
                  </a:tcP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9</a:t>
                      </a:r>
                      <a:endParaRPr lang="en-US" sz="1100">
                        <a:solidFill>
                          <a:schemeClr val="tx1">
                            <a:lumMod val="85000"/>
                            <a:lumOff val="15000"/>
                          </a:schemeClr>
                        </a:solidFill>
                      </a:endParaRPr>
                    </a:p>
                  </a:txBody>
                  <a:tcPr marL="18180" marR="10908" marT="10908" marB="10908" anchor="ctr"/>
                </a:tc>
                <a:tc>
                  <a:txBody>
                    <a:bodyPr/>
                    <a:lstStyle/>
                    <a:p>
                      <a:r>
                        <a:rPr lang="en-US" sz="1100"/>
                        <a:t>Best practices for writing topic trigger phras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19929931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6BC38C6D-6968-4801-8675-99B544DC63D9}"/>
              </a:ext>
            </a:extLst>
          </p:cNvPr>
          <p:cNvSpPr/>
          <p:nvPr/>
        </p:nvSpPr>
        <p:spPr bwMode="auto">
          <a:xfrm>
            <a:off x="480190" y="1533443"/>
            <a:ext cx="2649088" cy="2649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C0F60CC9-8412-46A5-A8A1-A67737590B7E}"/>
              </a:ext>
            </a:extLst>
          </p:cNvPr>
          <p:cNvSpPr/>
          <p:nvPr/>
        </p:nvSpPr>
        <p:spPr bwMode="auto">
          <a:xfrm>
            <a:off x="2691895" y="3520629"/>
            <a:ext cx="2649088" cy="2649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5A62BCA4-7DB8-4919-93DF-CC2DA43B6DD5}"/>
              </a:ext>
            </a:extLst>
          </p:cNvPr>
          <p:cNvSpPr/>
          <p:nvPr/>
        </p:nvSpPr>
        <p:spPr bwMode="auto">
          <a:xfrm>
            <a:off x="4903601" y="1533443"/>
            <a:ext cx="2649088" cy="2649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71C36960-84E2-4EDE-9702-435BE753EB52}"/>
              </a:ext>
            </a:extLst>
          </p:cNvPr>
          <p:cNvSpPr/>
          <p:nvPr/>
        </p:nvSpPr>
        <p:spPr bwMode="auto">
          <a:xfrm>
            <a:off x="7115306" y="3520629"/>
            <a:ext cx="2649088" cy="2649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DFA92C63-15FC-4EDA-BA01-A45A497F517C}"/>
              </a:ext>
            </a:extLst>
          </p:cNvPr>
          <p:cNvSpPr/>
          <p:nvPr/>
        </p:nvSpPr>
        <p:spPr bwMode="auto">
          <a:xfrm>
            <a:off x="9327012" y="1533443"/>
            <a:ext cx="2649088" cy="2649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B929A8D-BAE2-49D7-8190-AFB02507DBF0}"/>
              </a:ext>
            </a:extLst>
          </p:cNvPr>
          <p:cNvSpPr>
            <a:spLocks noGrp="1"/>
          </p:cNvSpPr>
          <p:nvPr>
            <p:ph type="title"/>
          </p:nvPr>
        </p:nvSpPr>
        <p:spPr/>
        <p:txBody>
          <a:bodyPr/>
          <a:lstStyle/>
          <a:p>
            <a:r>
              <a:rPr lang="en-US"/>
              <a:t>What makes a virtual agent successful?</a:t>
            </a:r>
          </a:p>
        </p:txBody>
      </p:sp>
      <p:sp>
        <p:nvSpPr>
          <p:cNvPr id="7" name="Rectangle 6">
            <a:extLst>
              <a:ext uri="{FF2B5EF4-FFF2-40B4-BE49-F238E27FC236}">
                <a16:creationId xmlns:a16="http://schemas.microsoft.com/office/drawing/2014/main" id="{24F497E7-2F81-476F-819A-D9F09076BB7F}"/>
              </a:ext>
            </a:extLst>
          </p:cNvPr>
          <p:cNvSpPr/>
          <p:nvPr/>
        </p:nvSpPr>
        <p:spPr>
          <a:xfrm>
            <a:off x="739269" y="2677807"/>
            <a:ext cx="2130932" cy="36036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Knowing your customer</a:t>
            </a:r>
            <a:endParaRPr lang="en-IN" sz="2000">
              <a:solidFill>
                <a:schemeClr val="tx1"/>
              </a:solidFill>
              <a:cs typeface="Segoe UI" pitchFamily="34" charset="0"/>
            </a:endParaRPr>
          </a:p>
        </p:txBody>
      </p:sp>
      <p:sp>
        <p:nvSpPr>
          <p:cNvPr id="8" name="Rectangle 7">
            <a:extLst>
              <a:ext uri="{FF2B5EF4-FFF2-40B4-BE49-F238E27FC236}">
                <a16:creationId xmlns:a16="http://schemas.microsoft.com/office/drawing/2014/main" id="{555F3B63-372A-44C5-97E8-06370E0A483F}"/>
              </a:ext>
            </a:extLst>
          </p:cNvPr>
          <p:cNvSpPr/>
          <p:nvPr/>
        </p:nvSpPr>
        <p:spPr>
          <a:xfrm>
            <a:off x="2950974" y="4664993"/>
            <a:ext cx="2130932" cy="36036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Understanding the customer’s request and connecting it to the right topic</a:t>
            </a:r>
            <a:endParaRPr lang="en-IN" sz="2000">
              <a:solidFill>
                <a:schemeClr val="tx1"/>
              </a:solidFill>
              <a:cs typeface="Segoe UI" pitchFamily="34" charset="0"/>
            </a:endParaRPr>
          </a:p>
        </p:txBody>
      </p:sp>
      <p:sp>
        <p:nvSpPr>
          <p:cNvPr id="9" name="Rectangle 8">
            <a:extLst>
              <a:ext uri="{FF2B5EF4-FFF2-40B4-BE49-F238E27FC236}">
                <a16:creationId xmlns:a16="http://schemas.microsoft.com/office/drawing/2014/main" id="{EA26BD71-042F-487E-A8E9-CF29572741FC}"/>
              </a:ext>
            </a:extLst>
          </p:cNvPr>
          <p:cNvSpPr/>
          <p:nvPr/>
        </p:nvSpPr>
        <p:spPr>
          <a:xfrm>
            <a:off x="5162680" y="2677807"/>
            <a:ext cx="2130932" cy="36036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Having accurate, </a:t>
            </a:r>
            <a:r>
              <a:rPr lang="en-US" sz="2000" b="1">
                <a:solidFill>
                  <a:schemeClr val="tx1"/>
                </a:solidFill>
                <a:cs typeface="Segoe UI" pitchFamily="34" charset="0"/>
              </a:rPr>
              <a:t>latest</a:t>
            </a:r>
            <a:r>
              <a:rPr lang="en-US" sz="2000">
                <a:solidFill>
                  <a:schemeClr val="tx1"/>
                </a:solidFill>
                <a:cs typeface="Segoe UI" pitchFamily="34" charset="0"/>
              </a:rPr>
              <a:t> and effective content</a:t>
            </a:r>
            <a:endParaRPr lang="en-IN" sz="2000">
              <a:solidFill>
                <a:schemeClr val="tx1"/>
              </a:solidFill>
              <a:cs typeface="Segoe UI" pitchFamily="34" charset="0"/>
            </a:endParaRPr>
          </a:p>
        </p:txBody>
      </p:sp>
      <p:sp>
        <p:nvSpPr>
          <p:cNvPr id="10" name="Rectangle 9">
            <a:extLst>
              <a:ext uri="{FF2B5EF4-FFF2-40B4-BE49-F238E27FC236}">
                <a16:creationId xmlns:a16="http://schemas.microsoft.com/office/drawing/2014/main" id="{430BA137-CB5E-4052-9418-03285B9DFFAB}"/>
              </a:ext>
            </a:extLst>
          </p:cNvPr>
          <p:cNvSpPr/>
          <p:nvPr/>
        </p:nvSpPr>
        <p:spPr>
          <a:xfrm>
            <a:off x="7374385" y="4664993"/>
            <a:ext cx="2130932" cy="36036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Providing personalized, context-aware help, and taking actions for the customer  </a:t>
            </a:r>
            <a:endParaRPr lang="en-IN" sz="2000">
              <a:solidFill>
                <a:schemeClr val="tx1"/>
              </a:solidFill>
              <a:cs typeface="Segoe UI" pitchFamily="34" charset="0"/>
            </a:endParaRPr>
          </a:p>
        </p:txBody>
      </p:sp>
      <p:sp>
        <p:nvSpPr>
          <p:cNvPr id="11" name="Rectangle 10">
            <a:extLst>
              <a:ext uri="{FF2B5EF4-FFF2-40B4-BE49-F238E27FC236}">
                <a16:creationId xmlns:a16="http://schemas.microsoft.com/office/drawing/2014/main" id="{17672D45-158F-42A2-86B0-6D2FF8547FC4}"/>
              </a:ext>
            </a:extLst>
          </p:cNvPr>
          <p:cNvSpPr/>
          <p:nvPr/>
        </p:nvSpPr>
        <p:spPr>
          <a:xfrm>
            <a:off x="9586091" y="2677807"/>
            <a:ext cx="2130932" cy="36036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Knowing when to hand off to a human</a:t>
            </a:r>
            <a:endParaRPr lang="en-IN" sz="2000">
              <a:solidFill>
                <a:schemeClr val="tx1"/>
              </a:solidFill>
              <a:cs typeface="Segoe UI" pitchFamily="34" charset="0"/>
            </a:endParaRPr>
          </a:p>
        </p:txBody>
      </p:sp>
      <p:sp>
        <p:nvSpPr>
          <p:cNvPr id="20" name="Arc 19">
            <a:extLst>
              <a:ext uri="{FF2B5EF4-FFF2-40B4-BE49-F238E27FC236}">
                <a16:creationId xmlns:a16="http://schemas.microsoft.com/office/drawing/2014/main" id="{2B8844C4-07E7-42A2-A9DC-A74F2A8C0C46}"/>
              </a:ext>
            </a:extLst>
          </p:cNvPr>
          <p:cNvSpPr/>
          <p:nvPr/>
        </p:nvSpPr>
        <p:spPr bwMode="auto">
          <a:xfrm rot="8100000">
            <a:off x="407165" y="1460418"/>
            <a:ext cx="2795138" cy="2795138"/>
          </a:xfrm>
          <a:prstGeom prst="arc">
            <a:avLst/>
          </a:pr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Arc 20">
            <a:extLst>
              <a:ext uri="{FF2B5EF4-FFF2-40B4-BE49-F238E27FC236}">
                <a16:creationId xmlns:a16="http://schemas.microsoft.com/office/drawing/2014/main" id="{6F4CC78A-5BA5-46A5-8CF2-6112A23A14CF}"/>
              </a:ext>
            </a:extLst>
          </p:cNvPr>
          <p:cNvSpPr/>
          <p:nvPr/>
        </p:nvSpPr>
        <p:spPr bwMode="auto">
          <a:xfrm rot="8100000">
            <a:off x="2618870" y="3447604"/>
            <a:ext cx="2795138" cy="2795138"/>
          </a:xfrm>
          <a:prstGeom prst="arc">
            <a:avLst/>
          </a:pr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Arc 21">
            <a:extLst>
              <a:ext uri="{FF2B5EF4-FFF2-40B4-BE49-F238E27FC236}">
                <a16:creationId xmlns:a16="http://schemas.microsoft.com/office/drawing/2014/main" id="{FA29B496-72D8-41EA-A3E6-07CA95EC67CA}"/>
              </a:ext>
            </a:extLst>
          </p:cNvPr>
          <p:cNvSpPr/>
          <p:nvPr/>
        </p:nvSpPr>
        <p:spPr bwMode="auto">
          <a:xfrm rot="8100000">
            <a:off x="4830576" y="1460418"/>
            <a:ext cx="2795138" cy="2795138"/>
          </a:xfrm>
          <a:prstGeom prst="arc">
            <a:avLst/>
          </a:pr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Arc 22">
            <a:extLst>
              <a:ext uri="{FF2B5EF4-FFF2-40B4-BE49-F238E27FC236}">
                <a16:creationId xmlns:a16="http://schemas.microsoft.com/office/drawing/2014/main" id="{3FC48B23-D569-4D4B-AAAD-44694534FD77}"/>
              </a:ext>
            </a:extLst>
          </p:cNvPr>
          <p:cNvSpPr/>
          <p:nvPr/>
        </p:nvSpPr>
        <p:spPr bwMode="auto">
          <a:xfrm rot="8100000">
            <a:off x="7042281" y="3447604"/>
            <a:ext cx="2795138" cy="2795138"/>
          </a:xfrm>
          <a:prstGeom prst="arc">
            <a:avLst/>
          </a:pr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Arc 23">
            <a:extLst>
              <a:ext uri="{FF2B5EF4-FFF2-40B4-BE49-F238E27FC236}">
                <a16:creationId xmlns:a16="http://schemas.microsoft.com/office/drawing/2014/main" id="{AD5988B6-127D-4DBB-A8B9-B04A3C342F45}"/>
              </a:ext>
            </a:extLst>
          </p:cNvPr>
          <p:cNvSpPr/>
          <p:nvPr/>
        </p:nvSpPr>
        <p:spPr bwMode="auto">
          <a:xfrm rot="8100000">
            <a:off x="9253987" y="1460418"/>
            <a:ext cx="2795138" cy="2795138"/>
          </a:xfrm>
          <a:prstGeom prst="arc">
            <a:avLst/>
          </a:pr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67FA08E9-A68A-49F6-A7C4-56FF230CB360}"/>
              </a:ext>
            </a:extLst>
          </p:cNvPr>
          <p:cNvSpPr txBox="1">
            <a:spLocks/>
          </p:cNvSpPr>
          <p:nvPr/>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Power Virtual Agents</a:t>
            </a:r>
          </a:p>
        </p:txBody>
      </p:sp>
    </p:spTree>
    <p:extLst>
      <p:ext uri="{BB962C8B-B14F-4D97-AF65-F5344CB8AC3E}">
        <p14:creationId xmlns:p14="http://schemas.microsoft.com/office/powerpoint/2010/main" val="64954108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ypes of conversation topics</a:t>
            </a:r>
            <a:br>
              <a:rPr lang="en-US"/>
            </a:br>
            <a:endParaRPr lang="en-US"/>
          </a:p>
        </p:txBody>
      </p:sp>
      <p:sp>
        <p:nvSpPr>
          <p:cNvPr id="11" name="Freeform: Shape 10">
            <a:extLst>
              <a:ext uri="{FF2B5EF4-FFF2-40B4-BE49-F238E27FC236}">
                <a16:creationId xmlns:a16="http://schemas.microsoft.com/office/drawing/2014/main" id="{2536CD4C-2940-49C2-AFA1-65119DDA1189}"/>
              </a:ext>
            </a:extLst>
          </p:cNvPr>
          <p:cNvSpPr/>
          <p:nvPr/>
        </p:nvSpPr>
        <p:spPr>
          <a:xfrm>
            <a:off x="3341662" y="4563370"/>
            <a:ext cx="8420801" cy="639989"/>
          </a:xfrm>
          <a:custGeom>
            <a:avLst/>
            <a:gdLst>
              <a:gd name="connsiteX0" fmla="*/ 0 w 7886700"/>
              <a:gd name="connsiteY0" fmla="*/ 0 h 617530"/>
              <a:gd name="connsiteX1" fmla="*/ 7886700 w 7886700"/>
              <a:gd name="connsiteY1" fmla="*/ 0 h 617530"/>
              <a:gd name="connsiteX2" fmla="*/ 7886700 w 7886700"/>
              <a:gd name="connsiteY2" fmla="*/ 617530 h 617530"/>
              <a:gd name="connsiteX3" fmla="*/ 0 w 7886700"/>
              <a:gd name="connsiteY3" fmla="*/ 617530 h 617530"/>
              <a:gd name="connsiteX4" fmla="*/ 0 w 7886700"/>
              <a:gd name="connsiteY4" fmla="*/ 0 h 617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0" h="617530">
                <a:moveTo>
                  <a:pt x="0" y="0"/>
                </a:moveTo>
                <a:lnTo>
                  <a:pt x="7886700" y="0"/>
                </a:lnTo>
                <a:lnTo>
                  <a:pt x="7886700" y="617530"/>
                </a:lnTo>
                <a:lnTo>
                  <a:pt x="0" y="617530"/>
                </a:lnTo>
                <a:lnTo>
                  <a:pt x="0" y="0"/>
                </a:lnTo>
                <a:close/>
              </a:path>
            </a:pathLst>
          </a:custGeom>
          <a:solidFill>
            <a:schemeClr val="accent6">
              <a:alpha val="90000"/>
            </a:schemeClr>
          </a:solidFill>
        </p:spPr>
        <p:style>
          <a:lnRef idx="1">
            <a:schemeClr val="lt1">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958" tIns="203171" rIns="159958" bIns="203171" numCol="1" spcCol="1270" anchor="ctr" anchorCtr="0">
            <a:noAutofit/>
          </a:bodyPr>
          <a:lstStyle/>
          <a:p>
            <a:pPr defTabSz="711064">
              <a:lnSpc>
                <a:spcPct val="90000"/>
              </a:lnSpc>
              <a:spcBef>
                <a:spcPct val="0"/>
              </a:spcBef>
              <a:spcAft>
                <a:spcPct val="35000"/>
              </a:spcAft>
            </a:pPr>
            <a:r>
              <a:rPr lang="en-US" sz="1600"/>
              <a:t>Something isn’t working right. I got an error message.</a:t>
            </a:r>
            <a:endParaRPr lang="en-US" sz="1600">
              <a:solidFill>
                <a:prstClr val="black">
                  <a:hueOff val="0"/>
                  <a:satOff val="0"/>
                  <a:lumOff val="0"/>
                  <a:alphaOff val="0"/>
                </a:prstClr>
              </a:solidFill>
              <a:latin typeface="Calibri" panose="020F0502020204030204"/>
            </a:endParaRPr>
          </a:p>
        </p:txBody>
      </p:sp>
      <p:sp>
        <p:nvSpPr>
          <p:cNvPr id="15" name="Freeform: Shape 14">
            <a:extLst>
              <a:ext uri="{FF2B5EF4-FFF2-40B4-BE49-F238E27FC236}">
                <a16:creationId xmlns:a16="http://schemas.microsoft.com/office/drawing/2014/main" id="{3B41B6AF-A9FC-4B16-AFC1-96ADD59385CC}"/>
              </a:ext>
            </a:extLst>
          </p:cNvPr>
          <p:cNvSpPr/>
          <p:nvPr/>
        </p:nvSpPr>
        <p:spPr>
          <a:xfrm>
            <a:off x="3341662" y="3629892"/>
            <a:ext cx="8420801" cy="639989"/>
          </a:xfrm>
          <a:custGeom>
            <a:avLst/>
            <a:gdLst>
              <a:gd name="connsiteX0" fmla="*/ 0 w 7886700"/>
              <a:gd name="connsiteY0" fmla="*/ 0 h 617530"/>
              <a:gd name="connsiteX1" fmla="*/ 7886700 w 7886700"/>
              <a:gd name="connsiteY1" fmla="*/ 0 h 617530"/>
              <a:gd name="connsiteX2" fmla="*/ 7886700 w 7886700"/>
              <a:gd name="connsiteY2" fmla="*/ 617530 h 617530"/>
              <a:gd name="connsiteX3" fmla="*/ 0 w 7886700"/>
              <a:gd name="connsiteY3" fmla="*/ 617530 h 617530"/>
              <a:gd name="connsiteX4" fmla="*/ 0 w 7886700"/>
              <a:gd name="connsiteY4" fmla="*/ 0 h 617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0" h="617530">
                <a:moveTo>
                  <a:pt x="0" y="0"/>
                </a:moveTo>
                <a:lnTo>
                  <a:pt x="7886700" y="0"/>
                </a:lnTo>
                <a:lnTo>
                  <a:pt x="7886700" y="617530"/>
                </a:lnTo>
                <a:lnTo>
                  <a:pt x="0" y="617530"/>
                </a:lnTo>
                <a:lnTo>
                  <a:pt x="0" y="0"/>
                </a:lnTo>
                <a:close/>
              </a:path>
            </a:pathLst>
          </a:custGeom>
          <a:solidFill>
            <a:schemeClr val="accent6">
              <a:alpha val="90000"/>
            </a:schemeClr>
          </a:solidFill>
        </p:spPr>
        <p:style>
          <a:lnRef idx="1">
            <a:schemeClr val="lt1">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958" tIns="203171" rIns="159958" bIns="203171" numCol="1" spcCol="1270" anchor="ctr" anchorCtr="0">
            <a:noAutofit/>
          </a:bodyPr>
          <a:lstStyle/>
          <a:p>
            <a:pPr defTabSz="711064">
              <a:lnSpc>
                <a:spcPct val="90000"/>
              </a:lnSpc>
              <a:spcBef>
                <a:spcPct val="0"/>
              </a:spcBef>
              <a:spcAft>
                <a:spcPct val="35000"/>
              </a:spcAft>
            </a:pPr>
            <a:r>
              <a:rPr lang="en-US" sz="1600"/>
              <a:t>I want to…  How do I…?</a:t>
            </a:r>
          </a:p>
        </p:txBody>
      </p:sp>
      <p:sp>
        <p:nvSpPr>
          <p:cNvPr id="17" name="Freeform: Shape 16">
            <a:extLst>
              <a:ext uri="{FF2B5EF4-FFF2-40B4-BE49-F238E27FC236}">
                <a16:creationId xmlns:a16="http://schemas.microsoft.com/office/drawing/2014/main" id="{0AB7329B-D3F1-42D2-9A98-20774EF2AF50}"/>
              </a:ext>
            </a:extLst>
          </p:cNvPr>
          <p:cNvSpPr/>
          <p:nvPr/>
        </p:nvSpPr>
        <p:spPr>
          <a:xfrm>
            <a:off x="3341662" y="2679978"/>
            <a:ext cx="8420801" cy="641828"/>
          </a:xfrm>
          <a:custGeom>
            <a:avLst/>
            <a:gdLst>
              <a:gd name="connsiteX0" fmla="*/ 0 w 7886700"/>
              <a:gd name="connsiteY0" fmla="*/ 0 h 617530"/>
              <a:gd name="connsiteX1" fmla="*/ 7886700 w 7886700"/>
              <a:gd name="connsiteY1" fmla="*/ 0 h 617530"/>
              <a:gd name="connsiteX2" fmla="*/ 7886700 w 7886700"/>
              <a:gd name="connsiteY2" fmla="*/ 617530 h 617530"/>
              <a:gd name="connsiteX3" fmla="*/ 0 w 7886700"/>
              <a:gd name="connsiteY3" fmla="*/ 617530 h 617530"/>
              <a:gd name="connsiteX4" fmla="*/ 0 w 7886700"/>
              <a:gd name="connsiteY4" fmla="*/ 0 h 617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0" h="617530">
                <a:moveTo>
                  <a:pt x="0" y="0"/>
                </a:moveTo>
                <a:lnTo>
                  <a:pt x="7886700" y="0"/>
                </a:lnTo>
                <a:lnTo>
                  <a:pt x="7886700" y="617530"/>
                </a:lnTo>
                <a:lnTo>
                  <a:pt x="0" y="617530"/>
                </a:lnTo>
                <a:lnTo>
                  <a:pt x="0" y="0"/>
                </a:lnTo>
                <a:close/>
              </a:path>
            </a:pathLst>
          </a:custGeom>
          <a:solidFill>
            <a:schemeClr val="accent6">
              <a:alpha val="90000"/>
            </a:schemeClr>
          </a:solidFill>
        </p:spPr>
        <p:style>
          <a:lnRef idx="1">
            <a:schemeClr val="lt1">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958" tIns="203171" rIns="159958" bIns="203171" numCol="1" spcCol="1270" anchor="ctr" anchorCtr="0">
            <a:noAutofit/>
          </a:bodyPr>
          <a:lstStyle/>
          <a:p>
            <a:pPr defTabSz="711064">
              <a:lnSpc>
                <a:spcPct val="90000"/>
              </a:lnSpc>
              <a:spcBef>
                <a:spcPct val="0"/>
              </a:spcBef>
              <a:spcAft>
                <a:spcPct val="35000"/>
              </a:spcAft>
            </a:pPr>
            <a:r>
              <a:rPr lang="en-US" sz="1600"/>
              <a:t>What is…? When will…? Why…?</a:t>
            </a:r>
          </a:p>
        </p:txBody>
      </p:sp>
      <p:sp>
        <p:nvSpPr>
          <p:cNvPr id="2" name="Rectangle 1">
            <a:extLst>
              <a:ext uri="{FF2B5EF4-FFF2-40B4-BE49-F238E27FC236}">
                <a16:creationId xmlns:a16="http://schemas.microsoft.com/office/drawing/2014/main" id="{D9543286-A934-49F4-A5D3-EF2D94C319B9}"/>
              </a:ext>
            </a:extLst>
          </p:cNvPr>
          <p:cNvSpPr/>
          <p:nvPr/>
        </p:nvSpPr>
        <p:spPr>
          <a:xfrm>
            <a:off x="455996" y="2696413"/>
            <a:ext cx="2806935" cy="63998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Informational</a:t>
            </a:r>
          </a:p>
        </p:txBody>
      </p:sp>
      <p:sp>
        <p:nvSpPr>
          <p:cNvPr id="14" name="Rectangle 13">
            <a:extLst>
              <a:ext uri="{FF2B5EF4-FFF2-40B4-BE49-F238E27FC236}">
                <a16:creationId xmlns:a16="http://schemas.microsoft.com/office/drawing/2014/main" id="{A5EEC87E-7577-418F-A7C2-57F912159BAA}"/>
              </a:ext>
            </a:extLst>
          </p:cNvPr>
          <p:cNvSpPr/>
          <p:nvPr/>
        </p:nvSpPr>
        <p:spPr>
          <a:xfrm>
            <a:off x="455995" y="3629892"/>
            <a:ext cx="2806935" cy="63998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Task completion</a:t>
            </a:r>
          </a:p>
        </p:txBody>
      </p:sp>
      <p:sp>
        <p:nvSpPr>
          <p:cNvPr id="18" name="Rectangle 17">
            <a:extLst>
              <a:ext uri="{FF2B5EF4-FFF2-40B4-BE49-F238E27FC236}">
                <a16:creationId xmlns:a16="http://schemas.microsoft.com/office/drawing/2014/main" id="{022013F4-EB99-4935-8815-5BB39977076C}"/>
              </a:ext>
            </a:extLst>
          </p:cNvPr>
          <p:cNvSpPr/>
          <p:nvPr/>
        </p:nvSpPr>
        <p:spPr>
          <a:xfrm>
            <a:off x="455994" y="4563370"/>
            <a:ext cx="2806935" cy="63998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t>Troubleshooting</a:t>
            </a:r>
          </a:p>
        </p:txBody>
      </p:sp>
      <p:sp>
        <p:nvSpPr>
          <p:cNvPr id="9" name="Rectangle 8">
            <a:extLst>
              <a:ext uri="{FF2B5EF4-FFF2-40B4-BE49-F238E27FC236}">
                <a16:creationId xmlns:a16="http://schemas.microsoft.com/office/drawing/2014/main" id="{0A4A1112-8ED9-4D1E-AC5A-6D21C8C64C71}"/>
              </a:ext>
            </a:extLst>
          </p:cNvPr>
          <p:cNvSpPr/>
          <p:nvPr/>
        </p:nvSpPr>
        <p:spPr>
          <a:xfrm>
            <a:off x="455995" y="1360689"/>
            <a:ext cx="11286743" cy="814838"/>
          </a:xfrm>
          <a:prstGeom prst="rect">
            <a:avLst/>
          </a:prstGeom>
        </p:spPr>
        <p:txBody>
          <a:bodyPr lIns="0" tIns="0" rIns="0" bIns="0" anchor="t">
            <a:noAutofit/>
          </a:bodyPr>
          <a:lstStyle/>
          <a:p>
            <a:pPr>
              <a:buSzPct val="90000"/>
            </a:pPr>
            <a:r>
              <a:rPr lang="en-US" sz="2000" spc="-49">
                <a:solidFill>
                  <a:schemeClr val="tx2"/>
                </a:solidFill>
              </a:rPr>
              <a:t>People use your bot with a specific issue (“topic”) to address or resolve. You can loosely categorize topics into 3 types:  </a:t>
            </a:r>
          </a:p>
        </p:txBody>
      </p:sp>
    </p:spTree>
    <p:extLst>
      <p:ext uri="{BB962C8B-B14F-4D97-AF65-F5344CB8AC3E}">
        <p14:creationId xmlns:p14="http://schemas.microsoft.com/office/powerpoint/2010/main" val="2484636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E345F-CFB9-4F41-8E34-3F3F4F5FDF54}"/>
              </a:ext>
            </a:extLst>
          </p:cNvPr>
          <p:cNvSpPr>
            <a:spLocks noGrp="1"/>
          </p:cNvSpPr>
          <p:nvPr>
            <p:ph type="title"/>
          </p:nvPr>
        </p:nvSpPr>
        <p:spPr/>
        <p:txBody>
          <a:bodyPr/>
          <a:lstStyle/>
          <a:p>
            <a:r>
              <a:rPr lang="en-US"/>
              <a:t>Designing a topic</a:t>
            </a:r>
          </a:p>
        </p:txBody>
      </p:sp>
      <p:grpSp>
        <p:nvGrpSpPr>
          <p:cNvPr id="6" name="Group 5">
            <a:extLst>
              <a:ext uri="{FF2B5EF4-FFF2-40B4-BE49-F238E27FC236}">
                <a16:creationId xmlns:a16="http://schemas.microsoft.com/office/drawing/2014/main" id="{66E4B880-02D5-4153-9B42-F9D8E00CC725}"/>
              </a:ext>
            </a:extLst>
          </p:cNvPr>
          <p:cNvGrpSpPr/>
          <p:nvPr/>
        </p:nvGrpSpPr>
        <p:grpSpPr>
          <a:xfrm>
            <a:off x="2702600" y="2356715"/>
            <a:ext cx="6828008" cy="3350047"/>
            <a:chOff x="2756792" y="2403475"/>
            <a:chExt cx="6964924" cy="3749675"/>
          </a:xfrm>
        </p:grpSpPr>
        <p:cxnSp>
          <p:nvCxnSpPr>
            <p:cNvPr id="25" name="Straight Connector 24">
              <a:extLst>
                <a:ext uri="{FF2B5EF4-FFF2-40B4-BE49-F238E27FC236}">
                  <a16:creationId xmlns:a16="http://schemas.microsoft.com/office/drawing/2014/main" id="{32DF2EF5-5F68-4134-82BE-98F05E93032D}"/>
                </a:ext>
              </a:extLst>
            </p:cNvPr>
            <p:cNvCxnSpPr/>
            <p:nvPr/>
          </p:nvCxnSpPr>
          <p:spPr>
            <a:xfrm>
              <a:off x="5072337" y="2403475"/>
              <a:ext cx="0" cy="3749675"/>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C09945-15CA-4AA6-86C3-FEEC822FA5DF}"/>
                </a:ext>
              </a:extLst>
            </p:cNvPr>
            <p:cNvCxnSpPr/>
            <p:nvPr/>
          </p:nvCxnSpPr>
          <p:spPr>
            <a:xfrm>
              <a:off x="2756792" y="2403475"/>
              <a:ext cx="0" cy="3749675"/>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A2CF5D2-019E-4FAF-AE68-26AD105AFBA3}"/>
                </a:ext>
              </a:extLst>
            </p:cNvPr>
            <p:cNvCxnSpPr/>
            <p:nvPr/>
          </p:nvCxnSpPr>
          <p:spPr>
            <a:xfrm>
              <a:off x="7386787" y="2403475"/>
              <a:ext cx="0" cy="3749675"/>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3F02DB-BBD6-4DD1-A4DC-1DE1942184E7}"/>
                </a:ext>
              </a:extLst>
            </p:cNvPr>
            <p:cNvCxnSpPr/>
            <p:nvPr/>
          </p:nvCxnSpPr>
          <p:spPr>
            <a:xfrm>
              <a:off x="9721716" y="2403475"/>
              <a:ext cx="0" cy="3749675"/>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73ABC1F-FBE5-4EF3-8BBB-EAACE14BE784}"/>
              </a:ext>
            </a:extLst>
          </p:cNvPr>
          <p:cNvSpPr txBox="1"/>
          <p:nvPr/>
        </p:nvSpPr>
        <p:spPr>
          <a:xfrm>
            <a:off x="455994" y="2602945"/>
            <a:ext cx="2127252" cy="2388667"/>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350">
                <a:solidFill>
                  <a:srgbClr val="3C3C41"/>
                </a:solidFill>
                <a:latin typeface="Segoe UI"/>
              </a:rPr>
              <a:t>Choose a topic your bot audience will ask about</a:t>
            </a:r>
          </a:p>
          <a:p>
            <a:pPr marL="173990" indent="-173990">
              <a:spcBef>
                <a:spcPts val="784"/>
              </a:spcBef>
              <a:buFont typeface="Arial" panose="020B0604020202020204" pitchFamily="34" charset="0"/>
              <a:buChar char="•"/>
              <a:defRPr/>
            </a:pPr>
            <a:r>
              <a:rPr lang="en-US" sz="1350">
                <a:solidFill>
                  <a:srgbClr val="3C3C41"/>
                </a:solidFill>
                <a:latin typeface="Segoe UI"/>
              </a:rPr>
              <a:t>Focus on high-impact topics first</a:t>
            </a:r>
          </a:p>
          <a:p>
            <a:pPr marL="173990" indent="-173990">
              <a:spcBef>
                <a:spcPts val="784"/>
              </a:spcBef>
              <a:buFont typeface="Arial" panose="020B0604020202020204" pitchFamily="34" charset="0"/>
              <a:buChar char="•"/>
              <a:defRPr/>
            </a:pPr>
            <a:r>
              <a:rPr lang="en-US" sz="1350">
                <a:solidFill>
                  <a:srgbClr val="3C3C41"/>
                </a:solidFill>
                <a:latin typeface="Segoe UI"/>
                <a:cs typeface="Segoe UI"/>
              </a:rPr>
              <a:t>Put your customer empathy hat on … topic design requires understanding both sides of the conversation </a:t>
            </a:r>
          </a:p>
          <a:p>
            <a:pPr marL="173990" indent="-173990">
              <a:spcBef>
                <a:spcPts val="784"/>
              </a:spcBef>
              <a:buFont typeface="Arial" panose="020B0604020202020204" pitchFamily="34" charset="0"/>
              <a:buChar char="•"/>
              <a:defRPr/>
            </a:pPr>
            <a:endParaRPr lang="en-US" sz="1372">
              <a:solidFill>
                <a:srgbClr val="3C3C41"/>
              </a:solidFill>
              <a:latin typeface="Segoe UI"/>
              <a:cs typeface="Segoe UI"/>
            </a:endParaRPr>
          </a:p>
        </p:txBody>
      </p:sp>
      <p:sp>
        <p:nvSpPr>
          <p:cNvPr id="31" name="TextBox 30">
            <a:extLst>
              <a:ext uri="{FF2B5EF4-FFF2-40B4-BE49-F238E27FC236}">
                <a16:creationId xmlns:a16="http://schemas.microsoft.com/office/drawing/2014/main" id="{FB70005E-B71B-4DEE-BA57-58F84E72F936}"/>
              </a:ext>
            </a:extLst>
          </p:cNvPr>
          <p:cNvSpPr txBox="1"/>
          <p:nvPr/>
        </p:nvSpPr>
        <p:spPr>
          <a:xfrm>
            <a:off x="2775927" y="2602945"/>
            <a:ext cx="2139952" cy="933589"/>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350" dirty="0">
                <a:solidFill>
                  <a:srgbClr val="3C3C41"/>
                </a:solidFill>
                <a:latin typeface="Segoe UI"/>
              </a:rPr>
              <a:t>List all possible scenarios </a:t>
            </a:r>
          </a:p>
          <a:p>
            <a:pPr marL="173990" indent="-173990">
              <a:spcBef>
                <a:spcPts val="784"/>
              </a:spcBef>
              <a:buFont typeface="Arial" panose="020B0604020202020204" pitchFamily="34" charset="0"/>
              <a:buChar char="•"/>
              <a:defRPr/>
            </a:pPr>
            <a:r>
              <a:rPr lang="en-US" sz="1350" dirty="0">
                <a:solidFill>
                  <a:srgbClr val="3C3C41"/>
                </a:solidFill>
                <a:latin typeface="Segoe UI"/>
              </a:rPr>
              <a:t>Think about informational needs, task completion, and troubleshooting</a:t>
            </a:r>
            <a:endParaRPr lang="en-US" sz="1350" dirty="0">
              <a:solidFill>
                <a:srgbClr val="3C3C41"/>
              </a:solidFill>
              <a:latin typeface="Segoe UI"/>
              <a:cs typeface="Segoe UI"/>
            </a:endParaRPr>
          </a:p>
        </p:txBody>
      </p:sp>
      <p:sp>
        <p:nvSpPr>
          <p:cNvPr id="32" name="TextBox 31">
            <a:extLst>
              <a:ext uri="{FF2B5EF4-FFF2-40B4-BE49-F238E27FC236}">
                <a16:creationId xmlns:a16="http://schemas.microsoft.com/office/drawing/2014/main" id="{1F697B4A-F112-4DFE-9D5A-34747CCD9138}"/>
              </a:ext>
            </a:extLst>
          </p:cNvPr>
          <p:cNvSpPr txBox="1"/>
          <p:nvPr/>
        </p:nvSpPr>
        <p:spPr>
          <a:xfrm>
            <a:off x="5058054" y="2602946"/>
            <a:ext cx="1992328" cy="3393878"/>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372">
                <a:solidFill>
                  <a:srgbClr val="3C3C41"/>
                </a:solidFill>
              </a:rPr>
              <a:t>Use your favorite tool to draw the conversation tree</a:t>
            </a:r>
          </a:p>
          <a:p>
            <a:pPr marL="174297" indent="-174297">
              <a:spcBef>
                <a:spcPts val="784"/>
              </a:spcBef>
              <a:buFont typeface="Arial" panose="020B0604020202020204" pitchFamily="34" charset="0"/>
              <a:buChar char="•"/>
              <a:defRPr/>
            </a:pPr>
            <a:r>
              <a:rPr lang="en-US" sz="1372">
                <a:solidFill>
                  <a:srgbClr val="3C3C41"/>
                </a:solidFill>
                <a:latin typeface="Segoe UI"/>
              </a:rPr>
              <a:t>What is the fewest number of questions you can ask to understand the situation enough to provide the right solution?</a:t>
            </a:r>
          </a:p>
          <a:p>
            <a:pPr marL="174297" indent="-174297">
              <a:spcBef>
                <a:spcPts val="784"/>
              </a:spcBef>
              <a:buFont typeface="Arial" panose="020B0604020202020204" pitchFamily="34" charset="0"/>
              <a:buChar char="•"/>
              <a:defRPr/>
            </a:pPr>
            <a:r>
              <a:rPr lang="en-US" sz="1400">
                <a:solidFill>
                  <a:srgbClr val="3C3C41"/>
                </a:solidFill>
              </a:rPr>
              <a:t>Integrate with Power Automate to personalize and</a:t>
            </a:r>
            <a:br>
              <a:rPr lang="en-US" sz="1400"/>
            </a:br>
            <a:r>
              <a:rPr lang="en-US" sz="1400">
                <a:solidFill>
                  <a:srgbClr val="3C3C41"/>
                </a:solidFill>
              </a:rPr>
              <a:t>speed issue identification</a:t>
            </a:r>
            <a:endParaRPr lang="en-US" sz="1400">
              <a:solidFill>
                <a:srgbClr val="3C3C41"/>
              </a:solidFill>
              <a:cs typeface="Segoe UI"/>
            </a:endParaRPr>
          </a:p>
        </p:txBody>
      </p:sp>
      <p:sp>
        <p:nvSpPr>
          <p:cNvPr id="33" name="TextBox 32">
            <a:extLst>
              <a:ext uri="{FF2B5EF4-FFF2-40B4-BE49-F238E27FC236}">
                <a16:creationId xmlns:a16="http://schemas.microsoft.com/office/drawing/2014/main" id="{8CF37005-9969-4CF4-A024-D539E41DB0CA}"/>
              </a:ext>
            </a:extLst>
          </p:cNvPr>
          <p:cNvSpPr txBox="1"/>
          <p:nvPr/>
        </p:nvSpPr>
        <p:spPr>
          <a:xfrm>
            <a:off x="7323126" y="2602945"/>
            <a:ext cx="2161627" cy="1349087"/>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350">
                <a:solidFill>
                  <a:srgbClr val="3C3C41"/>
                </a:solidFill>
                <a:latin typeface="Segoe UI"/>
              </a:rPr>
              <a:t>Make answers clear and concise so users can scan </a:t>
            </a:r>
            <a:br>
              <a:rPr lang="en-US" sz="1350">
                <a:latin typeface="Segoe UI"/>
              </a:rPr>
            </a:br>
            <a:r>
              <a:rPr lang="en-US" sz="1350">
                <a:solidFill>
                  <a:srgbClr val="3C3C41"/>
                </a:solidFill>
                <a:latin typeface="Segoe UI"/>
              </a:rPr>
              <a:t>information quickly</a:t>
            </a:r>
            <a:endParaRPr lang="en-US" sz="1350"/>
          </a:p>
          <a:p>
            <a:pPr marL="173990" indent="-173990">
              <a:spcBef>
                <a:spcPts val="784"/>
              </a:spcBef>
              <a:buFont typeface="Arial" panose="020B0604020202020204" pitchFamily="34" charset="0"/>
              <a:buChar char="•"/>
              <a:defRPr/>
            </a:pPr>
            <a:r>
              <a:rPr lang="en-US" sz="1350">
                <a:solidFill>
                  <a:srgbClr val="3C3C41"/>
                </a:solidFill>
                <a:latin typeface="Segoe UI"/>
              </a:rPr>
              <a:t>Integrate with Power Automate to take action on the user’s behalf</a:t>
            </a:r>
            <a:endParaRPr lang="en-US" sz="1372">
              <a:solidFill>
                <a:srgbClr val="3C3C41"/>
              </a:solidFill>
              <a:latin typeface="Segoe UI"/>
              <a:cs typeface="Segoe UI"/>
            </a:endParaRPr>
          </a:p>
        </p:txBody>
      </p:sp>
      <p:sp>
        <p:nvSpPr>
          <p:cNvPr id="34" name="TextBox 33">
            <a:extLst>
              <a:ext uri="{FF2B5EF4-FFF2-40B4-BE49-F238E27FC236}">
                <a16:creationId xmlns:a16="http://schemas.microsoft.com/office/drawing/2014/main" id="{D1DDCA6B-4A60-43F8-9A21-721CB1AF57A1}"/>
              </a:ext>
            </a:extLst>
          </p:cNvPr>
          <p:cNvSpPr txBox="1"/>
          <p:nvPr/>
        </p:nvSpPr>
        <p:spPr>
          <a:xfrm>
            <a:off x="9632943" y="2602945"/>
            <a:ext cx="2088055" cy="1158330"/>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372">
                <a:solidFill>
                  <a:srgbClr val="3C3C41"/>
                </a:solidFill>
                <a:latin typeface="Segoe UI"/>
              </a:rPr>
              <a:t>Read the dialog out loud before publishing</a:t>
            </a:r>
          </a:p>
          <a:p>
            <a:pPr marL="174297" indent="-174297">
              <a:spcBef>
                <a:spcPts val="784"/>
              </a:spcBef>
              <a:buFont typeface="Arial" panose="020B0604020202020204" pitchFamily="34" charset="0"/>
              <a:buChar char="•"/>
              <a:defRPr/>
            </a:pPr>
            <a:r>
              <a:rPr lang="en-US" sz="1372">
                <a:solidFill>
                  <a:srgbClr val="3C3C41"/>
                </a:solidFill>
                <a:latin typeface="Segoe UI"/>
              </a:rPr>
              <a:t>Get analytics and read session transcripts for further optimization</a:t>
            </a:r>
          </a:p>
        </p:txBody>
      </p:sp>
      <p:grpSp>
        <p:nvGrpSpPr>
          <p:cNvPr id="22" name="Group 21">
            <a:extLst>
              <a:ext uri="{FF2B5EF4-FFF2-40B4-BE49-F238E27FC236}">
                <a16:creationId xmlns:a16="http://schemas.microsoft.com/office/drawing/2014/main" id="{36D8DFD0-5C5D-4F19-B97B-C8D6AB41AF0C}"/>
              </a:ext>
            </a:extLst>
          </p:cNvPr>
          <p:cNvGrpSpPr/>
          <p:nvPr/>
        </p:nvGrpSpPr>
        <p:grpSpPr>
          <a:xfrm>
            <a:off x="455994" y="1687509"/>
            <a:ext cx="11494003" cy="669206"/>
            <a:chOff x="465137" y="1720850"/>
            <a:chExt cx="11544301" cy="682625"/>
          </a:xfrm>
        </p:grpSpPr>
        <p:sp>
          <p:nvSpPr>
            <p:cNvPr id="23" name="Arrow: Pentagon 22">
              <a:extLst>
                <a:ext uri="{FF2B5EF4-FFF2-40B4-BE49-F238E27FC236}">
                  <a16:creationId xmlns:a16="http://schemas.microsoft.com/office/drawing/2014/main" id="{68C06A33-C461-4D20-88BC-6F600E4774FE}"/>
                </a:ext>
              </a:extLst>
            </p:cNvPr>
            <p:cNvSpPr/>
            <p:nvPr/>
          </p:nvSpPr>
          <p:spPr bwMode="auto">
            <a:xfrm>
              <a:off x="465137" y="1720850"/>
              <a:ext cx="2392555" cy="682625"/>
            </a:xfrm>
            <a:prstGeom prst="homePlate">
              <a:avLst>
                <a:gd name="adj" fmla="val 26454"/>
              </a:avLst>
            </a:prstGeom>
            <a:solidFill>
              <a:srgbClr val="18B7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372">
                  <a:solidFill>
                    <a:schemeClr val="bg1"/>
                  </a:solidFill>
                  <a:latin typeface="Segoe UI Semibold"/>
                </a:rPr>
                <a:t>Identify the topic</a:t>
              </a:r>
            </a:p>
          </p:txBody>
        </p:sp>
        <p:sp>
          <p:nvSpPr>
            <p:cNvPr id="24" name="Arrow: Chevron 23">
              <a:extLst>
                <a:ext uri="{FF2B5EF4-FFF2-40B4-BE49-F238E27FC236}">
                  <a16:creationId xmlns:a16="http://schemas.microsoft.com/office/drawing/2014/main" id="{9DD5808A-016D-47EC-91A4-679BC4D884C5}"/>
                </a:ext>
              </a:extLst>
            </p:cNvPr>
            <p:cNvSpPr/>
            <p:nvPr/>
          </p:nvSpPr>
          <p:spPr bwMode="auto">
            <a:xfrm>
              <a:off x="2753074" y="1720850"/>
              <a:ext cx="2392555" cy="682625"/>
            </a:xfrm>
            <a:prstGeom prst="chevron">
              <a:avLst>
                <a:gd name="adj" fmla="val 26500"/>
              </a:avLst>
            </a:prstGeom>
            <a:solidFill>
              <a:srgbClr val="149AB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372">
                  <a:solidFill>
                    <a:schemeClr val="bg1"/>
                  </a:solidFill>
                  <a:latin typeface="Segoe UI Semibold"/>
                </a:rPr>
                <a:t>List all scenarios</a:t>
              </a:r>
            </a:p>
          </p:txBody>
        </p:sp>
        <p:sp>
          <p:nvSpPr>
            <p:cNvPr id="30" name="Arrow: Chevron 29">
              <a:extLst>
                <a:ext uri="{FF2B5EF4-FFF2-40B4-BE49-F238E27FC236}">
                  <a16:creationId xmlns:a16="http://schemas.microsoft.com/office/drawing/2014/main" id="{D0B64406-3CF4-4FCC-9A51-7A51F57313EF}"/>
                </a:ext>
              </a:extLst>
            </p:cNvPr>
            <p:cNvSpPr/>
            <p:nvPr/>
          </p:nvSpPr>
          <p:spPr bwMode="auto">
            <a:xfrm>
              <a:off x="5041011" y="1720850"/>
              <a:ext cx="2392555" cy="682625"/>
            </a:xfrm>
            <a:prstGeom prst="chevron">
              <a:avLst>
                <a:gd name="adj" fmla="val 26500"/>
              </a:avLst>
            </a:prstGeom>
            <a:solidFill>
              <a:srgbClr val="117D9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372">
                  <a:solidFill>
                    <a:schemeClr val="bg1"/>
                  </a:solidFill>
                  <a:latin typeface="Segoe UI Semibold"/>
                </a:rPr>
                <a:t>Design a high-level</a:t>
              </a:r>
              <a:br>
                <a:rPr lang="en-US" sz="1372">
                  <a:solidFill>
                    <a:schemeClr val="bg1"/>
                  </a:solidFill>
                  <a:latin typeface="Segoe UI Semibold"/>
                </a:rPr>
              </a:br>
              <a:r>
                <a:rPr lang="en-US" sz="1372">
                  <a:solidFill>
                    <a:schemeClr val="bg1"/>
                  </a:solidFill>
                  <a:latin typeface="Segoe UI Semibold"/>
                </a:rPr>
                <a:t>conversation tree</a:t>
              </a:r>
            </a:p>
          </p:txBody>
        </p:sp>
        <p:sp>
          <p:nvSpPr>
            <p:cNvPr id="35" name="Arrow: Chevron 34">
              <a:extLst>
                <a:ext uri="{FF2B5EF4-FFF2-40B4-BE49-F238E27FC236}">
                  <a16:creationId xmlns:a16="http://schemas.microsoft.com/office/drawing/2014/main" id="{707C87B3-E362-4E21-9581-B6E6BC812CF2}"/>
                </a:ext>
              </a:extLst>
            </p:cNvPr>
            <p:cNvSpPr/>
            <p:nvPr/>
          </p:nvSpPr>
          <p:spPr bwMode="auto">
            <a:xfrm>
              <a:off x="7328948" y="1720850"/>
              <a:ext cx="2392555" cy="682625"/>
            </a:xfrm>
            <a:prstGeom prst="chevron">
              <a:avLst>
                <a:gd name="adj" fmla="val 26500"/>
              </a:avLst>
            </a:prstGeom>
            <a:solidFill>
              <a:srgbClr val="0E6B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372">
                  <a:solidFill>
                    <a:schemeClr val="bg1"/>
                  </a:solidFill>
                  <a:latin typeface="Segoe UI Semibold"/>
                </a:rPr>
                <a:t>Design solutions</a:t>
              </a:r>
            </a:p>
          </p:txBody>
        </p:sp>
        <p:sp>
          <p:nvSpPr>
            <p:cNvPr id="36" name="Arrow: Chevron 35">
              <a:extLst>
                <a:ext uri="{FF2B5EF4-FFF2-40B4-BE49-F238E27FC236}">
                  <a16:creationId xmlns:a16="http://schemas.microsoft.com/office/drawing/2014/main" id="{E327B617-293B-43A1-A3FF-A0ADAB7C5664}"/>
                </a:ext>
              </a:extLst>
            </p:cNvPr>
            <p:cNvSpPr/>
            <p:nvPr/>
          </p:nvSpPr>
          <p:spPr bwMode="auto">
            <a:xfrm>
              <a:off x="9616883" y="1720850"/>
              <a:ext cx="2392555" cy="682625"/>
            </a:xfrm>
            <a:prstGeom prst="chevron">
              <a:avLst>
                <a:gd name="adj" fmla="val 265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372">
                  <a:solidFill>
                    <a:schemeClr val="bg1"/>
                  </a:solidFill>
                  <a:latin typeface="Segoe UI Semibold"/>
                </a:rPr>
                <a:t>Validate and iterate </a:t>
              </a:r>
              <a:br>
                <a:rPr lang="en-US" sz="1372">
                  <a:solidFill>
                    <a:schemeClr val="bg1"/>
                  </a:solidFill>
                  <a:latin typeface="Segoe UI Semibold"/>
                </a:rPr>
              </a:br>
              <a:r>
                <a:rPr lang="en-US" sz="1372">
                  <a:solidFill>
                    <a:schemeClr val="bg1"/>
                  </a:solidFill>
                  <a:latin typeface="Segoe UI Semibold"/>
                </a:rPr>
                <a:t>on the design</a:t>
              </a:r>
            </a:p>
          </p:txBody>
        </p:sp>
      </p:grpSp>
    </p:spTree>
    <p:extLst>
      <p:ext uri="{BB962C8B-B14F-4D97-AF65-F5344CB8AC3E}">
        <p14:creationId xmlns:p14="http://schemas.microsoft.com/office/powerpoint/2010/main" val="872843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8640297-159A-45B7-A44A-5B3E3173F6AB}"/>
              </a:ext>
            </a:extLst>
          </p:cNvPr>
          <p:cNvSpPr/>
          <p:nvPr/>
        </p:nvSpPr>
        <p:spPr bwMode="auto">
          <a:xfrm rot="2700000">
            <a:off x="6383492" y="3050634"/>
            <a:ext cx="272740" cy="4571817"/>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0AF02949-F9D5-4CEE-B421-15553C7B2281}"/>
              </a:ext>
            </a:extLst>
          </p:cNvPr>
          <p:cNvSpPr/>
          <p:nvPr/>
        </p:nvSpPr>
        <p:spPr bwMode="auto">
          <a:xfrm>
            <a:off x="8122561" y="2788562"/>
            <a:ext cx="4069439" cy="4069439"/>
          </a:xfrm>
          <a:custGeom>
            <a:avLst/>
            <a:gdLst>
              <a:gd name="connsiteX0" fmla="*/ 4069439 w 4069439"/>
              <a:gd name="connsiteY0" fmla="*/ 0 h 4069439"/>
              <a:gd name="connsiteX1" fmla="*/ 4069439 w 4069439"/>
              <a:gd name="connsiteY1" fmla="*/ 4069439 h 4069439"/>
              <a:gd name="connsiteX2" fmla="*/ 0 w 4069439"/>
              <a:gd name="connsiteY2" fmla="*/ 4069439 h 4069439"/>
            </a:gdLst>
            <a:ahLst/>
            <a:cxnLst>
              <a:cxn ang="0">
                <a:pos x="connsiteX0" y="connsiteY0"/>
              </a:cxn>
              <a:cxn ang="0">
                <a:pos x="connsiteX1" y="connsiteY1"/>
              </a:cxn>
              <a:cxn ang="0">
                <a:pos x="connsiteX2" y="connsiteY2"/>
              </a:cxn>
            </a:cxnLst>
            <a:rect l="l" t="t" r="r" b="b"/>
            <a:pathLst>
              <a:path w="4069439" h="4069439">
                <a:moveTo>
                  <a:pt x="4069439" y="0"/>
                </a:moveTo>
                <a:lnTo>
                  <a:pt x="4069439" y="4069439"/>
                </a:lnTo>
                <a:lnTo>
                  <a:pt x="0" y="406943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CC27B080-26E2-4C24-8C5A-23B90A457071}"/>
              </a:ext>
            </a:extLst>
          </p:cNvPr>
          <p:cNvSpPr/>
          <p:nvPr/>
        </p:nvSpPr>
        <p:spPr bwMode="auto">
          <a:xfrm rot="16200000">
            <a:off x="8972554" y="0"/>
            <a:ext cx="3219446" cy="321944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16">
            <a:extLst>
              <a:ext uri="{FF2B5EF4-FFF2-40B4-BE49-F238E27FC236}">
                <a16:creationId xmlns:a16="http://schemas.microsoft.com/office/drawing/2014/main" id="{3903F6F3-B478-46DD-A319-2B5D2DD576E2}"/>
              </a:ext>
            </a:extLst>
          </p:cNvPr>
          <p:cNvSpPr/>
          <p:nvPr/>
        </p:nvSpPr>
        <p:spPr bwMode="auto">
          <a:xfrm rot="2700000">
            <a:off x="2884761" y="3238422"/>
            <a:ext cx="254094" cy="4359533"/>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16">
            <a:extLst>
              <a:ext uri="{FF2B5EF4-FFF2-40B4-BE49-F238E27FC236}">
                <a16:creationId xmlns:a16="http://schemas.microsoft.com/office/drawing/2014/main" id="{7BB00C7B-8FFE-47A5-BD46-73C8F6870A51}"/>
              </a:ext>
            </a:extLst>
          </p:cNvPr>
          <p:cNvSpPr/>
          <p:nvPr/>
        </p:nvSpPr>
        <p:spPr bwMode="auto">
          <a:xfrm rot="2700000">
            <a:off x="319062" y="3562171"/>
            <a:ext cx="165459" cy="991925"/>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E0A35642-E090-4F14-B6D2-5216C18AA2B5}"/>
              </a:ext>
            </a:extLst>
          </p:cNvPr>
          <p:cNvSpPr/>
          <p:nvPr/>
        </p:nvSpPr>
        <p:spPr bwMode="auto">
          <a:xfrm>
            <a:off x="819771" y="1999346"/>
            <a:ext cx="1836054" cy="1836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8464E22-4BE5-4A13-970D-878A75627EFF}"/>
              </a:ext>
            </a:extLst>
          </p:cNvPr>
          <p:cNvSpPr>
            <a:spLocks noGrp="1"/>
          </p:cNvSpPr>
          <p:nvPr>
            <p:ph type="title"/>
          </p:nvPr>
        </p:nvSpPr>
        <p:spPr/>
        <p:txBody>
          <a:bodyPr/>
          <a:lstStyle/>
          <a:p>
            <a:r>
              <a:rPr lang="en-US">
                <a:solidFill>
                  <a:srgbClr val="3C3C41"/>
                </a:solidFill>
              </a:rPr>
              <a:t>Complex challenges</a:t>
            </a:r>
            <a:endParaRPr lang="en-IN"/>
          </a:p>
        </p:txBody>
      </p:sp>
      <p:grpSp>
        <p:nvGrpSpPr>
          <p:cNvPr id="3" name="Group 2">
            <a:extLst>
              <a:ext uri="{FF2B5EF4-FFF2-40B4-BE49-F238E27FC236}">
                <a16:creationId xmlns:a16="http://schemas.microsoft.com/office/drawing/2014/main" id="{6BF4633A-69E1-4891-814D-493DA5684D5C}"/>
              </a:ext>
            </a:extLst>
          </p:cNvPr>
          <p:cNvGrpSpPr/>
          <p:nvPr/>
        </p:nvGrpSpPr>
        <p:grpSpPr>
          <a:xfrm>
            <a:off x="8997044" y="5045612"/>
            <a:ext cx="2641599" cy="1600048"/>
            <a:chOff x="8997044" y="5045612"/>
            <a:chExt cx="2641599" cy="1600048"/>
          </a:xfrm>
        </p:grpSpPr>
        <p:sp>
          <p:nvSpPr>
            <p:cNvPr id="13" name="Rectangle 12">
              <a:extLst>
                <a:ext uri="{FF2B5EF4-FFF2-40B4-BE49-F238E27FC236}">
                  <a16:creationId xmlns:a16="http://schemas.microsoft.com/office/drawing/2014/main" id="{CBFB72BB-FAE1-4B42-8E10-E6DCAD81AC5B}"/>
                </a:ext>
              </a:extLst>
            </p:cNvPr>
            <p:cNvSpPr/>
            <p:nvPr/>
          </p:nvSpPr>
          <p:spPr>
            <a:xfrm>
              <a:off x="10197194" y="5045612"/>
              <a:ext cx="1441449" cy="457048"/>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100" b="0" i="0" u="none" strike="noStrike" kern="0" cap="none" spc="0" normalizeH="0" baseline="0" noProof="0">
                  <a:ln>
                    <a:noFill/>
                  </a:ln>
                  <a:effectLst/>
                  <a:uLnTx/>
                  <a:uFillTx/>
                  <a:latin typeface="Segoe UI"/>
                  <a:ea typeface="+mn-ea"/>
                  <a:cs typeface="+mn-cs"/>
                </a:rPr>
                <a:t>Global State of Customer Service, Microsoft</a:t>
              </a:r>
            </a:p>
          </p:txBody>
        </p:sp>
        <p:sp>
          <p:nvSpPr>
            <p:cNvPr id="19" name="Rectangle 18">
              <a:extLst>
                <a:ext uri="{FF2B5EF4-FFF2-40B4-BE49-F238E27FC236}">
                  <a16:creationId xmlns:a16="http://schemas.microsoft.com/office/drawing/2014/main" id="{75858576-FDC2-45F2-8B59-BAC3AB8F1A68}"/>
                </a:ext>
              </a:extLst>
            </p:cNvPr>
            <p:cNvSpPr/>
            <p:nvPr/>
          </p:nvSpPr>
          <p:spPr>
            <a:xfrm>
              <a:off x="9587594" y="5617112"/>
              <a:ext cx="1793874" cy="457048"/>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2"/>
                <a:defRPr/>
              </a:pPr>
              <a:r>
                <a:rPr lang="en-US" sz="1100" kern="0"/>
                <a:t>Aberdeen: Empowered Customers Demand a Seamless Experience</a:t>
              </a:r>
            </a:p>
          </p:txBody>
        </p:sp>
        <p:sp>
          <p:nvSpPr>
            <p:cNvPr id="20" name="Rectangle 19">
              <a:extLst>
                <a:ext uri="{FF2B5EF4-FFF2-40B4-BE49-F238E27FC236}">
                  <a16:creationId xmlns:a16="http://schemas.microsoft.com/office/drawing/2014/main" id="{34C3A1E9-B78D-49F0-9A2A-B9C9070AE254}"/>
                </a:ext>
              </a:extLst>
            </p:cNvPr>
            <p:cNvSpPr/>
            <p:nvPr/>
          </p:nvSpPr>
          <p:spPr>
            <a:xfrm>
              <a:off x="8997044" y="6188612"/>
              <a:ext cx="2003424" cy="457048"/>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3"/>
                <a:defRPr/>
              </a:pPr>
              <a:r>
                <a:rPr lang="en-US" sz="1100" kern="0"/>
                <a:t>Dimension Data: 2017 Global Customer Experience Benchmarking Report</a:t>
              </a:r>
            </a:p>
          </p:txBody>
        </p:sp>
      </p:grpSp>
      <p:sp>
        <p:nvSpPr>
          <p:cNvPr id="26" name="Rectangle 25">
            <a:extLst>
              <a:ext uri="{FF2B5EF4-FFF2-40B4-BE49-F238E27FC236}">
                <a16:creationId xmlns:a16="http://schemas.microsoft.com/office/drawing/2014/main" id="{D8C28407-F893-45E6-8E9F-74F70CA12DAF}"/>
              </a:ext>
            </a:extLst>
          </p:cNvPr>
          <p:cNvSpPr/>
          <p:nvPr/>
        </p:nvSpPr>
        <p:spPr>
          <a:xfrm>
            <a:off x="478971" y="4349664"/>
            <a:ext cx="2391229" cy="1089529"/>
          </a:xfrm>
          <a:prstGeom prst="rect">
            <a:avLst/>
          </a:prstGeom>
        </p:spPr>
        <p:txBody>
          <a:bodyPr wrap="square">
            <a:spAutoFit/>
          </a:bodyPr>
          <a:lstStyle/>
          <a:p>
            <a:pPr marL="0" marR="0" lvl="0" indent="0" defTabSz="914192" rtl="0" eaLnBrk="1" fontAlgn="auto" latinLnBrk="0" hangingPunct="1">
              <a:lnSpc>
                <a:spcPct val="90000"/>
              </a:lnSpc>
              <a:spcBef>
                <a:spcPts val="588"/>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800" b="0" i="0" u="none" strike="noStrike" kern="1200" cap="none" spc="0" normalizeH="0" baseline="30000" noProof="0">
                <a:ln>
                  <a:noFill/>
                </a:ln>
                <a:effectLst/>
                <a:uLnTx/>
                <a:uFillTx/>
                <a:latin typeface="Segoe UI" panose="020B0502040204020203" pitchFamily="34" charset="0"/>
                <a:ea typeface="+mn-ea"/>
                <a:cs typeface="Segoe UI" panose="020B0502040204020203" pitchFamily="34" charset="0"/>
              </a:rPr>
              <a:t>1</a:t>
            </a:r>
            <a:r>
              <a:rPr kumimoji="0" lang="en-US" sz="18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 </a:t>
            </a:r>
          </a:p>
        </p:txBody>
      </p:sp>
      <p:sp>
        <p:nvSpPr>
          <p:cNvPr id="47" name="Oval 46">
            <a:extLst>
              <a:ext uri="{FF2B5EF4-FFF2-40B4-BE49-F238E27FC236}">
                <a16:creationId xmlns:a16="http://schemas.microsoft.com/office/drawing/2014/main" id="{DB11A6AA-7F28-43AE-AA57-93DB76AD8B4B}"/>
              </a:ext>
            </a:extLst>
          </p:cNvPr>
          <p:cNvSpPr/>
          <p:nvPr/>
        </p:nvSpPr>
        <p:spPr bwMode="auto">
          <a:xfrm>
            <a:off x="4438042" y="1999346"/>
            <a:ext cx="1836054" cy="1836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2C353DCB-D6B2-41C9-9F52-92BCCD9650ED}"/>
              </a:ext>
            </a:extLst>
          </p:cNvPr>
          <p:cNvSpPr/>
          <p:nvPr/>
        </p:nvSpPr>
        <p:spPr bwMode="auto">
          <a:xfrm>
            <a:off x="8164191" y="1999346"/>
            <a:ext cx="1836054" cy="1836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43FB00AE-0755-4776-A6A7-6D4A606DC8E5}"/>
              </a:ext>
            </a:extLst>
          </p:cNvPr>
          <p:cNvGrpSpPr/>
          <p:nvPr/>
        </p:nvGrpSpPr>
        <p:grpSpPr>
          <a:xfrm>
            <a:off x="313296" y="1367415"/>
            <a:ext cx="2874404" cy="3081770"/>
            <a:chOff x="2537323" y="1888115"/>
            <a:chExt cx="2874404" cy="3081770"/>
          </a:xfrm>
        </p:grpSpPr>
        <p:graphicFrame>
          <p:nvGraphicFramePr>
            <p:cNvPr id="50" name="Chart 49">
              <a:extLst>
                <a:ext uri="{FF2B5EF4-FFF2-40B4-BE49-F238E27FC236}">
                  <a16:creationId xmlns:a16="http://schemas.microsoft.com/office/drawing/2014/main" id="{4774DB1F-54A2-4706-A516-8FC0F470119E}"/>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3"/>
            </a:graphicData>
          </a:graphic>
        </p:graphicFrame>
        <p:sp>
          <p:nvSpPr>
            <p:cNvPr id="51" name="Rectangle 50">
              <a:extLst>
                <a:ext uri="{FF2B5EF4-FFF2-40B4-BE49-F238E27FC236}">
                  <a16:creationId xmlns:a16="http://schemas.microsoft.com/office/drawing/2014/main" id="{133EC28B-F9DB-4E86-BEBD-15D6FA21EE95}"/>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66%</a:t>
              </a:r>
            </a:p>
          </p:txBody>
        </p:sp>
      </p:grpSp>
      <p:grpSp>
        <p:nvGrpSpPr>
          <p:cNvPr id="41" name="Group 40">
            <a:extLst>
              <a:ext uri="{FF2B5EF4-FFF2-40B4-BE49-F238E27FC236}">
                <a16:creationId xmlns:a16="http://schemas.microsoft.com/office/drawing/2014/main" id="{4DFC9FA8-BFC0-4003-B6B1-01A85D494DE5}"/>
              </a:ext>
            </a:extLst>
          </p:cNvPr>
          <p:cNvGrpSpPr/>
          <p:nvPr/>
        </p:nvGrpSpPr>
        <p:grpSpPr>
          <a:xfrm>
            <a:off x="3958196" y="1367415"/>
            <a:ext cx="2874404" cy="3081770"/>
            <a:chOff x="2537323" y="1888115"/>
            <a:chExt cx="2874404" cy="3081770"/>
          </a:xfrm>
        </p:grpSpPr>
        <p:graphicFrame>
          <p:nvGraphicFramePr>
            <p:cNvPr id="42" name="Chart 41">
              <a:extLst>
                <a:ext uri="{FF2B5EF4-FFF2-40B4-BE49-F238E27FC236}">
                  <a16:creationId xmlns:a16="http://schemas.microsoft.com/office/drawing/2014/main" id="{250A56B4-B0F6-4771-A644-F77601187C02}"/>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42">
              <a:extLst>
                <a:ext uri="{FF2B5EF4-FFF2-40B4-BE49-F238E27FC236}">
                  <a16:creationId xmlns:a16="http://schemas.microsoft.com/office/drawing/2014/main" id="{E76CC498-C0C3-4C89-AE20-4022E7E9567E}"/>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90%</a:t>
              </a:r>
            </a:p>
          </p:txBody>
        </p:sp>
      </p:grpSp>
      <p:grpSp>
        <p:nvGrpSpPr>
          <p:cNvPr id="44" name="Group 43">
            <a:extLst>
              <a:ext uri="{FF2B5EF4-FFF2-40B4-BE49-F238E27FC236}">
                <a16:creationId xmlns:a16="http://schemas.microsoft.com/office/drawing/2014/main" id="{35B50A25-BC04-4924-BF12-D04A55C8AB7D}"/>
              </a:ext>
            </a:extLst>
          </p:cNvPr>
          <p:cNvGrpSpPr/>
          <p:nvPr/>
        </p:nvGrpSpPr>
        <p:grpSpPr>
          <a:xfrm>
            <a:off x="7666596" y="1367415"/>
            <a:ext cx="2874404" cy="3081770"/>
            <a:chOff x="2537323" y="1888115"/>
            <a:chExt cx="2874404" cy="3081770"/>
          </a:xfrm>
        </p:grpSpPr>
        <p:graphicFrame>
          <p:nvGraphicFramePr>
            <p:cNvPr id="45" name="Chart 44">
              <a:extLst>
                <a:ext uri="{FF2B5EF4-FFF2-40B4-BE49-F238E27FC236}">
                  <a16:creationId xmlns:a16="http://schemas.microsoft.com/office/drawing/2014/main" id="{DB03485E-C52B-4B46-BF37-41AC01F3CF7F}"/>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5"/>
            </a:graphicData>
          </a:graphic>
        </p:graphicFrame>
        <p:sp>
          <p:nvSpPr>
            <p:cNvPr id="46" name="Rectangle 45">
              <a:extLst>
                <a:ext uri="{FF2B5EF4-FFF2-40B4-BE49-F238E27FC236}">
                  <a16:creationId xmlns:a16="http://schemas.microsoft.com/office/drawing/2014/main" id="{2F4A96F3-50D2-4539-8973-75081C96D422}"/>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59%</a:t>
              </a:r>
            </a:p>
          </p:txBody>
        </p:sp>
      </p:grpSp>
      <p:sp>
        <p:nvSpPr>
          <p:cNvPr id="52" name="Rectangle 51">
            <a:extLst>
              <a:ext uri="{FF2B5EF4-FFF2-40B4-BE49-F238E27FC236}">
                <a16:creationId xmlns:a16="http://schemas.microsoft.com/office/drawing/2014/main" id="{FF6B9D66-8570-4E30-AE46-36BCB79EBF0C}"/>
              </a:ext>
            </a:extLst>
          </p:cNvPr>
          <p:cNvSpPr/>
          <p:nvPr/>
        </p:nvSpPr>
        <p:spPr>
          <a:xfrm>
            <a:off x="4175900" y="4349664"/>
            <a:ext cx="2391229" cy="1089529"/>
          </a:xfrm>
          <a:prstGeom prst="rect">
            <a:avLst/>
          </a:prstGeom>
        </p:spPr>
        <p:txBody>
          <a:bodyPr wrap="square">
            <a:spAutoFit/>
          </a:bodyPr>
          <a:lstStyle/>
          <a:p>
            <a:pPr lvl="0" defTabSz="914192">
              <a:lnSpc>
                <a:spcPct val="90000"/>
              </a:lnSpc>
              <a:spcBef>
                <a:spcPts val="588"/>
              </a:spcBef>
              <a:buSzPct val="90000"/>
              <a:defRPr/>
            </a:pPr>
            <a:r>
              <a:rPr lang="en-US" sz="1800">
                <a:latin typeface="Segoe UI" panose="020B0502040204020203" pitchFamily="34" charset="0"/>
                <a:cs typeface="Segoe UI" panose="020B0502040204020203" pitchFamily="34" charset="0"/>
              </a:rPr>
              <a:t>of customers expect consistency and continuity across channels</a:t>
            </a:r>
            <a:r>
              <a:rPr lang="en-US" sz="1800" baseline="30000">
                <a:latin typeface="Segoe UI" panose="020B0502040204020203" pitchFamily="34" charset="0"/>
                <a:cs typeface="Segoe UI" panose="020B0502040204020203" pitchFamily="34" charset="0"/>
              </a:rPr>
              <a:t>2</a:t>
            </a:r>
          </a:p>
        </p:txBody>
      </p:sp>
      <p:sp>
        <p:nvSpPr>
          <p:cNvPr id="53" name="Rectangle 52">
            <a:extLst>
              <a:ext uri="{FF2B5EF4-FFF2-40B4-BE49-F238E27FC236}">
                <a16:creationId xmlns:a16="http://schemas.microsoft.com/office/drawing/2014/main" id="{F28AC62C-1E28-4B1C-B23B-C833D00B9C8C}"/>
              </a:ext>
            </a:extLst>
          </p:cNvPr>
          <p:cNvSpPr/>
          <p:nvPr/>
        </p:nvSpPr>
        <p:spPr>
          <a:xfrm>
            <a:off x="7713160" y="4349664"/>
            <a:ext cx="2391229" cy="590931"/>
          </a:xfrm>
          <a:prstGeom prst="rect">
            <a:avLst/>
          </a:prstGeom>
        </p:spPr>
        <p:txBody>
          <a:bodyPr wrap="square">
            <a:spAutoFit/>
          </a:bodyPr>
          <a:lstStyle/>
          <a:p>
            <a:pPr lvl="0" defTabSz="914192">
              <a:lnSpc>
                <a:spcPct val="90000"/>
              </a:lnSpc>
              <a:spcBef>
                <a:spcPts val="588"/>
              </a:spcBef>
              <a:buSzPct val="90000"/>
              <a:defRPr/>
            </a:pPr>
            <a:r>
              <a:rPr lang="en-US" sz="1800">
                <a:latin typeface="Segoe UI" panose="020B0502040204020203" pitchFamily="34" charset="0"/>
                <a:cs typeface="Segoe UI" panose="020B0502040204020203" pitchFamily="34" charset="0"/>
              </a:rPr>
              <a:t>of channels are </a:t>
            </a:r>
            <a:br>
              <a:rPr lang="en-US" sz="1800">
                <a:latin typeface="Segoe UI" panose="020B0502040204020203" pitchFamily="34" charset="0"/>
                <a:cs typeface="Segoe UI" panose="020B0502040204020203" pitchFamily="34" charset="0"/>
              </a:rPr>
            </a:br>
            <a:r>
              <a:rPr lang="en-US" sz="1800">
                <a:latin typeface="Segoe UI" panose="020B0502040204020203" pitchFamily="34" charset="0"/>
                <a:cs typeface="Segoe UI" panose="020B0502040204020203" pitchFamily="34" charset="0"/>
              </a:rPr>
              <a:t>managed in silos</a:t>
            </a:r>
            <a:r>
              <a:rPr lang="en-US" sz="1800" baseline="30000">
                <a:latin typeface="Segoe UI" panose="020B0502040204020203" pitchFamily="34" charset="0"/>
                <a:cs typeface="Segoe UI" panose="020B0502040204020203" pitchFamily="34" charset="0"/>
              </a:rPr>
              <a:t>3</a:t>
            </a:r>
          </a:p>
        </p:txBody>
      </p:sp>
    </p:spTree>
    <p:extLst>
      <p:ext uri="{BB962C8B-B14F-4D97-AF65-F5344CB8AC3E}">
        <p14:creationId xmlns:p14="http://schemas.microsoft.com/office/powerpoint/2010/main" val="2333076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up)">
                                      <p:cBhvr>
                                        <p:cTn id="10" dur="500"/>
                                        <p:tgtEl>
                                          <p:spTgt spid="2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up)">
                                      <p:cBhvr>
                                        <p:cTn id="13" dur="500"/>
                                        <p:tgtEl>
                                          <p:spTgt spid="2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up)">
                                      <p:cBhvr>
                                        <p:cTn id="21" dur="500"/>
                                        <p:tgtEl>
                                          <p:spTgt spid="21"/>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wipe(up)">
                                      <p:cBhvr>
                                        <p:cTn id="24" dur="500"/>
                                        <p:tgtEl>
                                          <p:spTgt spid="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up)">
                                      <p:cBhvr>
                                        <p:cTn id="32" dur="500"/>
                                        <p:tgtEl>
                                          <p:spTgt spid="17"/>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wipe(up)">
                                      <p:cBhvr>
                                        <p:cTn id="35" dur="500"/>
                                        <p:tgtEl>
                                          <p:spTgt spid="53"/>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6" grpId="0"/>
      <p:bldP spid="52" grpId="0"/>
      <p:bldP spid="5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r>
              <a:rPr lang="en-US" sz="2800" dirty="0">
                <a:cs typeface="Segoe UI"/>
              </a:rPr>
              <a:t>Lab 08: Virtual agent topic design</a:t>
            </a:r>
          </a:p>
        </p:txBody>
      </p:sp>
    </p:spTree>
    <p:extLst>
      <p:ext uri="{BB962C8B-B14F-4D97-AF65-F5344CB8AC3E}">
        <p14:creationId xmlns:p14="http://schemas.microsoft.com/office/powerpoint/2010/main" val="344549512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cs typeface="Segoe UI"/>
              </a:rPr>
              <a:t>Best practices for writing topic trigger phrases</a:t>
            </a:r>
          </a:p>
        </p:txBody>
      </p:sp>
      <p:grpSp>
        <p:nvGrpSpPr>
          <p:cNvPr id="3" name="Group 2">
            <a:extLst>
              <a:ext uri="{FF2B5EF4-FFF2-40B4-BE49-F238E27FC236}">
                <a16:creationId xmlns:a16="http://schemas.microsoft.com/office/drawing/2014/main" id="{FDEF0415-C2D8-4A6F-8B93-F588F1CB0369}"/>
              </a:ext>
            </a:extLst>
          </p:cNvPr>
          <p:cNvGrpSpPr/>
          <p:nvPr/>
        </p:nvGrpSpPr>
        <p:grpSpPr>
          <a:xfrm>
            <a:off x="9224441" y="4884661"/>
            <a:ext cx="2967561" cy="1976519"/>
            <a:chOff x="9224440" y="4884660"/>
            <a:chExt cx="2967561" cy="1976519"/>
          </a:xfrm>
        </p:grpSpPr>
        <p:sp>
          <p:nvSpPr>
            <p:cNvPr id="4" name="Freeform: Shape 3">
              <a:extLst>
                <a:ext uri="{FF2B5EF4-FFF2-40B4-BE49-F238E27FC236}">
                  <a16:creationId xmlns:a16="http://schemas.microsoft.com/office/drawing/2014/main" id="{9BCB1DCE-F012-49A6-A46A-853B7D6052E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E5287D9-A54A-4B1D-BAD0-AC5B71B1080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78D145BE-BF3C-4E4A-A288-24A8EB91830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09246B38-4654-4EA2-A64E-0480D8205AE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08C6AC41-A065-4785-82E5-6DF58861912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1C8BAD0-01F4-49E7-BFD2-EE2D445626A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673DA008-4224-4239-A377-6728E98EA4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1839394D-0152-4753-AAB4-D1AF4F29B61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080EFD9-6816-4488-863C-BFC66FA6E24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4B932038-4B66-48E5-8778-AC5F52E0CFE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0CA21F99-BCD0-4596-A605-BEED7517D10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648D8F2-2EBA-4E4B-B352-028161A22C4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F84A7DF1-FAA3-48BD-A415-8C64D27122E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883875E-5C1A-4939-A2D6-36791915872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BE78C68-3F48-40D0-8A65-1D68188D4CE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EBEE7176-12BF-471F-A544-7DFA7EE5158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87C26DB-B1FB-41B9-AF3F-793161BFCB4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F6CFCCBA-5BC3-4B9E-B9DB-BEBD1991406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18C85999-BE12-4E25-ACF9-33BE930761C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7C25F62E-16A9-4F31-8722-269AE72582EB}"/>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A6BAA91-D69C-4BE0-B36D-AA0796A709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B904EAFD-2C9F-4C95-A0B6-A3385DC4DB8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46D7C98F-6FB5-4629-9344-F1CF33618513}"/>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06AC8032-1185-4428-A750-DFABA99A9E0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3E201AC1-57EE-49F5-9717-1376A9E1AED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3A2BA47-BACA-4E58-A4DF-3678CFD0B0A2}"/>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82FF5EF-8B0B-4EB2-917D-72A11181FA90}"/>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F9992F0B-F58A-432A-B53B-D03E81DB699B}"/>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BFA7DAFD-D36A-425A-A553-42F7E740008C}"/>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325AA287-7A3A-4D03-A6C5-3A51D23C16BC}"/>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4FA758A8-7DAC-4D97-8AA8-E8BEB19FDFE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EA35E65D-55FB-4329-8C06-5C00DA354E4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975A051-8D89-4BAF-98DF-9365E09F0AE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1B660AAD-92A4-4878-B9D8-1E19523AA8A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76D41475-F8C3-42AE-B025-431D73194D08}"/>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2E715508-37BF-46F0-9A72-CCA1902C50A0}"/>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E5E24B8-6DCE-459A-A398-DC0DBE1DC2E1}"/>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8DA7BD12-7085-4C0D-BF9A-511913821083}"/>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ABB2904A-DC2D-44E7-8ACE-FB9F7A802FB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A0768EAD-9701-44E1-847E-156787244FA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2643689-2656-4FC4-AB74-2A5FA80E29C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2B9440D5-7782-4CDB-94E4-0A78EB15FB7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46E799B-EF3B-4B6A-A672-97ED2B41EF7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BBA6C4D9-E591-4B1B-9A58-68C922176E3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7758EFC-6329-4559-BC82-31051F50019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3B2B7A7A-BCBB-41FA-B14A-114BECBC9D1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E05A42A7-6976-4569-AD8A-7123A7D9B5D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D364BA6-C7C1-441B-99D0-1CDC7E7EA2D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AF4C4695-1EA0-4151-9F8C-88B7D61FBB4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0B4E040-8132-41E9-BF0A-12ACB1598A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7F96A658-21AA-4081-8B68-69435F38F04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2D9076A9-2CDE-48A7-8347-08840920A2E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5300BC1-3901-4F29-9B83-98E57D7BA8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842D48DC-DB7D-44D4-85F3-654ECF9DCB4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F68485F6-2D50-4E2D-BBB3-F53FCD70144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36F0FFE7-955A-4D87-85F5-2884287A697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8AE6A85A-DE52-4651-938B-DD50F9D1F69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4CD0626-42A3-4786-9189-D451B4649A1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1132474-4693-4271-8E11-8FCBD92EBBB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1BDC8F3-1359-4F82-8226-01AEC8E08A0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36A4B931-5F76-4DD5-903A-0249775DAAC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11EF01D5-332C-4809-B1A4-CF82D2D6F1E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8D81A8D0-9C5C-4735-8536-95F1CE86DB7B}"/>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DB6D23B9-C968-424B-BF66-C2BBA442CAC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CAD1CD82-4252-48C5-AFDD-DD24E5A9EF09}"/>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3AF521F7-DA14-4337-B555-9F47F97FB61F}"/>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5B7AF4B9-EEAF-4434-B818-FEE6783CC65C}"/>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D19DDFA8-932D-471E-BEA2-713F4B9BAE7E}"/>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4E2A6CAD-6B7F-4F42-B4F9-1727637360FF}"/>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6B6FFDB3-6409-4276-9C95-81B35D24C32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C3BDEFB3-FAA2-4489-B202-C2191C0A8FE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04C2F70-3862-4F3E-9D6A-50DDC0FDB1D6}"/>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9015FDA-7499-4FB2-9AE4-E355BFF57256}"/>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2645DB17-8FAF-45A6-A657-1CEB058752BB}"/>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EDDA90AA-1A28-4689-A1DE-C578077F4680}"/>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85B4FD5-7E68-45AF-9F15-FCCC2983D7CC}"/>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6D08B8E-6199-4881-A787-54B156841B13}"/>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F8F1C3-A8F5-45DC-AC68-C4E1D5AA0C20}"/>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D395D0B5-07A1-430B-A7DF-BD9752EE807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6E7CE397-A0B6-4A86-A848-AE18FE8C382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9ABB9B8-9A17-4042-82DD-20C1BAB45465}"/>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2275626-39B8-4574-AE0D-6B5CA796779F}"/>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EA61978-EEAB-4455-9869-679E00871692}"/>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87D91128-5235-4E1D-8611-92CCC9B04330}"/>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C161B6EC-5E7D-4F7F-86B1-84415C232F0C}"/>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7A83B9-C998-44CA-BBEC-958B19DB3DCD}"/>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1002BCE8-DA9B-4EE8-95AF-12782A37C8AA}"/>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BC9090F7-7BDA-4063-9D58-1CB2360F0693}"/>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B5B2A8D7-0F30-429B-8FDA-F21B036299D4}"/>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4B0B0D1B-B5B0-4F7B-AB51-D08D6B8F760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18B19E0C-E2E6-411F-A1C8-986407354D5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6131FD38-D698-42BE-A6ED-9112AD933B51}"/>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18DFF397-B36C-4B62-8758-D1E697E92123}"/>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BD0194D2-39F5-41FB-B836-67ADF941FE6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15012E6F-4D26-4AEE-B04F-39191AFC0E2E}"/>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04B999BE-6A8F-422C-8B33-C9DA20F17940}"/>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AF73C109-695D-472E-BA11-6CBEB3B73859}"/>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13414A00-B587-4107-869E-DCF487AF9D48}"/>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AFDA6FBA-6860-4342-BA9F-8D2EF2F1D2B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FC1C79DD-4DF5-4871-925C-5228B01E5DA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DC0E0213-D32F-4BAF-8470-DC131E884C50}"/>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CE7D2E1-F784-48A5-BBCA-9088B572AED4}"/>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2DBCA39F-1DBA-4A51-A483-31D99EFD7FA0}"/>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68E5E38-E87F-41ED-9097-C8AD3A7D5B8C}"/>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A35A02B-C244-414F-AA22-6AEF28957013}"/>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56EF9AA-9482-4FF6-B811-823FC04D8843}"/>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CE25FD36-141A-401D-B74A-76DCDE5A0244}"/>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5E96E23-F3D4-42DD-BE89-F4A4E838942B}"/>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D0DA4073-9169-4A72-80D6-D629D6C1BC20}"/>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16981F24-2B80-490E-B613-1D2C5810E47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53F7BC7-C07B-4D3A-AF3B-7D860DA9772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4E005043-2B8E-4AE2-B854-990B8CBCD39D}"/>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9810F74-9FD7-416E-AEC1-629A8A7A0C5F}"/>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318941BA-9D06-41CE-8ECD-6950697E7F97}"/>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1F9ACF27-5336-4D8C-82C0-271597A3218E}"/>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BC57B1AC-AA4A-4DB5-9DC7-093B1FF8C5CA}"/>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CE64FD69-04F4-407E-8EF8-E13923709853}"/>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C70ACBA7-7756-4B4C-AD56-8D9ECA2C7D0B}"/>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35A1CD36-593A-4B5A-8ACD-1689790C9BEA}"/>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E67D0067-2DBC-4EBA-8ADA-54F95762D3E4}"/>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0B2E7F53-5AEC-476F-A0AD-FB290A49A4C7}"/>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B559F615-59B1-4687-8B56-39B43D9AEA05}"/>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AD564A49-6063-4C4E-A6D0-BEF1B8BEB34D}"/>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6AF23040-4153-4FA3-A642-9C022D20D3D3}"/>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8E7788B9-3D67-4BEE-A582-831CDBFCB239}"/>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AF5E39C0-548F-4C32-9D50-EF7CB7FDF5CA}"/>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A02B6D2-E90E-4E32-9770-7061AF3F4301}"/>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6602A19-1B86-491D-90E7-C6995DFDCA36}"/>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5B79AB8-0E4D-4F82-BE08-BD97811002F1}"/>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A06F2BE6-B10B-4420-8372-404F0F0DCE20}"/>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DB33B892-407B-403D-BE90-B6823EE1AE9A}"/>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F57979EE-7DB8-4FDF-B039-D5D131A188ED}"/>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D8AAB54-9EB4-4539-807E-41508474CD23}"/>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F5F8B888-2DC3-4D03-8FC3-CECD54642092}"/>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05C72017-52E1-4699-897F-43D5981E8C3B}"/>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F59BBE38-4565-4DC2-9A0F-6BF440483050}"/>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ECF1DF79-0F8C-40EA-B0DF-8B5CCED52CDB}"/>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FDB44C3-227D-4D6F-81A0-BB25C1933A00}"/>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5C570DC5-687B-4DEB-A0AF-F84E0AB2F4AC}"/>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724CD9EA-07ED-4755-9DE3-8EF42B95F875}"/>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91459A7D-585C-4902-80B0-643B734F95F7}"/>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F683B689-6623-4CFE-93E6-BB645485FF5C}"/>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5D7F7D2D-58DB-4B5D-94E4-B9E839B9BF8D}"/>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41C66A13-08E8-48A3-9675-1B266810DC86}"/>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FCF3631F-E909-4908-9D22-F22ED61DE51B}"/>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3FC3A2B6-7F4F-4A3D-9274-F914DC83E569}"/>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29614D04-74AC-4E3A-98E5-396DEE9572C9}"/>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8930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3714931191"/>
              </p:ext>
            </p:extLst>
          </p:nvPr>
        </p:nvGraphicFramePr>
        <p:xfrm>
          <a:off x="603454" y="1177286"/>
          <a:ext cx="10317231" cy="5025551"/>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216413">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kern="1200">
                          <a:solidFill>
                            <a:schemeClr val="tx1"/>
                          </a:solidFill>
                          <a:latin typeface="+mn-lt"/>
                          <a:ea typeface="+mn-ea"/>
                          <a:cs typeface="+mn-cs"/>
                        </a:rPr>
                        <a:t>1</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Introductions and pre-requisite</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tc>
                  <a:txBody>
                    <a:bodyPr/>
                    <a:lstStyle/>
                    <a:p>
                      <a:r>
                        <a:rPr lang="en-US" sz="1100" kern="1200">
                          <a:solidFill>
                            <a:schemeClr val="tx1"/>
                          </a:solidFill>
                          <a:latin typeface="+mn-lt"/>
                          <a:ea typeface="+mn-ea"/>
                          <a:cs typeface="+mn-cs"/>
                        </a:rPr>
                        <a:t>60 minutes</a:t>
                      </a:r>
                    </a:p>
                  </a:txBody>
                  <a:tcPr marL="18180" marR="10908" marT="10908" marB="10908" anchor="ctr">
                    <a:lnT w="12700" cap="flat" cmpd="sng" algn="ctr">
                      <a:solidFill>
                        <a:schemeClr val="tx2"/>
                      </a:solidFill>
                      <a:prstDash val="solid"/>
                      <a:round/>
                      <a:headEnd type="none" w="med" len="med"/>
                      <a:tailEnd type="none" w="med" len="med"/>
                    </a:lnT>
                    <a:solidFill>
                      <a:srgbClr val="FFFFFF"/>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kern="1200">
                          <a:solidFill>
                            <a:schemeClr val="tx1"/>
                          </a:solidFill>
                          <a:latin typeface="+mn-lt"/>
                          <a:ea typeface="+mn-ea"/>
                          <a:cs typeface="+mn-cs"/>
                        </a:rPr>
                        <a:t>4</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Improve your virtual agent using entities, variables and topic redirects</a:t>
                      </a:r>
                    </a:p>
                  </a:txBody>
                  <a:tcPr marL="18180" marR="10908" marT="10908" marB="10908" anchor="ctr">
                    <a:solidFill>
                      <a:srgbClr val="FFFFFF"/>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kern="1200">
                          <a:solidFill>
                            <a:schemeClr val="tx1"/>
                          </a:solidFill>
                          <a:latin typeface="+mn-lt"/>
                          <a:ea typeface="+mn-ea"/>
                          <a:cs typeface="+mn-cs"/>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Integrate with prebuilt Power Automate flows</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45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uthentication – no lab </a:t>
                      </a:r>
                      <a:endParaRPr lang="en-US" sz="1100">
                        <a:solidFill>
                          <a:schemeClr val="tx1">
                            <a:lumMod val="85000"/>
                            <a:lumOff val="15000"/>
                          </a:schemeClr>
                        </a:solidFill>
                      </a:endParaRPr>
                    </a:p>
                  </a:txBody>
                  <a:tcPr marL="18180" marR="10908" marT="10908" marB="10908" anchor="ctr">
                    <a:solidFill>
                      <a:srgbClr val="FFFFFF"/>
                    </a:solidFill>
                  </a:tcPr>
                </a:tc>
                <a:tc>
                  <a:txBody>
                    <a:bodyPr/>
                    <a:lstStyle/>
                    <a:p>
                      <a:r>
                        <a:rPr lang="en-US" sz="1100"/>
                        <a:t>20 minutes</a:t>
                      </a:r>
                      <a:endParaRPr lang="en-US" sz="1100">
                        <a:solidFill>
                          <a:schemeClr val="tx1">
                            <a:lumMod val="85000"/>
                            <a:lumOff val="15000"/>
                          </a:schemeClr>
                        </a:solidFill>
                      </a:endParaRPr>
                    </a:p>
                  </a:txBody>
                  <a:tcPr marL="18180" marR="10908" marT="10908" marB="10908" anchor="ctr">
                    <a:solidFill>
                      <a:srgbClr val="FFFFFF"/>
                    </a:solidFill>
                  </a:tcP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kern="1200">
                          <a:solidFill>
                            <a:schemeClr val="tx1"/>
                          </a:solidFill>
                          <a:latin typeface="+mn-lt"/>
                          <a:ea typeface="+mn-ea"/>
                          <a:cs typeface="+mn-cs"/>
                        </a:rPr>
                        <a:t>7</a:t>
                      </a:r>
                      <a:endParaRPr lang="en-US" sz="1100" kern="1200">
                        <a:solidFill>
                          <a:schemeClr val="tx1"/>
                        </a:solidFill>
                        <a:latin typeface="+mn-lt"/>
                        <a:ea typeface="+mn-ea"/>
                        <a:cs typeface="+mn-cs"/>
                      </a:endParaRP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Hand off to support agent– no lab</a:t>
                      </a:r>
                    </a:p>
                  </a:txBody>
                  <a:tcPr marL="18180" marR="10908" marT="10908" marB="10908" anchor="ctr">
                    <a:solidFill>
                      <a:srgbClr val="FBFBFB"/>
                    </a:solidFill>
                  </a:tcPr>
                </a:tc>
                <a:tc>
                  <a:txBody>
                    <a:bodyPr/>
                    <a:lstStyle/>
                    <a:p>
                      <a:r>
                        <a:rPr lang="en-US" sz="1100" kern="1200">
                          <a:solidFill>
                            <a:schemeClr val="tx1"/>
                          </a:solidFill>
                          <a:latin typeface="+mn-lt"/>
                          <a:ea typeface="+mn-ea"/>
                          <a:cs typeface="+mn-cs"/>
                        </a:rPr>
                        <a:t>20 minutes</a:t>
                      </a:r>
                    </a:p>
                  </a:txBody>
                  <a:tcPr marL="18180" marR="10908" marT="10908" marB="10908" anchor="ctr">
                    <a:solidFill>
                      <a:srgbClr val="FBFBFB"/>
                    </a:solidFill>
                  </a:tcP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kern="1200">
                          <a:solidFill>
                            <a:schemeClr val="tx1"/>
                          </a:solidFill>
                          <a:latin typeface="+mn-lt"/>
                          <a:ea typeface="+mn-ea"/>
                          <a:cs typeface="+mn-cs"/>
                        </a:rPr>
                        <a:t>8</a:t>
                      </a: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Virtual agent topic design</a:t>
                      </a:r>
                    </a:p>
                  </a:txBody>
                  <a:tcPr marL="18180" marR="10908" marT="10908" marB="10908" anchor="c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n-lt"/>
                          <a:ea typeface="+mn-ea"/>
                          <a:cs typeface="+mn-cs"/>
                        </a:rPr>
                        <a:t>45 minutes</a:t>
                      </a:r>
                    </a:p>
                  </a:txBody>
                  <a:tcPr marL="18180" marR="10908" marT="10908" marB="10908" anchor="ctr">
                    <a:solidFill>
                      <a:srgbClr val="FFFFFF"/>
                    </a:solidFill>
                  </a:tcP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a:solidFill>
                            <a:schemeClr val="bg1"/>
                          </a:solidFill>
                        </a:rPr>
                        <a:t>9</a:t>
                      </a:r>
                    </a:p>
                  </a:txBody>
                  <a:tcPr marL="18180" marR="10908" marT="10908" marB="10908" anchor="ctr">
                    <a:solidFill>
                      <a:srgbClr val="0B556A"/>
                    </a:solidFill>
                  </a:tcPr>
                </a:tc>
                <a:tc>
                  <a:txBody>
                    <a:bodyPr/>
                    <a:lstStyle/>
                    <a:p>
                      <a:r>
                        <a:rPr lang="en-US" sz="1100" b="1">
                          <a:solidFill>
                            <a:schemeClr val="bg1"/>
                          </a:solidFill>
                        </a:rPr>
                        <a:t>Best practices for writing topic trigger phrases</a:t>
                      </a:r>
                    </a:p>
                  </a:txBody>
                  <a:tcPr marL="18180" marR="10908" marT="10908" marB="10908" anchor="ctr">
                    <a:solidFill>
                      <a:srgbClr val="0B556A"/>
                    </a:solidFill>
                  </a:tcPr>
                </a:tc>
                <a:tc>
                  <a:txBody>
                    <a:bodyPr/>
                    <a:lstStyle/>
                    <a:p>
                      <a:r>
                        <a:rPr lang="en-US" sz="1100" b="1">
                          <a:solidFill>
                            <a:schemeClr val="bg1"/>
                          </a:solidFill>
                        </a:rPr>
                        <a:t>20 minutes</a:t>
                      </a:r>
                    </a:p>
                  </a:txBody>
                  <a:tcPr marL="18180" marR="10908" marT="10908" marB="10908" anchor="ctr">
                    <a:solidFill>
                      <a:srgbClr val="0B556A"/>
                    </a:solidFill>
                  </a:tcPr>
                </a:tc>
                <a:extLst>
                  <a:ext uri="{0D108BD9-81ED-4DB2-BD59-A6C34878D82A}">
                    <a16:rowId xmlns:a16="http://schemas.microsoft.com/office/drawing/2014/main" val="364936603"/>
                  </a:ext>
                </a:extLst>
              </a:tr>
              <a:tr h="3370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0</a:t>
                      </a:r>
                      <a:endParaRPr lang="en-US" sz="1100">
                        <a:solidFill>
                          <a:schemeClr val="tx1">
                            <a:lumMod val="85000"/>
                            <a:lumOff val="15000"/>
                          </a:schemeClr>
                        </a:solidFill>
                      </a:endParaRPr>
                    </a:p>
                  </a:txBody>
                  <a:tcPr marL="18180" marR="10908" marT="10908" marB="10908" anchor="ctr"/>
                </a:tc>
                <a:tc>
                  <a:txBody>
                    <a:bodyPr/>
                    <a:lstStyle/>
                    <a:p>
                      <a:r>
                        <a:rPr lang="en-US" sz="1100"/>
                        <a:t>Virtual agent conversation style</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484092132"/>
                  </a:ext>
                </a:extLst>
              </a:tr>
              <a:tr h="323461">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361874">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306913181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2302"/>
          </a:xfrm>
        </p:spPr>
        <p:txBody>
          <a:bodyPr/>
          <a:lstStyle/>
          <a:p>
            <a:r>
              <a:rPr lang="en-US"/>
              <a:t>Trigger phrases – Definition</a:t>
            </a:r>
          </a:p>
        </p:txBody>
      </p:sp>
      <p:sp>
        <p:nvSpPr>
          <p:cNvPr id="5" name="Text Placeholder 4"/>
          <p:cNvSpPr>
            <a:spLocks noGrp="1"/>
          </p:cNvSpPr>
          <p:nvPr>
            <p:ph type="body" sz="quarter" idx="4294967295"/>
          </p:nvPr>
        </p:nvSpPr>
        <p:spPr>
          <a:xfrm>
            <a:off x="466890" y="1294780"/>
            <a:ext cx="11306469" cy="392245"/>
          </a:xfrm>
          <a:prstGeom prst="rect">
            <a:avLst/>
          </a:prstGeom>
          <a:solidFill>
            <a:schemeClr val="tx2"/>
          </a:solidFill>
          <a:ln w="6350">
            <a:solidFill>
              <a:schemeClr val="tx2"/>
            </a:solidFill>
          </a:ln>
        </p:spPr>
        <p:txBody>
          <a:bodyPr vert="horz" wrap="square" lIns="89642" tIns="44821" rIns="89642" bIns="44821" rtlCol="0" anchor="ctr">
            <a:spAutoFit/>
          </a:bodyPr>
          <a:lstStyle/>
          <a:p>
            <a:pPr algn="ctr" fontAlgn="base">
              <a:spcAft>
                <a:spcPts val="588"/>
              </a:spcAft>
            </a:pPr>
            <a:r>
              <a:rPr lang="en-US" sz="1950">
                <a:solidFill>
                  <a:schemeClr val="bg1"/>
                </a:solidFill>
                <a:cs typeface="Segoe UI"/>
              </a:rPr>
              <a:t>Trigger the virtual agent to begin a conversation about a specific topic</a:t>
            </a:r>
            <a:endParaRPr lang="en-US" sz="1950">
              <a:solidFill>
                <a:schemeClr val="bg1"/>
              </a:solidFill>
            </a:endParaRPr>
          </a:p>
        </p:txBody>
      </p:sp>
      <p:sp>
        <p:nvSpPr>
          <p:cNvPr id="12" name="Rectangle 11">
            <a:extLst>
              <a:ext uri="{FF2B5EF4-FFF2-40B4-BE49-F238E27FC236}">
                <a16:creationId xmlns:a16="http://schemas.microsoft.com/office/drawing/2014/main" id="{3C32F005-0B0B-447A-BEFE-BC14689C0284}"/>
              </a:ext>
            </a:extLst>
          </p:cNvPr>
          <p:cNvSpPr/>
          <p:nvPr/>
        </p:nvSpPr>
        <p:spPr bwMode="auto">
          <a:xfrm>
            <a:off x="466889" y="1763344"/>
            <a:ext cx="11306469" cy="46490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6">
            <a:extLst>
              <a:ext uri="{FF2B5EF4-FFF2-40B4-BE49-F238E27FC236}">
                <a16:creationId xmlns:a16="http://schemas.microsoft.com/office/drawing/2014/main" id="{CB3A091A-286D-452C-9847-DFDFC2D3B880}"/>
              </a:ext>
            </a:extLst>
          </p:cNvPr>
          <p:cNvSpPr/>
          <p:nvPr/>
        </p:nvSpPr>
        <p:spPr bwMode="auto">
          <a:xfrm>
            <a:off x="466889" y="1763344"/>
            <a:ext cx="606208" cy="606208"/>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0289ADD3-AB2E-4FA4-9F27-37D9EA9A5D54}"/>
              </a:ext>
            </a:extLst>
          </p:cNvPr>
          <p:cNvPicPr>
            <a:picLocks noChangeAspect="1"/>
          </p:cNvPicPr>
          <p:nvPr/>
        </p:nvPicPr>
        <p:blipFill>
          <a:blip r:embed="rId3"/>
          <a:stretch>
            <a:fillRect/>
          </a:stretch>
        </p:blipFill>
        <p:spPr>
          <a:xfrm>
            <a:off x="2157383" y="1935936"/>
            <a:ext cx="7165540" cy="4480560"/>
          </a:xfrm>
          <a:prstGeom prst="rect">
            <a:avLst/>
          </a:prstGeom>
          <a:ln>
            <a:solidFill>
              <a:schemeClr val="tx1"/>
            </a:solidFill>
          </a:ln>
        </p:spPr>
      </p:pic>
      <p:sp>
        <p:nvSpPr>
          <p:cNvPr id="3" name="Rectangle 2">
            <a:extLst>
              <a:ext uri="{FF2B5EF4-FFF2-40B4-BE49-F238E27FC236}">
                <a16:creationId xmlns:a16="http://schemas.microsoft.com/office/drawing/2014/main" id="{CC53CF27-D50E-49A5-AE0A-B29129D63053}"/>
              </a:ext>
            </a:extLst>
          </p:cNvPr>
          <p:cNvSpPr/>
          <p:nvPr/>
        </p:nvSpPr>
        <p:spPr bwMode="auto">
          <a:xfrm>
            <a:off x="2943546" y="4988103"/>
            <a:ext cx="801384" cy="333910"/>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777ED88-1645-4CE2-8298-32236B64959F}"/>
              </a:ext>
            </a:extLst>
          </p:cNvPr>
          <p:cNvSpPr/>
          <p:nvPr/>
        </p:nvSpPr>
        <p:spPr bwMode="auto">
          <a:xfrm>
            <a:off x="5871681" y="2157573"/>
            <a:ext cx="1479479" cy="919537"/>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275669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cs typeface="Segoe UI"/>
              </a:rPr>
              <a:t>Guidelines for better trigger phrase design</a:t>
            </a:r>
          </a:p>
        </p:txBody>
      </p:sp>
      <p:sp>
        <p:nvSpPr>
          <p:cNvPr id="10" name="Oval 9">
            <a:extLst>
              <a:ext uri="{FF2B5EF4-FFF2-40B4-BE49-F238E27FC236}">
                <a16:creationId xmlns:a16="http://schemas.microsoft.com/office/drawing/2014/main" id="{EA852CF3-AA1A-4BE2-AF6D-45746E5ABD23}"/>
              </a:ext>
            </a:extLst>
          </p:cNvPr>
          <p:cNvSpPr/>
          <p:nvPr/>
        </p:nvSpPr>
        <p:spPr>
          <a:xfrm>
            <a:off x="2028156" y="1569069"/>
            <a:ext cx="914523" cy="914523"/>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sp>
        <p:nvSpPr>
          <p:cNvPr id="12" name="Rectangle 11" descr="Bullseye">
            <a:extLst>
              <a:ext uri="{FF2B5EF4-FFF2-40B4-BE49-F238E27FC236}">
                <a16:creationId xmlns:a16="http://schemas.microsoft.com/office/drawing/2014/main" id="{F033D815-CC28-4255-B5D7-C057259DCC1D}"/>
              </a:ext>
            </a:extLst>
          </p:cNvPr>
          <p:cNvSpPr/>
          <p:nvPr/>
        </p:nvSpPr>
        <p:spPr>
          <a:xfrm>
            <a:off x="2220206" y="1761119"/>
            <a:ext cx="530423" cy="530423"/>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841AFD05-FFBC-44C0-B114-9233D524FC3D}"/>
              </a:ext>
            </a:extLst>
          </p:cNvPr>
          <p:cNvSpPr/>
          <p:nvPr/>
        </p:nvSpPr>
        <p:spPr>
          <a:xfrm>
            <a:off x="1247598" y="2664559"/>
            <a:ext cx="2475637" cy="48276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Clearly understand the goal and scope of the topic</a:t>
            </a:r>
          </a:p>
        </p:txBody>
      </p:sp>
      <p:sp>
        <p:nvSpPr>
          <p:cNvPr id="14" name="Oval 13">
            <a:extLst>
              <a:ext uri="{FF2B5EF4-FFF2-40B4-BE49-F238E27FC236}">
                <a16:creationId xmlns:a16="http://schemas.microsoft.com/office/drawing/2014/main" id="{858CB4CF-5573-453A-AEEA-F6694CF9AA53}"/>
              </a:ext>
            </a:extLst>
          </p:cNvPr>
          <p:cNvSpPr/>
          <p:nvPr/>
        </p:nvSpPr>
        <p:spPr>
          <a:xfrm>
            <a:off x="5638739" y="1569069"/>
            <a:ext cx="914523" cy="914523"/>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sp>
        <p:nvSpPr>
          <p:cNvPr id="16" name="Freeform: Shape 15">
            <a:extLst>
              <a:ext uri="{FF2B5EF4-FFF2-40B4-BE49-F238E27FC236}">
                <a16:creationId xmlns:a16="http://schemas.microsoft.com/office/drawing/2014/main" id="{4F300572-03AA-45BD-A0BD-880CB07D9545}"/>
              </a:ext>
            </a:extLst>
          </p:cNvPr>
          <p:cNvSpPr/>
          <p:nvPr/>
        </p:nvSpPr>
        <p:spPr>
          <a:xfrm>
            <a:off x="5018170" y="2661597"/>
            <a:ext cx="2155661" cy="48276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Start with 5 to 10</a:t>
            </a:r>
            <a:br>
              <a:rPr lang="en-US" sz="1568">
                <a:solidFill>
                  <a:schemeClr val="tx1"/>
                </a:solidFill>
              </a:rPr>
            </a:br>
            <a:r>
              <a:rPr lang="en-US" sz="1568">
                <a:solidFill>
                  <a:schemeClr val="tx1"/>
                </a:solidFill>
              </a:rPr>
              <a:t>trigger phrases  </a:t>
            </a:r>
          </a:p>
        </p:txBody>
      </p:sp>
      <p:sp>
        <p:nvSpPr>
          <p:cNvPr id="17" name="Oval 16">
            <a:extLst>
              <a:ext uri="{FF2B5EF4-FFF2-40B4-BE49-F238E27FC236}">
                <a16:creationId xmlns:a16="http://schemas.microsoft.com/office/drawing/2014/main" id="{46069A7A-B783-4A04-808E-2CBEC7C8A365}"/>
              </a:ext>
            </a:extLst>
          </p:cNvPr>
          <p:cNvSpPr/>
          <p:nvPr/>
        </p:nvSpPr>
        <p:spPr>
          <a:xfrm>
            <a:off x="9249321" y="1569069"/>
            <a:ext cx="914523" cy="914523"/>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sp>
        <p:nvSpPr>
          <p:cNvPr id="18" name="Rectangle 17" descr="Stopwatch">
            <a:extLst>
              <a:ext uri="{FF2B5EF4-FFF2-40B4-BE49-F238E27FC236}">
                <a16:creationId xmlns:a16="http://schemas.microsoft.com/office/drawing/2014/main" id="{E656D13A-8439-497D-A367-5735AA485353}"/>
              </a:ext>
            </a:extLst>
          </p:cNvPr>
          <p:cNvSpPr/>
          <p:nvPr/>
        </p:nvSpPr>
        <p:spPr>
          <a:xfrm>
            <a:off x="9441371" y="1761119"/>
            <a:ext cx="530423" cy="530423"/>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9" name="Freeform: Shape 18">
            <a:extLst>
              <a:ext uri="{FF2B5EF4-FFF2-40B4-BE49-F238E27FC236}">
                <a16:creationId xmlns:a16="http://schemas.microsoft.com/office/drawing/2014/main" id="{8F7B4E38-7271-4C25-AAA9-5CBD87964867}"/>
              </a:ext>
            </a:extLst>
          </p:cNvPr>
          <p:cNvSpPr/>
          <p:nvPr/>
        </p:nvSpPr>
        <p:spPr>
          <a:xfrm>
            <a:off x="8139413" y="2661597"/>
            <a:ext cx="3134338" cy="48276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Shorter trigger phrases with fewer than 10 words are generally better</a:t>
            </a:r>
          </a:p>
        </p:txBody>
      </p:sp>
      <p:grpSp>
        <p:nvGrpSpPr>
          <p:cNvPr id="323" name="Group 322">
            <a:extLst>
              <a:ext uri="{FF2B5EF4-FFF2-40B4-BE49-F238E27FC236}">
                <a16:creationId xmlns:a16="http://schemas.microsoft.com/office/drawing/2014/main" id="{97E16AFE-CF62-44F0-AC52-34231EF953FB}"/>
              </a:ext>
            </a:extLst>
          </p:cNvPr>
          <p:cNvGrpSpPr/>
          <p:nvPr/>
        </p:nvGrpSpPr>
        <p:grpSpPr>
          <a:xfrm>
            <a:off x="2028156" y="3777627"/>
            <a:ext cx="914523" cy="914523"/>
            <a:chOff x="837624" y="4265477"/>
            <a:chExt cx="932861" cy="932861"/>
          </a:xfrm>
        </p:grpSpPr>
        <p:sp>
          <p:nvSpPr>
            <p:cNvPr id="20" name="Oval 19">
              <a:extLst>
                <a:ext uri="{FF2B5EF4-FFF2-40B4-BE49-F238E27FC236}">
                  <a16:creationId xmlns:a16="http://schemas.microsoft.com/office/drawing/2014/main" id="{AEEFB61F-CF84-4F67-8D71-FF8DEEB04082}"/>
                </a:ext>
              </a:extLst>
            </p:cNvPr>
            <p:cNvSpPr/>
            <p:nvPr/>
          </p:nvSpPr>
          <p:spPr>
            <a:xfrm>
              <a:off x="837624" y="4265477"/>
              <a:ext cx="932861" cy="932861"/>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sp>
          <p:nvSpPr>
            <p:cNvPr id="21" name="Rectangle 20" descr="Lightbulb">
              <a:extLst>
                <a:ext uri="{FF2B5EF4-FFF2-40B4-BE49-F238E27FC236}">
                  <a16:creationId xmlns:a16="http://schemas.microsoft.com/office/drawing/2014/main" id="{9A9430D8-EA4B-4390-946B-8470A8814CDF}"/>
                </a:ext>
              </a:extLst>
            </p:cNvPr>
            <p:cNvSpPr/>
            <p:nvPr/>
          </p:nvSpPr>
          <p:spPr>
            <a:xfrm>
              <a:off x="1033525" y="4461378"/>
              <a:ext cx="541059" cy="541059"/>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grpSp>
      <p:sp>
        <p:nvSpPr>
          <p:cNvPr id="22" name="Freeform: Shape 21">
            <a:extLst>
              <a:ext uri="{FF2B5EF4-FFF2-40B4-BE49-F238E27FC236}">
                <a16:creationId xmlns:a16="http://schemas.microsoft.com/office/drawing/2014/main" id="{D0BDC43D-CC91-4328-BD55-4155C1824FCB}"/>
              </a:ext>
            </a:extLst>
          </p:cNvPr>
          <p:cNvSpPr/>
          <p:nvPr/>
        </p:nvSpPr>
        <p:spPr>
          <a:xfrm>
            <a:off x="1087610" y="4884200"/>
            <a:ext cx="2795614" cy="48276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Make sure the trigger phrases are semantically different</a:t>
            </a:r>
          </a:p>
        </p:txBody>
      </p:sp>
      <p:sp>
        <p:nvSpPr>
          <p:cNvPr id="25" name="Freeform: Shape 24">
            <a:extLst>
              <a:ext uri="{FF2B5EF4-FFF2-40B4-BE49-F238E27FC236}">
                <a16:creationId xmlns:a16="http://schemas.microsoft.com/office/drawing/2014/main" id="{3BC00554-301B-4759-A35E-585C4EAD2F03}"/>
              </a:ext>
            </a:extLst>
          </p:cNvPr>
          <p:cNvSpPr/>
          <p:nvPr/>
        </p:nvSpPr>
        <p:spPr>
          <a:xfrm>
            <a:off x="4998638" y="4937592"/>
            <a:ext cx="2214013" cy="482568"/>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Use the words your customers use!</a:t>
            </a:r>
          </a:p>
        </p:txBody>
      </p:sp>
      <p:grpSp>
        <p:nvGrpSpPr>
          <p:cNvPr id="327" name="Group 326">
            <a:extLst>
              <a:ext uri="{FF2B5EF4-FFF2-40B4-BE49-F238E27FC236}">
                <a16:creationId xmlns:a16="http://schemas.microsoft.com/office/drawing/2014/main" id="{48684D8D-DFE3-4EFE-9B92-A99BA7A7343B}"/>
              </a:ext>
            </a:extLst>
          </p:cNvPr>
          <p:cNvGrpSpPr/>
          <p:nvPr/>
        </p:nvGrpSpPr>
        <p:grpSpPr>
          <a:xfrm>
            <a:off x="9249320" y="3777627"/>
            <a:ext cx="914523" cy="914523"/>
            <a:chOff x="9434787" y="3649663"/>
            <a:chExt cx="932861" cy="932861"/>
          </a:xfrm>
        </p:grpSpPr>
        <p:sp>
          <p:nvSpPr>
            <p:cNvPr id="26" name="Oval 25">
              <a:extLst>
                <a:ext uri="{FF2B5EF4-FFF2-40B4-BE49-F238E27FC236}">
                  <a16:creationId xmlns:a16="http://schemas.microsoft.com/office/drawing/2014/main" id="{42C627E0-4241-4F7B-BB84-2B4834226CB7}"/>
                </a:ext>
              </a:extLst>
            </p:cNvPr>
            <p:cNvSpPr/>
            <p:nvPr/>
          </p:nvSpPr>
          <p:spPr>
            <a:xfrm>
              <a:off x="9434787" y="3649663"/>
              <a:ext cx="932861" cy="932861"/>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sp>
          <p:nvSpPr>
            <p:cNvPr id="27" name="Rectangle 26" descr="Warning">
              <a:extLst>
                <a:ext uri="{FF2B5EF4-FFF2-40B4-BE49-F238E27FC236}">
                  <a16:creationId xmlns:a16="http://schemas.microsoft.com/office/drawing/2014/main" id="{4DCBD515-11B8-49BE-8036-38CD1B2CCB23}"/>
                </a:ext>
              </a:extLst>
            </p:cNvPr>
            <p:cNvSpPr/>
            <p:nvPr/>
          </p:nvSpPr>
          <p:spPr>
            <a:xfrm>
              <a:off x="9630688" y="3845564"/>
              <a:ext cx="541059" cy="541059"/>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grpSp>
      <p:sp>
        <p:nvSpPr>
          <p:cNvPr id="28" name="Freeform: Shape 27">
            <a:extLst>
              <a:ext uri="{FF2B5EF4-FFF2-40B4-BE49-F238E27FC236}">
                <a16:creationId xmlns:a16="http://schemas.microsoft.com/office/drawing/2014/main" id="{7E04B0D6-14E6-49BA-85C3-E7C158739E2C}"/>
              </a:ext>
            </a:extLst>
          </p:cNvPr>
          <p:cNvSpPr/>
          <p:nvPr/>
        </p:nvSpPr>
        <p:spPr>
          <a:xfrm>
            <a:off x="8319420" y="4884199"/>
            <a:ext cx="2784972" cy="7241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algn="ctr" defTabSz="610041">
              <a:spcBef>
                <a:spcPct val="0"/>
              </a:spcBef>
              <a:spcAft>
                <a:spcPct val="35000"/>
              </a:spcAft>
            </a:pPr>
            <a:r>
              <a:rPr lang="en-US" sz="1568">
                <a:solidFill>
                  <a:schemeClr val="tx1"/>
                </a:solidFill>
              </a:rPr>
              <a:t>Avoid trigger phrases that are highly ambiguous among different topics </a:t>
            </a:r>
          </a:p>
        </p:txBody>
      </p:sp>
      <p:grpSp>
        <p:nvGrpSpPr>
          <p:cNvPr id="30" name="Group 29">
            <a:extLst>
              <a:ext uri="{FF2B5EF4-FFF2-40B4-BE49-F238E27FC236}">
                <a16:creationId xmlns:a16="http://schemas.microsoft.com/office/drawing/2014/main" id="{A108B0D5-7B16-4895-B398-C9799E516906}"/>
              </a:ext>
            </a:extLst>
          </p:cNvPr>
          <p:cNvGrpSpPr/>
          <p:nvPr/>
        </p:nvGrpSpPr>
        <p:grpSpPr>
          <a:xfrm>
            <a:off x="5811131" y="1738320"/>
            <a:ext cx="569738" cy="576020"/>
            <a:chOff x="5824596" y="1738320"/>
            <a:chExt cx="569738" cy="576020"/>
          </a:xfrm>
        </p:grpSpPr>
        <p:sp>
          <p:nvSpPr>
            <p:cNvPr id="37" name="Freeform: Shape 36">
              <a:extLst>
                <a:ext uri="{FF2B5EF4-FFF2-40B4-BE49-F238E27FC236}">
                  <a16:creationId xmlns:a16="http://schemas.microsoft.com/office/drawing/2014/main" id="{4CF4E73F-E9EF-4794-AE17-5855DD70F5D5}"/>
                </a:ext>
              </a:extLst>
            </p:cNvPr>
            <p:cNvSpPr/>
            <p:nvPr/>
          </p:nvSpPr>
          <p:spPr bwMode="auto">
            <a:xfrm>
              <a:off x="5967031" y="1884325"/>
              <a:ext cx="284870" cy="288010"/>
            </a:xfrm>
            <a:custGeom>
              <a:avLst/>
              <a:gdLst>
                <a:gd name="connsiteX0" fmla="*/ 142435 w 284870"/>
                <a:gd name="connsiteY0" fmla="*/ 0 h 288010"/>
                <a:gd name="connsiteX1" fmla="*/ 284870 w 284870"/>
                <a:gd name="connsiteY1" fmla="*/ 144005 h 288010"/>
                <a:gd name="connsiteX2" fmla="*/ 142435 w 284870"/>
                <a:gd name="connsiteY2" fmla="*/ 288010 h 288010"/>
                <a:gd name="connsiteX3" fmla="*/ 0 w 284870"/>
                <a:gd name="connsiteY3" fmla="*/ 144005 h 288010"/>
                <a:gd name="connsiteX4" fmla="*/ 142435 w 284870"/>
                <a:gd name="connsiteY4" fmla="*/ 0 h 288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870" h="288010">
                  <a:moveTo>
                    <a:pt x="142435" y="0"/>
                  </a:moveTo>
                  <a:cubicBezTo>
                    <a:pt x="221100" y="0"/>
                    <a:pt x="284870" y="64473"/>
                    <a:pt x="284870" y="144005"/>
                  </a:cubicBezTo>
                  <a:cubicBezTo>
                    <a:pt x="284870" y="223537"/>
                    <a:pt x="221100" y="288010"/>
                    <a:pt x="142435" y="288010"/>
                  </a:cubicBezTo>
                  <a:cubicBezTo>
                    <a:pt x="63770" y="288010"/>
                    <a:pt x="0" y="223537"/>
                    <a:pt x="0" y="144005"/>
                  </a:cubicBezTo>
                  <a:cubicBezTo>
                    <a:pt x="0" y="64473"/>
                    <a:pt x="63770" y="0"/>
                    <a:pt x="14243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3DEDE24B-9137-4A18-9AFA-D6571FEBA634}"/>
                </a:ext>
              </a:extLst>
            </p:cNvPr>
            <p:cNvGrpSpPr/>
            <p:nvPr/>
          </p:nvGrpSpPr>
          <p:grpSpPr>
            <a:xfrm>
              <a:off x="5824596" y="1738320"/>
              <a:ext cx="569738" cy="576020"/>
              <a:chOff x="5824596" y="1740320"/>
              <a:chExt cx="569738" cy="576020"/>
            </a:xfrm>
          </p:grpSpPr>
          <p:sp>
            <p:nvSpPr>
              <p:cNvPr id="40" name="Freeform: Shape 39">
                <a:extLst>
                  <a:ext uri="{FF2B5EF4-FFF2-40B4-BE49-F238E27FC236}">
                    <a16:creationId xmlns:a16="http://schemas.microsoft.com/office/drawing/2014/main" id="{AE755316-EA97-4ADF-9671-AB0C41456B61}"/>
                  </a:ext>
                </a:extLst>
              </p:cNvPr>
              <p:cNvSpPr/>
              <p:nvPr/>
            </p:nvSpPr>
            <p:spPr bwMode="auto">
              <a:xfrm>
                <a:off x="6068584" y="1740320"/>
                <a:ext cx="81762" cy="116224"/>
              </a:xfrm>
              <a:custGeom>
                <a:avLst/>
                <a:gdLst>
                  <a:gd name="connsiteX0" fmla="*/ 40881 w 81762"/>
                  <a:gd name="connsiteY0" fmla="*/ 0 h 116224"/>
                  <a:gd name="connsiteX1" fmla="*/ 81762 w 81762"/>
                  <a:gd name="connsiteY1" fmla="*/ 116224 h 116224"/>
                  <a:gd name="connsiteX2" fmla="*/ 0 w 81762"/>
                  <a:gd name="connsiteY2" fmla="*/ 116224 h 116224"/>
                  <a:gd name="connsiteX3" fmla="*/ 40881 w 81762"/>
                  <a:gd name="connsiteY3" fmla="*/ 0 h 116224"/>
                </a:gdLst>
                <a:ahLst/>
                <a:cxnLst>
                  <a:cxn ang="0">
                    <a:pos x="connsiteX0" y="connsiteY0"/>
                  </a:cxn>
                  <a:cxn ang="0">
                    <a:pos x="connsiteX1" y="connsiteY1"/>
                  </a:cxn>
                  <a:cxn ang="0">
                    <a:pos x="connsiteX2" y="connsiteY2"/>
                  </a:cxn>
                  <a:cxn ang="0">
                    <a:pos x="connsiteX3" y="connsiteY3"/>
                  </a:cxn>
                </a:cxnLst>
                <a:rect l="l" t="t" r="r" b="b"/>
                <a:pathLst>
                  <a:path w="81762" h="116224">
                    <a:moveTo>
                      <a:pt x="40881" y="0"/>
                    </a:moveTo>
                    <a:lnTo>
                      <a:pt x="81762" y="116224"/>
                    </a:lnTo>
                    <a:lnTo>
                      <a:pt x="0" y="116224"/>
                    </a:lnTo>
                    <a:lnTo>
                      <a:pt x="40881"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DDB25E60-EE90-4B5F-8D4F-5BE1A9E9442D}"/>
                  </a:ext>
                </a:extLst>
              </p:cNvPr>
              <p:cNvSpPr/>
              <p:nvPr/>
            </p:nvSpPr>
            <p:spPr bwMode="auto">
              <a:xfrm>
                <a:off x="5908026" y="1824671"/>
                <a:ext cx="110204" cy="111419"/>
              </a:xfrm>
              <a:custGeom>
                <a:avLst/>
                <a:gdLst>
                  <a:gd name="connsiteX0" fmla="*/ 0 w 110204"/>
                  <a:gd name="connsiteY0" fmla="*/ 0 h 111419"/>
                  <a:gd name="connsiteX1" fmla="*/ 110204 w 110204"/>
                  <a:gd name="connsiteY1" fmla="*/ 52968 h 111419"/>
                  <a:gd name="connsiteX2" fmla="*/ 52390 w 110204"/>
                  <a:gd name="connsiteY2" fmla="*/ 111419 h 111419"/>
                  <a:gd name="connsiteX3" fmla="*/ 0 w 110204"/>
                  <a:gd name="connsiteY3" fmla="*/ 0 h 111419"/>
                </a:gdLst>
                <a:ahLst/>
                <a:cxnLst>
                  <a:cxn ang="0">
                    <a:pos x="connsiteX0" y="connsiteY0"/>
                  </a:cxn>
                  <a:cxn ang="0">
                    <a:pos x="connsiteX1" y="connsiteY1"/>
                  </a:cxn>
                  <a:cxn ang="0">
                    <a:pos x="connsiteX2" y="connsiteY2"/>
                  </a:cxn>
                  <a:cxn ang="0">
                    <a:pos x="connsiteX3" y="connsiteY3"/>
                  </a:cxn>
                </a:cxnLst>
                <a:rect l="l" t="t" r="r" b="b"/>
                <a:pathLst>
                  <a:path w="110204" h="111419">
                    <a:moveTo>
                      <a:pt x="0" y="0"/>
                    </a:moveTo>
                    <a:lnTo>
                      <a:pt x="110204" y="52968"/>
                    </a:lnTo>
                    <a:lnTo>
                      <a:pt x="52390" y="111419"/>
                    </a:ln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1ABC8609-33BB-410B-B897-181146E9936D}"/>
                  </a:ext>
                </a:extLst>
              </p:cNvPr>
              <p:cNvSpPr/>
              <p:nvPr/>
            </p:nvSpPr>
            <p:spPr bwMode="auto">
              <a:xfrm>
                <a:off x="6200700" y="1824671"/>
                <a:ext cx="110178" cy="111419"/>
              </a:xfrm>
              <a:custGeom>
                <a:avLst/>
                <a:gdLst>
                  <a:gd name="connsiteX0" fmla="*/ 110178 w 110178"/>
                  <a:gd name="connsiteY0" fmla="*/ 0 h 111419"/>
                  <a:gd name="connsiteX1" fmla="*/ 57814 w 110178"/>
                  <a:gd name="connsiteY1" fmla="*/ 111419 h 111419"/>
                  <a:gd name="connsiteX2" fmla="*/ 0 w 110178"/>
                  <a:gd name="connsiteY2" fmla="*/ 52968 h 111419"/>
                  <a:gd name="connsiteX3" fmla="*/ 110178 w 110178"/>
                  <a:gd name="connsiteY3" fmla="*/ 0 h 111419"/>
                </a:gdLst>
                <a:ahLst/>
                <a:cxnLst>
                  <a:cxn ang="0">
                    <a:pos x="connsiteX0" y="connsiteY0"/>
                  </a:cxn>
                  <a:cxn ang="0">
                    <a:pos x="connsiteX1" y="connsiteY1"/>
                  </a:cxn>
                  <a:cxn ang="0">
                    <a:pos x="connsiteX2" y="connsiteY2"/>
                  </a:cxn>
                  <a:cxn ang="0">
                    <a:pos x="connsiteX3" y="connsiteY3"/>
                  </a:cxn>
                </a:cxnLst>
                <a:rect l="l" t="t" r="r" b="b"/>
                <a:pathLst>
                  <a:path w="110178" h="111419">
                    <a:moveTo>
                      <a:pt x="110178" y="0"/>
                    </a:moveTo>
                    <a:lnTo>
                      <a:pt x="57814" y="111419"/>
                    </a:lnTo>
                    <a:lnTo>
                      <a:pt x="0" y="52968"/>
                    </a:lnTo>
                    <a:lnTo>
                      <a:pt x="110178"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575875A4-68B9-423D-8B7F-1B5F994A450B}"/>
                  </a:ext>
                </a:extLst>
              </p:cNvPr>
              <p:cNvSpPr/>
              <p:nvPr/>
            </p:nvSpPr>
            <p:spPr bwMode="auto">
              <a:xfrm>
                <a:off x="5824596" y="1986998"/>
                <a:ext cx="114956" cy="82664"/>
              </a:xfrm>
              <a:custGeom>
                <a:avLst/>
                <a:gdLst>
                  <a:gd name="connsiteX0" fmla="*/ 114956 w 114956"/>
                  <a:gd name="connsiteY0" fmla="*/ 0 h 82664"/>
                  <a:gd name="connsiteX1" fmla="*/ 114956 w 114956"/>
                  <a:gd name="connsiteY1" fmla="*/ 82664 h 82664"/>
                  <a:gd name="connsiteX2" fmla="*/ 0 w 114956"/>
                  <a:gd name="connsiteY2" fmla="*/ 41332 h 82664"/>
                  <a:gd name="connsiteX3" fmla="*/ 114956 w 114956"/>
                  <a:gd name="connsiteY3" fmla="*/ 0 h 82664"/>
                </a:gdLst>
                <a:ahLst/>
                <a:cxnLst>
                  <a:cxn ang="0">
                    <a:pos x="connsiteX0" y="connsiteY0"/>
                  </a:cxn>
                  <a:cxn ang="0">
                    <a:pos x="connsiteX1" y="connsiteY1"/>
                  </a:cxn>
                  <a:cxn ang="0">
                    <a:pos x="connsiteX2" y="connsiteY2"/>
                  </a:cxn>
                  <a:cxn ang="0">
                    <a:pos x="connsiteX3" y="connsiteY3"/>
                  </a:cxn>
                </a:cxnLst>
                <a:rect l="l" t="t" r="r" b="b"/>
                <a:pathLst>
                  <a:path w="114956" h="82664">
                    <a:moveTo>
                      <a:pt x="114956" y="0"/>
                    </a:moveTo>
                    <a:lnTo>
                      <a:pt x="114956" y="82664"/>
                    </a:lnTo>
                    <a:lnTo>
                      <a:pt x="0" y="41332"/>
                    </a:lnTo>
                    <a:lnTo>
                      <a:pt x="114956"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6FCFF417-A677-48A1-AC5C-66D4F6D90BEB}"/>
                  </a:ext>
                </a:extLst>
              </p:cNvPr>
              <p:cNvSpPr/>
              <p:nvPr/>
            </p:nvSpPr>
            <p:spPr bwMode="auto">
              <a:xfrm>
                <a:off x="6279378" y="1986998"/>
                <a:ext cx="114956" cy="82664"/>
              </a:xfrm>
              <a:custGeom>
                <a:avLst/>
                <a:gdLst>
                  <a:gd name="connsiteX0" fmla="*/ 0 w 114956"/>
                  <a:gd name="connsiteY0" fmla="*/ 0 h 82664"/>
                  <a:gd name="connsiteX1" fmla="*/ 114956 w 114956"/>
                  <a:gd name="connsiteY1" fmla="*/ 41332 h 82664"/>
                  <a:gd name="connsiteX2" fmla="*/ 0 w 114956"/>
                  <a:gd name="connsiteY2" fmla="*/ 82664 h 82664"/>
                  <a:gd name="connsiteX3" fmla="*/ 0 w 114956"/>
                  <a:gd name="connsiteY3" fmla="*/ 0 h 82664"/>
                </a:gdLst>
                <a:ahLst/>
                <a:cxnLst>
                  <a:cxn ang="0">
                    <a:pos x="connsiteX0" y="connsiteY0"/>
                  </a:cxn>
                  <a:cxn ang="0">
                    <a:pos x="connsiteX1" y="connsiteY1"/>
                  </a:cxn>
                  <a:cxn ang="0">
                    <a:pos x="connsiteX2" y="connsiteY2"/>
                  </a:cxn>
                  <a:cxn ang="0">
                    <a:pos x="connsiteX3" y="connsiteY3"/>
                  </a:cxn>
                </a:cxnLst>
                <a:rect l="l" t="t" r="r" b="b"/>
                <a:pathLst>
                  <a:path w="114956" h="82664">
                    <a:moveTo>
                      <a:pt x="0" y="0"/>
                    </a:moveTo>
                    <a:lnTo>
                      <a:pt x="114956" y="41332"/>
                    </a:lnTo>
                    <a:lnTo>
                      <a:pt x="0" y="82664"/>
                    </a:ln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47E0960-8613-449D-8854-9E408DFB8619}"/>
                  </a:ext>
                </a:extLst>
              </p:cNvPr>
              <p:cNvSpPr/>
              <p:nvPr/>
            </p:nvSpPr>
            <p:spPr bwMode="auto">
              <a:xfrm>
                <a:off x="5908026" y="2120572"/>
                <a:ext cx="110204" cy="111393"/>
              </a:xfrm>
              <a:custGeom>
                <a:avLst/>
                <a:gdLst>
                  <a:gd name="connsiteX0" fmla="*/ 52390 w 110204"/>
                  <a:gd name="connsiteY0" fmla="*/ 0 h 111393"/>
                  <a:gd name="connsiteX1" fmla="*/ 110204 w 110204"/>
                  <a:gd name="connsiteY1" fmla="*/ 58451 h 111393"/>
                  <a:gd name="connsiteX2" fmla="*/ 0 w 110204"/>
                  <a:gd name="connsiteY2" fmla="*/ 111393 h 111393"/>
                  <a:gd name="connsiteX3" fmla="*/ 52390 w 110204"/>
                  <a:gd name="connsiteY3" fmla="*/ 0 h 111393"/>
                </a:gdLst>
                <a:ahLst/>
                <a:cxnLst>
                  <a:cxn ang="0">
                    <a:pos x="connsiteX0" y="connsiteY0"/>
                  </a:cxn>
                  <a:cxn ang="0">
                    <a:pos x="connsiteX1" y="connsiteY1"/>
                  </a:cxn>
                  <a:cxn ang="0">
                    <a:pos x="connsiteX2" y="connsiteY2"/>
                  </a:cxn>
                  <a:cxn ang="0">
                    <a:pos x="connsiteX3" y="connsiteY3"/>
                  </a:cxn>
                </a:cxnLst>
                <a:rect l="l" t="t" r="r" b="b"/>
                <a:pathLst>
                  <a:path w="110204" h="111393">
                    <a:moveTo>
                      <a:pt x="52390" y="0"/>
                    </a:moveTo>
                    <a:lnTo>
                      <a:pt x="110204" y="58451"/>
                    </a:lnTo>
                    <a:lnTo>
                      <a:pt x="0" y="111393"/>
                    </a:lnTo>
                    <a:lnTo>
                      <a:pt x="5239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9CB37BD-3140-4158-9FAD-D3185EBEC3F5}"/>
                  </a:ext>
                </a:extLst>
              </p:cNvPr>
              <p:cNvSpPr/>
              <p:nvPr/>
            </p:nvSpPr>
            <p:spPr bwMode="auto">
              <a:xfrm>
                <a:off x="6200700" y="2120572"/>
                <a:ext cx="110178" cy="111393"/>
              </a:xfrm>
              <a:custGeom>
                <a:avLst/>
                <a:gdLst>
                  <a:gd name="connsiteX0" fmla="*/ 57814 w 110178"/>
                  <a:gd name="connsiteY0" fmla="*/ 0 h 111393"/>
                  <a:gd name="connsiteX1" fmla="*/ 110178 w 110178"/>
                  <a:gd name="connsiteY1" fmla="*/ 111393 h 111393"/>
                  <a:gd name="connsiteX2" fmla="*/ 0 w 110178"/>
                  <a:gd name="connsiteY2" fmla="*/ 58451 h 111393"/>
                  <a:gd name="connsiteX3" fmla="*/ 57814 w 110178"/>
                  <a:gd name="connsiteY3" fmla="*/ 0 h 111393"/>
                </a:gdLst>
                <a:ahLst/>
                <a:cxnLst>
                  <a:cxn ang="0">
                    <a:pos x="connsiteX0" y="connsiteY0"/>
                  </a:cxn>
                  <a:cxn ang="0">
                    <a:pos x="connsiteX1" y="connsiteY1"/>
                  </a:cxn>
                  <a:cxn ang="0">
                    <a:pos x="connsiteX2" y="connsiteY2"/>
                  </a:cxn>
                  <a:cxn ang="0">
                    <a:pos x="connsiteX3" y="connsiteY3"/>
                  </a:cxn>
                </a:cxnLst>
                <a:rect l="l" t="t" r="r" b="b"/>
                <a:pathLst>
                  <a:path w="110178" h="111393">
                    <a:moveTo>
                      <a:pt x="57814" y="0"/>
                    </a:moveTo>
                    <a:lnTo>
                      <a:pt x="110178" y="111393"/>
                    </a:lnTo>
                    <a:lnTo>
                      <a:pt x="0" y="58451"/>
                    </a:lnTo>
                    <a:lnTo>
                      <a:pt x="57814"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88C38D36-D21F-4F36-AFA6-6B57BF567D03}"/>
                  </a:ext>
                </a:extLst>
              </p:cNvPr>
              <p:cNvSpPr/>
              <p:nvPr/>
            </p:nvSpPr>
            <p:spPr bwMode="auto">
              <a:xfrm>
                <a:off x="6068584" y="2200116"/>
                <a:ext cx="81762" cy="116224"/>
              </a:xfrm>
              <a:custGeom>
                <a:avLst/>
                <a:gdLst>
                  <a:gd name="connsiteX0" fmla="*/ 0 w 81762"/>
                  <a:gd name="connsiteY0" fmla="*/ 0 h 116224"/>
                  <a:gd name="connsiteX1" fmla="*/ 81762 w 81762"/>
                  <a:gd name="connsiteY1" fmla="*/ 0 h 116224"/>
                  <a:gd name="connsiteX2" fmla="*/ 40881 w 81762"/>
                  <a:gd name="connsiteY2" fmla="*/ 116224 h 116224"/>
                  <a:gd name="connsiteX3" fmla="*/ 0 w 81762"/>
                  <a:gd name="connsiteY3" fmla="*/ 0 h 116224"/>
                </a:gdLst>
                <a:ahLst/>
                <a:cxnLst>
                  <a:cxn ang="0">
                    <a:pos x="connsiteX0" y="connsiteY0"/>
                  </a:cxn>
                  <a:cxn ang="0">
                    <a:pos x="connsiteX1" y="connsiteY1"/>
                  </a:cxn>
                  <a:cxn ang="0">
                    <a:pos x="connsiteX2" y="connsiteY2"/>
                  </a:cxn>
                  <a:cxn ang="0">
                    <a:pos x="connsiteX3" y="connsiteY3"/>
                  </a:cxn>
                </a:cxnLst>
                <a:rect l="l" t="t" r="r" b="b"/>
                <a:pathLst>
                  <a:path w="81762" h="116224">
                    <a:moveTo>
                      <a:pt x="0" y="0"/>
                    </a:moveTo>
                    <a:lnTo>
                      <a:pt x="81762" y="0"/>
                    </a:lnTo>
                    <a:lnTo>
                      <a:pt x="40881" y="116224"/>
                    </a:ln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 name="Group 7">
            <a:extLst>
              <a:ext uri="{FF2B5EF4-FFF2-40B4-BE49-F238E27FC236}">
                <a16:creationId xmlns:a16="http://schemas.microsoft.com/office/drawing/2014/main" id="{FFE1144D-D325-4F8C-B351-96299C647CBB}"/>
              </a:ext>
            </a:extLst>
          </p:cNvPr>
          <p:cNvGrpSpPr/>
          <p:nvPr/>
        </p:nvGrpSpPr>
        <p:grpSpPr>
          <a:xfrm>
            <a:off x="5638738" y="3777627"/>
            <a:ext cx="914523" cy="914523"/>
            <a:chOff x="5638738" y="3777627"/>
            <a:chExt cx="914523" cy="914523"/>
          </a:xfrm>
        </p:grpSpPr>
        <p:sp>
          <p:nvSpPr>
            <p:cNvPr id="23" name="Oval 22">
              <a:extLst>
                <a:ext uri="{FF2B5EF4-FFF2-40B4-BE49-F238E27FC236}">
                  <a16:creationId xmlns:a16="http://schemas.microsoft.com/office/drawing/2014/main" id="{44459B17-C029-49B6-8EC7-27A8F46F0722}"/>
                </a:ext>
              </a:extLst>
            </p:cNvPr>
            <p:cNvSpPr/>
            <p:nvPr/>
          </p:nvSpPr>
          <p:spPr>
            <a:xfrm>
              <a:off x="5638738" y="3777627"/>
              <a:ext cx="914523" cy="914523"/>
            </a:xfrm>
            <a:prstGeom prst="ellipse">
              <a:avLst/>
            </a:prstGeom>
            <a:solidFill>
              <a:schemeClr val="tx2"/>
            </a:solidFill>
          </p:spPr>
          <p:style>
            <a:lnRef idx="0">
              <a:schemeClr val="dk2">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dk1">
                <a:hueOff val="0"/>
                <a:satOff val="0"/>
                <a:lumOff val="0"/>
                <a:alphaOff val="0"/>
              </a:schemeClr>
            </a:fontRef>
          </p:style>
        </p:sp>
        <p:pic>
          <p:nvPicPr>
            <p:cNvPr id="7" name="Graphic 6" descr="Chat">
              <a:extLst>
                <a:ext uri="{FF2B5EF4-FFF2-40B4-BE49-F238E27FC236}">
                  <a16:creationId xmlns:a16="http://schemas.microsoft.com/office/drawing/2014/main" id="{17BE26DA-7D20-4EF5-94A4-8F2DE5908FF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05777" y="3965713"/>
              <a:ext cx="566928" cy="566928"/>
            </a:xfrm>
            <a:prstGeom prst="rect">
              <a:avLst/>
            </a:prstGeom>
          </p:spPr>
        </p:pic>
      </p:grpSp>
    </p:spTree>
    <p:extLst>
      <p:ext uri="{BB962C8B-B14F-4D97-AF65-F5344CB8AC3E}">
        <p14:creationId xmlns:p14="http://schemas.microsoft.com/office/powerpoint/2010/main" val="178949270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576CB3-DFDE-4CB1-987F-49D64C64DDEB}"/>
              </a:ext>
            </a:extLst>
          </p:cNvPr>
          <p:cNvSpPr/>
          <p:nvPr/>
        </p:nvSpPr>
        <p:spPr bwMode="auto">
          <a:xfrm>
            <a:off x="447032" y="1169263"/>
            <a:ext cx="11326327" cy="52400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2F7FA371-C582-4C85-BBA2-F62E4ADE83F2}"/>
              </a:ext>
            </a:extLst>
          </p:cNvPr>
          <p:cNvSpPr/>
          <p:nvPr/>
        </p:nvSpPr>
        <p:spPr bwMode="auto">
          <a:xfrm>
            <a:off x="447032" y="1169265"/>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D12533B-B1CE-4029-9D57-47E1258A8CDD}"/>
              </a:ext>
            </a:extLst>
          </p:cNvPr>
          <p:cNvSpPr>
            <a:spLocks noGrp="1"/>
          </p:cNvSpPr>
          <p:nvPr>
            <p:ph type="title"/>
          </p:nvPr>
        </p:nvSpPr>
        <p:spPr/>
        <p:txBody>
          <a:bodyPr/>
          <a:lstStyle/>
          <a:p>
            <a:r>
              <a:rPr lang="en-US"/>
              <a:t>Step 1: Pick a topic</a:t>
            </a:r>
          </a:p>
        </p:txBody>
      </p:sp>
      <p:sp>
        <p:nvSpPr>
          <p:cNvPr id="32" name="TextBox 31">
            <a:extLst>
              <a:ext uri="{FF2B5EF4-FFF2-40B4-BE49-F238E27FC236}">
                <a16:creationId xmlns:a16="http://schemas.microsoft.com/office/drawing/2014/main" id="{CAC5CA10-B9B1-4DA7-92C0-4F475B2B9151}"/>
              </a:ext>
            </a:extLst>
          </p:cNvPr>
          <p:cNvSpPr txBox="1"/>
          <p:nvPr/>
        </p:nvSpPr>
        <p:spPr>
          <a:xfrm>
            <a:off x="9674753" y="1367905"/>
            <a:ext cx="2011680" cy="412934"/>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ind Products</a:t>
            </a:r>
          </a:p>
          <a:p>
            <a:pPr marL="137160" indent="-137160">
              <a:spcAft>
                <a:spcPts val="100"/>
              </a:spcAft>
              <a:buFont typeface="Arial" panose="020B0604020202020204" pitchFamily="34" charset="0"/>
              <a:buChar char="•"/>
            </a:pPr>
            <a:r>
              <a:rPr lang="en-US" sz="1000"/>
              <a:t>Special Products – Gift Cards</a:t>
            </a:r>
          </a:p>
        </p:txBody>
      </p:sp>
      <p:sp>
        <p:nvSpPr>
          <p:cNvPr id="33" name="TextBox 32">
            <a:extLst>
              <a:ext uri="{FF2B5EF4-FFF2-40B4-BE49-F238E27FC236}">
                <a16:creationId xmlns:a16="http://schemas.microsoft.com/office/drawing/2014/main" id="{172FCD6B-F2F2-46AE-9C98-A16FF46E26A4}"/>
              </a:ext>
            </a:extLst>
          </p:cNvPr>
          <p:cNvSpPr txBox="1"/>
          <p:nvPr/>
        </p:nvSpPr>
        <p:spPr>
          <a:xfrm>
            <a:off x="9674753" y="1996962"/>
            <a:ext cx="2011680" cy="412934"/>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ees</a:t>
            </a:r>
          </a:p>
          <a:p>
            <a:pPr marL="137160" indent="-137160">
              <a:spcAft>
                <a:spcPts val="100"/>
              </a:spcAft>
              <a:buFont typeface="Arial" panose="020B0604020202020204" pitchFamily="34" charset="0"/>
              <a:buChar char="•"/>
            </a:pPr>
            <a:r>
              <a:rPr lang="en-US" sz="1000"/>
              <a:t>Timeframe</a:t>
            </a:r>
          </a:p>
        </p:txBody>
      </p:sp>
      <p:sp>
        <p:nvSpPr>
          <p:cNvPr id="34" name="TextBox 33">
            <a:extLst>
              <a:ext uri="{FF2B5EF4-FFF2-40B4-BE49-F238E27FC236}">
                <a16:creationId xmlns:a16="http://schemas.microsoft.com/office/drawing/2014/main" id="{D6ABA245-B3EB-4558-93BA-7F16D4B31D85}"/>
              </a:ext>
            </a:extLst>
          </p:cNvPr>
          <p:cNvSpPr txBox="1"/>
          <p:nvPr/>
        </p:nvSpPr>
        <p:spPr>
          <a:xfrm>
            <a:off x="9674753" y="2659203"/>
            <a:ext cx="2011680" cy="579646"/>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ind a Promotion</a:t>
            </a:r>
          </a:p>
          <a:p>
            <a:pPr marL="137160" indent="-137160">
              <a:spcAft>
                <a:spcPts val="100"/>
              </a:spcAft>
              <a:buFont typeface="Arial" panose="020B0604020202020204" pitchFamily="34" charset="0"/>
              <a:buChar char="•"/>
            </a:pPr>
            <a:r>
              <a:rPr lang="en-US" sz="1000"/>
              <a:t>Price Match</a:t>
            </a:r>
          </a:p>
          <a:p>
            <a:pPr marL="137160" indent="-137160">
              <a:spcAft>
                <a:spcPts val="100"/>
              </a:spcAft>
              <a:buFont typeface="Arial" panose="020B0604020202020204" pitchFamily="34" charset="0"/>
              <a:buChar char="•"/>
            </a:pPr>
            <a:r>
              <a:rPr lang="en-US" sz="1000"/>
              <a:t>Member Benefits</a:t>
            </a:r>
          </a:p>
        </p:txBody>
      </p:sp>
      <p:sp>
        <p:nvSpPr>
          <p:cNvPr id="35" name="TextBox 34">
            <a:extLst>
              <a:ext uri="{FF2B5EF4-FFF2-40B4-BE49-F238E27FC236}">
                <a16:creationId xmlns:a16="http://schemas.microsoft.com/office/drawing/2014/main" id="{A02161B5-1C71-4886-8DF0-FB9B8D41A90A}"/>
              </a:ext>
            </a:extLst>
          </p:cNvPr>
          <p:cNvSpPr txBox="1"/>
          <p:nvPr/>
        </p:nvSpPr>
        <p:spPr>
          <a:xfrm>
            <a:off x="9674753" y="3570073"/>
            <a:ext cx="2011680" cy="246221"/>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Tax Calculation</a:t>
            </a:r>
          </a:p>
        </p:txBody>
      </p:sp>
      <p:sp>
        <p:nvSpPr>
          <p:cNvPr id="36" name="TextBox 35">
            <a:extLst>
              <a:ext uri="{FF2B5EF4-FFF2-40B4-BE49-F238E27FC236}">
                <a16:creationId xmlns:a16="http://schemas.microsoft.com/office/drawing/2014/main" id="{EACE1BE8-3026-4467-A541-5AA7DC22122F}"/>
              </a:ext>
            </a:extLst>
          </p:cNvPr>
          <p:cNvSpPr txBox="1"/>
          <p:nvPr/>
        </p:nvSpPr>
        <p:spPr>
          <a:xfrm>
            <a:off x="9674753" y="4314909"/>
            <a:ext cx="2011680" cy="246221"/>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Payment Methods</a:t>
            </a:r>
          </a:p>
        </p:txBody>
      </p:sp>
      <p:sp>
        <p:nvSpPr>
          <p:cNvPr id="37" name="TextBox 36">
            <a:extLst>
              <a:ext uri="{FF2B5EF4-FFF2-40B4-BE49-F238E27FC236}">
                <a16:creationId xmlns:a16="http://schemas.microsoft.com/office/drawing/2014/main" id="{0F0ED351-3CC7-484A-A84C-56F4099901AD}"/>
              </a:ext>
            </a:extLst>
          </p:cNvPr>
          <p:cNvSpPr txBox="1"/>
          <p:nvPr/>
        </p:nvSpPr>
        <p:spPr>
          <a:xfrm>
            <a:off x="9674753" y="4975709"/>
            <a:ext cx="2011680" cy="412934"/>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Shipping Address</a:t>
            </a:r>
          </a:p>
          <a:p>
            <a:pPr marL="137160" indent="-137160">
              <a:spcAft>
                <a:spcPts val="100"/>
              </a:spcAft>
              <a:buFont typeface="Arial" panose="020B0604020202020204" pitchFamily="34" charset="0"/>
              <a:buChar char="•"/>
            </a:pPr>
            <a:r>
              <a:rPr lang="en-US" sz="1000"/>
              <a:t>Billing Address</a:t>
            </a:r>
          </a:p>
        </p:txBody>
      </p:sp>
      <p:sp>
        <p:nvSpPr>
          <p:cNvPr id="38" name="TextBox 37">
            <a:extLst>
              <a:ext uri="{FF2B5EF4-FFF2-40B4-BE49-F238E27FC236}">
                <a16:creationId xmlns:a16="http://schemas.microsoft.com/office/drawing/2014/main" id="{EF11BA93-9B2C-4090-BA26-DA6A2EE2F8D5}"/>
              </a:ext>
            </a:extLst>
          </p:cNvPr>
          <p:cNvSpPr txBox="1"/>
          <p:nvPr/>
        </p:nvSpPr>
        <p:spPr>
          <a:xfrm>
            <a:off x="534595" y="5733490"/>
            <a:ext cx="2011680" cy="579646"/>
          </a:xfrm>
          <a:prstGeom prst="rect">
            <a:avLst/>
          </a:prstGeom>
          <a:no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raud Check</a:t>
            </a:r>
          </a:p>
          <a:p>
            <a:pPr marL="137160" indent="-137160">
              <a:spcAft>
                <a:spcPts val="100"/>
              </a:spcAft>
              <a:buFont typeface="Arial" panose="020B0604020202020204" pitchFamily="34" charset="0"/>
              <a:buChar char="•"/>
            </a:pPr>
            <a:r>
              <a:rPr lang="en-US" sz="1000"/>
              <a:t>Order Confirmation</a:t>
            </a:r>
          </a:p>
          <a:p>
            <a:pPr marL="137160" indent="-137160">
              <a:spcAft>
                <a:spcPts val="100"/>
              </a:spcAft>
              <a:buFont typeface="Arial" panose="020B0604020202020204" pitchFamily="34" charset="0"/>
              <a:buChar char="•"/>
            </a:pPr>
            <a:r>
              <a:rPr lang="en-US" sz="1000"/>
              <a:t>Back Order/Cancellation</a:t>
            </a:r>
          </a:p>
        </p:txBody>
      </p:sp>
      <p:sp>
        <p:nvSpPr>
          <p:cNvPr id="39" name="TextBox 38">
            <a:extLst>
              <a:ext uri="{FF2B5EF4-FFF2-40B4-BE49-F238E27FC236}">
                <a16:creationId xmlns:a16="http://schemas.microsoft.com/office/drawing/2014/main" id="{137633A5-5AE8-44F0-80D9-EFE3092DDB36}"/>
              </a:ext>
            </a:extLst>
          </p:cNvPr>
          <p:cNvSpPr txBox="1"/>
          <p:nvPr/>
        </p:nvSpPr>
        <p:spPr>
          <a:xfrm>
            <a:off x="534595" y="4808997"/>
            <a:ext cx="2011680" cy="746358"/>
          </a:xfrm>
          <a:prstGeom prst="rect">
            <a:avLst/>
          </a:prstGeom>
          <a:no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Address</a:t>
            </a:r>
          </a:p>
          <a:p>
            <a:r>
              <a:rPr lang="en-US"/>
              <a:t>Coupon</a:t>
            </a:r>
          </a:p>
          <a:p>
            <a:r>
              <a:rPr lang="en-US"/>
              <a:t>Shipment</a:t>
            </a:r>
          </a:p>
          <a:p>
            <a:r>
              <a:rPr lang="en-US"/>
              <a:t>Order Cancellation</a:t>
            </a:r>
          </a:p>
        </p:txBody>
      </p:sp>
      <p:sp>
        <p:nvSpPr>
          <p:cNvPr id="40" name="TextBox 39">
            <a:extLst>
              <a:ext uri="{FF2B5EF4-FFF2-40B4-BE49-F238E27FC236}">
                <a16:creationId xmlns:a16="http://schemas.microsoft.com/office/drawing/2014/main" id="{F6E16829-86A3-407A-9ACF-F4200F3051AF}"/>
              </a:ext>
            </a:extLst>
          </p:cNvPr>
          <p:cNvSpPr txBox="1"/>
          <p:nvPr/>
        </p:nvSpPr>
        <p:spPr>
          <a:xfrm>
            <a:off x="534595" y="4315043"/>
            <a:ext cx="2011680" cy="246221"/>
          </a:xfrm>
          <a:prstGeom prst="rect">
            <a:avLst/>
          </a:prstGeom>
          <a:no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Price Adjustment</a:t>
            </a:r>
          </a:p>
        </p:txBody>
      </p:sp>
      <p:sp>
        <p:nvSpPr>
          <p:cNvPr id="41" name="TextBox 40">
            <a:extLst>
              <a:ext uri="{FF2B5EF4-FFF2-40B4-BE49-F238E27FC236}">
                <a16:creationId xmlns:a16="http://schemas.microsoft.com/office/drawing/2014/main" id="{D3D7EEC6-A20B-4364-8FE0-C98B0988288D}"/>
              </a:ext>
            </a:extLst>
          </p:cNvPr>
          <p:cNvSpPr txBox="1"/>
          <p:nvPr/>
        </p:nvSpPr>
        <p:spPr>
          <a:xfrm>
            <a:off x="1192771" y="2658178"/>
            <a:ext cx="2233097" cy="576274"/>
          </a:xfrm>
          <a:prstGeom prst="rect">
            <a:avLst/>
          </a:prstGeom>
          <a:solidFill>
            <a:schemeClr val="bg1">
              <a:lumMod val="95000"/>
            </a:schemeClr>
          </a:solidFill>
          <a:ln w="6350">
            <a:solidFill>
              <a:schemeClr val="bg1">
                <a:lumMod val="75000"/>
              </a:schemeClr>
            </a:solidFill>
          </a:ln>
        </p:spPr>
        <p:txBody>
          <a:bodyPr vert="horz" wrap="square" lIns="91440" tIns="45720" rIns="91440" bIns="45720" rtlCol="0" anchor="ctr" anchorCtr="0">
            <a:noAutofit/>
          </a:bodyPr>
          <a:lstStyle/>
          <a:p>
            <a:pPr algn="ctr">
              <a:spcAft>
                <a:spcPts val="100"/>
              </a:spcAft>
            </a:pPr>
            <a:r>
              <a:rPr lang="en-US" sz="1961">
                <a:solidFill>
                  <a:schemeClr val="tx2"/>
                </a:solidFill>
                <a:latin typeface="+mj-lt"/>
              </a:rPr>
              <a:t>“Return an Item”</a:t>
            </a:r>
          </a:p>
        </p:txBody>
      </p:sp>
      <p:cxnSp>
        <p:nvCxnSpPr>
          <p:cNvPr id="42" name="Straight Connector 41">
            <a:extLst>
              <a:ext uri="{FF2B5EF4-FFF2-40B4-BE49-F238E27FC236}">
                <a16:creationId xmlns:a16="http://schemas.microsoft.com/office/drawing/2014/main" id="{AB321E0A-CBEF-4972-9883-80E8FFD7625A}"/>
              </a:ext>
            </a:extLst>
          </p:cNvPr>
          <p:cNvCxnSpPr>
            <a:cxnSpLocks/>
            <a:stCxn id="41" idx="3"/>
            <a:endCxn id="43" idx="1"/>
          </p:cNvCxnSpPr>
          <p:nvPr/>
        </p:nvCxnSpPr>
        <p:spPr>
          <a:xfrm>
            <a:off x="3425868" y="2946315"/>
            <a:ext cx="486395" cy="45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5" name="Arrow: Circular 14">
            <a:extLst>
              <a:ext uri="{FF2B5EF4-FFF2-40B4-BE49-F238E27FC236}">
                <a16:creationId xmlns:a16="http://schemas.microsoft.com/office/drawing/2014/main" id="{5DB4239D-6FA8-439E-ACBD-9762AB57D6AA}"/>
              </a:ext>
            </a:extLst>
          </p:cNvPr>
          <p:cNvSpPr/>
          <p:nvPr/>
        </p:nvSpPr>
        <p:spPr>
          <a:xfrm>
            <a:off x="4201242" y="1384217"/>
            <a:ext cx="4810108" cy="4810108"/>
          </a:xfrm>
          <a:prstGeom prst="circularArrow">
            <a:avLst>
              <a:gd name="adj1" fmla="val 5212"/>
              <a:gd name="adj2" fmla="val 263228"/>
              <a:gd name="adj3" fmla="val 14755538"/>
              <a:gd name="adj4" fmla="val 16938164"/>
              <a:gd name="adj5" fmla="val 5757"/>
            </a:avLst>
          </a:prstGeom>
          <a:solidFill>
            <a:schemeClr val="bg1">
              <a:lumMod val="8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vert="horz" wrap="square" lIns="91440" tIns="45720" rIns="91440" bIns="45720" anchor="ctr" anchorCtr="0">
            <a:noAutofit/>
          </a:bodyPr>
          <a:lstStyle/>
          <a:p>
            <a:pPr>
              <a:spcAft>
                <a:spcPts val="100"/>
              </a:spcAft>
            </a:pPr>
            <a:endParaRPr lang="en-US" sz="1200"/>
          </a:p>
        </p:txBody>
      </p:sp>
      <p:sp>
        <p:nvSpPr>
          <p:cNvPr id="29" name="Rectangle 28">
            <a:extLst>
              <a:ext uri="{FF2B5EF4-FFF2-40B4-BE49-F238E27FC236}">
                <a16:creationId xmlns:a16="http://schemas.microsoft.com/office/drawing/2014/main" id="{C2B0166B-6B81-4A69-A0D1-41C93E859756}"/>
              </a:ext>
            </a:extLst>
          </p:cNvPr>
          <p:cNvSpPr/>
          <p:nvPr/>
        </p:nvSpPr>
        <p:spPr>
          <a:xfrm>
            <a:off x="3748477" y="3480504"/>
            <a:ext cx="1228768"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Delivery</a:t>
            </a:r>
          </a:p>
        </p:txBody>
      </p:sp>
      <p:sp>
        <p:nvSpPr>
          <p:cNvPr id="43" name="Rectangle 42">
            <a:extLst>
              <a:ext uri="{FF2B5EF4-FFF2-40B4-BE49-F238E27FC236}">
                <a16:creationId xmlns:a16="http://schemas.microsoft.com/office/drawing/2014/main" id="{66B136E0-2EBF-4F6C-AC70-2EF58CDE7417}"/>
              </a:ext>
            </a:extLst>
          </p:cNvPr>
          <p:cNvSpPr/>
          <p:nvPr/>
        </p:nvSpPr>
        <p:spPr bwMode="auto">
          <a:xfrm>
            <a:off x="3912263" y="2640450"/>
            <a:ext cx="1408176" cy="6126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Aft>
                <a:spcPts val="10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BF84EB20-B254-4E4D-9613-FD4F54D1AC36}"/>
              </a:ext>
            </a:extLst>
          </p:cNvPr>
          <p:cNvCxnSpPr>
            <a:cxnSpLocks/>
          </p:cNvCxnSpPr>
          <p:nvPr/>
        </p:nvCxnSpPr>
        <p:spPr>
          <a:xfrm>
            <a:off x="5701665" y="1377315"/>
            <a:ext cx="2369820" cy="48672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7F752D0-0109-4D01-BA4A-C02E7899F5B9}"/>
              </a:ext>
            </a:extLst>
          </p:cNvPr>
          <p:cNvSpPr txBox="1"/>
          <p:nvPr/>
        </p:nvSpPr>
        <p:spPr>
          <a:xfrm>
            <a:off x="5533152" y="3933887"/>
            <a:ext cx="861297" cy="200742"/>
          </a:xfrm>
          <a:prstGeom prst="rect">
            <a:avLst/>
          </a:prstGeom>
          <a:noFill/>
        </p:spPr>
        <p:txBody>
          <a:bodyPr vert="horz" wrap="square" lIns="0" tIns="0" rIns="0" bIns="0" rtlCol="0" anchor="ctr" anchorCtr="0">
            <a:noAutofit/>
          </a:bodyPr>
          <a:lstStyle/>
          <a:p>
            <a:pPr>
              <a:spcAft>
                <a:spcPts val="100"/>
              </a:spcAft>
            </a:pPr>
            <a:r>
              <a:rPr lang="en-US" sz="1600">
                <a:solidFill>
                  <a:schemeClr val="tx2"/>
                </a:solidFill>
                <a:latin typeface="+mj-lt"/>
              </a:rPr>
              <a:t>Post-sale</a:t>
            </a:r>
          </a:p>
        </p:txBody>
      </p:sp>
      <p:sp>
        <p:nvSpPr>
          <p:cNvPr id="46" name="TextBox 45">
            <a:extLst>
              <a:ext uri="{FF2B5EF4-FFF2-40B4-BE49-F238E27FC236}">
                <a16:creationId xmlns:a16="http://schemas.microsoft.com/office/drawing/2014/main" id="{74BF3364-22A6-491F-9A8B-D0CAC3948EE2}"/>
              </a:ext>
            </a:extLst>
          </p:cNvPr>
          <p:cNvSpPr txBox="1"/>
          <p:nvPr/>
        </p:nvSpPr>
        <p:spPr>
          <a:xfrm>
            <a:off x="6983844" y="3221347"/>
            <a:ext cx="910255" cy="200742"/>
          </a:xfrm>
          <a:prstGeom prst="rect">
            <a:avLst/>
          </a:prstGeom>
          <a:noFill/>
        </p:spPr>
        <p:txBody>
          <a:bodyPr vert="horz" wrap="square" lIns="0" tIns="0" rIns="0" bIns="0" rtlCol="0" anchor="ctr" anchorCtr="0">
            <a:noAutofit/>
          </a:bodyPr>
          <a:lstStyle/>
          <a:p>
            <a:pPr>
              <a:spcAft>
                <a:spcPts val="100"/>
              </a:spcAft>
            </a:pPr>
            <a:r>
              <a:rPr lang="en-US" sz="1600">
                <a:solidFill>
                  <a:schemeClr val="tx2"/>
                </a:solidFill>
                <a:latin typeface="+mj-lt"/>
              </a:rPr>
              <a:t>Checkout</a:t>
            </a:r>
          </a:p>
        </p:txBody>
      </p:sp>
      <p:cxnSp>
        <p:nvCxnSpPr>
          <p:cNvPr id="5" name="Straight Connector 4">
            <a:extLst>
              <a:ext uri="{FF2B5EF4-FFF2-40B4-BE49-F238E27FC236}">
                <a16:creationId xmlns:a16="http://schemas.microsoft.com/office/drawing/2014/main" id="{4CA50473-6607-4AEF-BB54-7C7E3C4AB004}"/>
              </a:ext>
            </a:extLst>
          </p:cNvPr>
          <p:cNvCxnSpPr>
            <a:cxnSpLocks/>
          </p:cNvCxnSpPr>
          <p:nvPr/>
        </p:nvCxnSpPr>
        <p:spPr>
          <a:xfrm flipV="1">
            <a:off x="7061423" y="1571983"/>
            <a:ext cx="2613330" cy="1"/>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B4B0A69-217E-4592-AC35-589FFF4ECAA0}"/>
              </a:ext>
            </a:extLst>
          </p:cNvPr>
          <p:cNvCxnSpPr>
            <a:cxnSpLocks/>
            <a:stCxn id="19" idx="3"/>
            <a:endCxn id="33" idx="1"/>
          </p:cNvCxnSpPr>
          <p:nvPr/>
        </p:nvCxnSpPr>
        <p:spPr>
          <a:xfrm flipV="1">
            <a:off x="8776393" y="2203429"/>
            <a:ext cx="898360" cy="185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23B2D69-014C-4D60-BD9A-0EFD0DEF6BEE}"/>
              </a:ext>
            </a:extLst>
          </p:cNvPr>
          <p:cNvCxnSpPr>
            <a:cxnSpLocks/>
            <a:stCxn id="20" idx="3"/>
            <a:endCxn id="34" idx="1"/>
          </p:cNvCxnSpPr>
          <p:nvPr/>
        </p:nvCxnSpPr>
        <p:spPr>
          <a:xfrm flipV="1">
            <a:off x="9213601" y="2949026"/>
            <a:ext cx="461152" cy="547"/>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FFFFFED-A1C2-4E7B-8EBD-9E4956854CEB}"/>
              </a:ext>
            </a:extLst>
          </p:cNvPr>
          <p:cNvCxnSpPr>
            <a:cxnSpLocks/>
            <a:stCxn id="21" idx="3"/>
            <a:endCxn id="35" idx="1"/>
          </p:cNvCxnSpPr>
          <p:nvPr/>
        </p:nvCxnSpPr>
        <p:spPr>
          <a:xfrm flipV="1">
            <a:off x="9464904" y="3693184"/>
            <a:ext cx="209849" cy="67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138B432-3E09-40CA-BB5B-0A34597F3946}"/>
              </a:ext>
            </a:extLst>
          </p:cNvPr>
          <p:cNvCxnSpPr>
            <a:cxnSpLocks/>
            <a:stCxn id="22" idx="3"/>
            <a:endCxn id="36" idx="1"/>
          </p:cNvCxnSpPr>
          <p:nvPr/>
        </p:nvCxnSpPr>
        <p:spPr>
          <a:xfrm flipV="1">
            <a:off x="9213601" y="4438020"/>
            <a:ext cx="461152" cy="13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A50C5A9-C599-4269-A472-D421220DE2CC}"/>
              </a:ext>
            </a:extLst>
          </p:cNvPr>
          <p:cNvCxnSpPr>
            <a:cxnSpLocks/>
            <a:stCxn id="23" idx="3"/>
            <a:endCxn id="37" idx="1"/>
          </p:cNvCxnSpPr>
          <p:nvPr/>
        </p:nvCxnSpPr>
        <p:spPr>
          <a:xfrm flipV="1">
            <a:off x="8904981" y="5182176"/>
            <a:ext cx="769772"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3813754-F9BF-4698-A846-40E4FCD40F81}"/>
              </a:ext>
            </a:extLst>
          </p:cNvPr>
          <p:cNvCxnSpPr>
            <a:cxnSpLocks/>
            <a:stCxn id="24" idx="2"/>
          </p:cNvCxnSpPr>
          <p:nvPr/>
        </p:nvCxnSpPr>
        <p:spPr>
          <a:xfrm rot="5400000">
            <a:off x="4879742" y="3797101"/>
            <a:ext cx="91440" cy="4758374"/>
          </a:xfrm>
          <a:prstGeom prst="bentConnector2">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84B72D0-9E24-49D8-A8A1-F88D6441100F}"/>
              </a:ext>
            </a:extLst>
          </p:cNvPr>
          <p:cNvCxnSpPr>
            <a:cxnSpLocks/>
            <a:stCxn id="28" idx="1"/>
            <a:endCxn id="40" idx="3"/>
          </p:cNvCxnSpPr>
          <p:nvPr/>
        </p:nvCxnSpPr>
        <p:spPr>
          <a:xfrm flipH="1">
            <a:off x="2546275" y="4438154"/>
            <a:ext cx="1452708" cy="0"/>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B620A92-4B59-40A6-A981-582674A22CA1}"/>
              </a:ext>
            </a:extLst>
          </p:cNvPr>
          <p:cNvCxnSpPr>
            <a:cxnSpLocks/>
            <a:stCxn id="27" idx="1"/>
            <a:endCxn id="39" idx="3"/>
          </p:cNvCxnSpPr>
          <p:nvPr/>
        </p:nvCxnSpPr>
        <p:spPr>
          <a:xfrm flipH="1" flipV="1">
            <a:off x="2546275" y="5182176"/>
            <a:ext cx="1759187"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225B94-18A0-4F5A-BD58-B5B0D0AF29EE}"/>
              </a:ext>
            </a:extLst>
          </p:cNvPr>
          <p:cNvSpPr/>
          <p:nvPr/>
        </p:nvSpPr>
        <p:spPr>
          <a:xfrm>
            <a:off x="5993414" y="1537351"/>
            <a:ext cx="1225296"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622300">
              <a:spcAft>
                <a:spcPts val="100"/>
              </a:spcAft>
              <a:buNone/>
            </a:pPr>
            <a:r>
              <a:rPr lang="en-US" sz="1200" kern="1200">
                <a:solidFill>
                  <a:schemeClr val="tx1"/>
                </a:solidFill>
              </a:rPr>
              <a:t>Browse Products</a:t>
            </a:r>
          </a:p>
        </p:txBody>
      </p:sp>
      <p:sp>
        <p:nvSpPr>
          <p:cNvPr id="19" name="Rectangle 18">
            <a:extLst>
              <a:ext uri="{FF2B5EF4-FFF2-40B4-BE49-F238E27FC236}">
                <a16:creationId xmlns:a16="http://schemas.microsoft.com/office/drawing/2014/main" id="{7893B384-FC15-4306-BBEB-F3CDAAEFE1F0}"/>
              </a:ext>
            </a:extLst>
          </p:cNvPr>
          <p:cNvSpPr/>
          <p:nvPr/>
        </p:nvSpPr>
        <p:spPr>
          <a:xfrm>
            <a:off x="7547625" y="1991924"/>
            <a:ext cx="1228768"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Shipment</a:t>
            </a:r>
          </a:p>
        </p:txBody>
      </p:sp>
      <p:sp>
        <p:nvSpPr>
          <p:cNvPr id="20" name="Rectangle 19">
            <a:extLst>
              <a:ext uri="{FF2B5EF4-FFF2-40B4-BE49-F238E27FC236}">
                <a16:creationId xmlns:a16="http://schemas.microsoft.com/office/drawing/2014/main" id="{53712CBE-9FD4-461A-8AAC-3DD4412CF29C}"/>
              </a:ext>
            </a:extLst>
          </p:cNvPr>
          <p:cNvSpPr/>
          <p:nvPr/>
        </p:nvSpPr>
        <p:spPr>
          <a:xfrm>
            <a:off x="7984833" y="2736214"/>
            <a:ext cx="1228768"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ricing</a:t>
            </a:r>
          </a:p>
        </p:txBody>
      </p:sp>
      <p:sp>
        <p:nvSpPr>
          <p:cNvPr id="21" name="Rectangle 20">
            <a:extLst>
              <a:ext uri="{FF2B5EF4-FFF2-40B4-BE49-F238E27FC236}">
                <a16:creationId xmlns:a16="http://schemas.microsoft.com/office/drawing/2014/main" id="{3F40C838-2B1C-4E0F-9CB4-C995F3CB14FF}"/>
              </a:ext>
            </a:extLst>
          </p:cNvPr>
          <p:cNvSpPr/>
          <p:nvPr/>
        </p:nvSpPr>
        <p:spPr>
          <a:xfrm>
            <a:off x="8236136" y="3480504"/>
            <a:ext cx="1228768"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Tax</a:t>
            </a:r>
          </a:p>
        </p:txBody>
      </p:sp>
      <p:sp>
        <p:nvSpPr>
          <p:cNvPr id="22" name="Rectangle 21">
            <a:extLst>
              <a:ext uri="{FF2B5EF4-FFF2-40B4-BE49-F238E27FC236}">
                <a16:creationId xmlns:a16="http://schemas.microsoft.com/office/drawing/2014/main" id="{F6582F85-0734-4261-B20C-D56264B34D31}"/>
              </a:ext>
            </a:extLst>
          </p:cNvPr>
          <p:cNvSpPr/>
          <p:nvPr/>
        </p:nvSpPr>
        <p:spPr>
          <a:xfrm>
            <a:off x="7984833" y="4224795"/>
            <a:ext cx="1228768"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ayment</a:t>
            </a:r>
          </a:p>
        </p:txBody>
      </p:sp>
      <p:sp>
        <p:nvSpPr>
          <p:cNvPr id="23" name="Rectangle 22">
            <a:extLst>
              <a:ext uri="{FF2B5EF4-FFF2-40B4-BE49-F238E27FC236}">
                <a16:creationId xmlns:a16="http://schemas.microsoft.com/office/drawing/2014/main" id="{17209003-86FD-46FA-B3C5-B4FB22C1C8D0}"/>
              </a:ext>
            </a:extLst>
          </p:cNvPr>
          <p:cNvSpPr/>
          <p:nvPr/>
        </p:nvSpPr>
        <p:spPr>
          <a:xfrm>
            <a:off x="7676213" y="4969086"/>
            <a:ext cx="1228768" cy="426717"/>
          </a:xfrm>
          <a:prstGeom prst="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Address Validation</a:t>
            </a:r>
          </a:p>
        </p:txBody>
      </p:sp>
      <p:sp>
        <p:nvSpPr>
          <p:cNvPr id="24" name="Rectangle 23">
            <a:extLst>
              <a:ext uri="{FF2B5EF4-FFF2-40B4-BE49-F238E27FC236}">
                <a16:creationId xmlns:a16="http://schemas.microsoft.com/office/drawing/2014/main" id="{7127F4B5-55CE-4570-B4D4-5DCB290119DB}"/>
              </a:ext>
            </a:extLst>
          </p:cNvPr>
          <p:cNvSpPr/>
          <p:nvPr/>
        </p:nvSpPr>
        <p:spPr>
          <a:xfrm>
            <a:off x="6805586" y="5703851"/>
            <a:ext cx="998126"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Order Status</a:t>
            </a:r>
          </a:p>
        </p:txBody>
      </p:sp>
      <p:sp>
        <p:nvSpPr>
          <p:cNvPr id="25" name="Rectangle 24">
            <a:extLst>
              <a:ext uri="{FF2B5EF4-FFF2-40B4-BE49-F238E27FC236}">
                <a16:creationId xmlns:a16="http://schemas.microsoft.com/office/drawing/2014/main" id="{C7E45740-0DC0-4FB9-982A-A5F7CBDDDE27}"/>
              </a:ext>
            </a:extLst>
          </p:cNvPr>
          <p:cNvSpPr/>
          <p:nvPr/>
        </p:nvSpPr>
        <p:spPr>
          <a:xfrm>
            <a:off x="5401970" y="5703851"/>
            <a:ext cx="998126"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Warranty</a:t>
            </a:r>
          </a:p>
        </p:txBody>
      </p:sp>
      <p:sp>
        <p:nvSpPr>
          <p:cNvPr id="27" name="Rectangle 26">
            <a:extLst>
              <a:ext uri="{FF2B5EF4-FFF2-40B4-BE49-F238E27FC236}">
                <a16:creationId xmlns:a16="http://schemas.microsoft.com/office/drawing/2014/main" id="{C754A1F8-9F8B-4060-A5B1-DCBCF2C03115}"/>
              </a:ext>
            </a:extLst>
          </p:cNvPr>
          <p:cNvSpPr/>
          <p:nvPr/>
        </p:nvSpPr>
        <p:spPr>
          <a:xfrm>
            <a:off x="4305462" y="4969086"/>
            <a:ext cx="1228768"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Change/</a:t>
            </a:r>
            <a:br>
              <a:rPr lang="en-US" sz="1200" kern="1200">
                <a:solidFill>
                  <a:schemeClr val="bg1"/>
                </a:solidFill>
              </a:rPr>
            </a:br>
            <a:r>
              <a:rPr lang="en-US" sz="1200" kern="1200">
                <a:solidFill>
                  <a:schemeClr val="bg1"/>
                </a:solidFill>
              </a:rPr>
              <a:t>Cancel Order</a:t>
            </a:r>
          </a:p>
        </p:txBody>
      </p:sp>
      <p:sp>
        <p:nvSpPr>
          <p:cNvPr id="28" name="Rectangle 27">
            <a:extLst>
              <a:ext uri="{FF2B5EF4-FFF2-40B4-BE49-F238E27FC236}">
                <a16:creationId xmlns:a16="http://schemas.microsoft.com/office/drawing/2014/main" id="{00791540-85EC-496A-ABB6-61091D6A8C5F}"/>
              </a:ext>
            </a:extLst>
          </p:cNvPr>
          <p:cNvSpPr/>
          <p:nvPr/>
        </p:nvSpPr>
        <p:spPr>
          <a:xfrm>
            <a:off x="3998983" y="4224795"/>
            <a:ext cx="1228768"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Price</a:t>
            </a:r>
            <a:br>
              <a:rPr lang="en-US" sz="1200" kern="1200">
                <a:solidFill>
                  <a:schemeClr val="bg1"/>
                </a:solidFill>
              </a:rPr>
            </a:br>
            <a:r>
              <a:rPr lang="en-US" sz="1200" kern="1200">
                <a:solidFill>
                  <a:schemeClr val="bg1"/>
                </a:solidFill>
              </a:rPr>
              <a:t>Adjustment</a:t>
            </a:r>
          </a:p>
        </p:txBody>
      </p:sp>
      <p:sp>
        <p:nvSpPr>
          <p:cNvPr id="30" name="Rectangle 29">
            <a:extLst>
              <a:ext uri="{FF2B5EF4-FFF2-40B4-BE49-F238E27FC236}">
                <a16:creationId xmlns:a16="http://schemas.microsoft.com/office/drawing/2014/main" id="{22D32D6F-A174-4517-AFD6-E771F880A190}"/>
              </a:ext>
            </a:extLst>
          </p:cNvPr>
          <p:cNvSpPr/>
          <p:nvPr/>
        </p:nvSpPr>
        <p:spPr>
          <a:xfrm>
            <a:off x="3998983" y="2736214"/>
            <a:ext cx="1228768" cy="426717"/>
          </a:xfrm>
          <a:prstGeom prst="rect">
            <a:avLst/>
          </a:prstGeom>
          <a:solidFill>
            <a:schemeClr val="tx2"/>
          </a:solidFill>
          <a:ln w="57150">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Return/</a:t>
            </a:r>
            <a:br>
              <a:rPr lang="en-US" sz="1200" kern="1200">
                <a:solidFill>
                  <a:schemeClr val="bg1"/>
                </a:solidFill>
              </a:rPr>
            </a:br>
            <a:r>
              <a:rPr lang="en-US" sz="1200" kern="1200">
                <a:solidFill>
                  <a:schemeClr val="bg1"/>
                </a:solidFill>
              </a:rPr>
              <a:t>Exchange</a:t>
            </a:r>
          </a:p>
        </p:txBody>
      </p:sp>
      <p:sp>
        <p:nvSpPr>
          <p:cNvPr id="31" name="Rectangle 30">
            <a:extLst>
              <a:ext uri="{FF2B5EF4-FFF2-40B4-BE49-F238E27FC236}">
                <a16:creationId xmlns:a16="http://schemas.microsoft.com/office/drawing/2014/main" id="{3AD9836A-15D4-4345-94E3-1D18880CBBC0}"/>
              </a:ext>
            </a:extLst>
          </p:cNvPr>
          <p:cNvSpPr/>
          <p:nvPr/>
        </p:nvSpPr>
        <p:spPr>
          <a:xfrm>
            <a:off x="4435732" y="1991924"/>
            <a:ext cx="1228768" cy="426717"/>
          </a:xfrm>
          <a:prstGeom prst="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Refund</a:t>
            </a:r>
          </a:p>
        </p:txBody>
      </p:sp>
    </p:spTree>
    <p:extLst>
      <p:ext uri="{BB962C8B-B14F-4D97-AF65-F5344CB8AC3E}">
        <p14:creationId xmlns:p14="http://schemas.microsoft.com/office/powerpoint/2010/main" val="305408086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066D37-0371-486C-89B9-525D239B9F79}"/>
              </a:ext>
            </a:extLst>
          </p:cNvPr>
          <p:cNvPicPr>
            <a:picLocks noChangeAspect="1"/>
          </p:cNvPicPr>
          <p:nvPr/>
        </p:nvPicPr>
        <p:blipFill>
          <a:blip r:embed="rId3"/>
          <a:stretch>
            <a:fillRect/>
          </a:stretch>
        </p:blipFill>
        <p:spPr>
          <a:xfrm>
            <a:off x="1990861" y="1231569"/>
            <a:ext cx="2869884" cy="5084064"/>
          </a:xfrm>
          <a:prstGeom prst="rect">
            <a:avLst/>
          </a:prstGeom>
        </p:spPr>
      </p:pic>
      <p:sp>
        <p:nvSpPr>
          <p:cNvPr id="12" name="TextBox 11">
            <a:extLst>
              <a:ext uri="{FF2B5EF4-FFF2-40B4-BE49-F238E27FC236}">
                <a16:creationId xmlns:a16="http://schemas.microsoft.com/office/drawing/2014/main" id="{2ED2A98C-4166-4A8A-92FC-4AAC121B1782}"/>
              </a:ext>
            </a:extLst>
          </p:cNvPr>
          <p:cNvSpPr txBox="1"/>
          <p:nvPr/>
        </p:nvSpPr>
        <p:spPr>
          <a:xfrm rot="5400000">
            <a:off x="6943124" y="2145704"/>
            <a:ext cx="177275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a:solidFill>
                  <a:schemeClr val="tx2"/>
                </a:solidFill>
                <a:latin typeface="+mj-lt"/>
              </a:rPr>
              <a:t>Goal:</a:t>
            </a:r>
            <a:endParaRPr lang="en-US" sz="1961">
              <a:solidFill>
                <a:schemeClr val="tx2"/>
              </a:solidFill>
              <a:latin typeface="+mj-lt"/>
              <a:cs typeface="Segoe UI"/>
            </a:endParaRPr>
          </a:p>
          <a:p>
            <a:pPr>
              <a:spcAft>
                <a:spcPts val="1176"/>
              </a:spcAft>
            </a:pPr>
            <a:r>
              <a:rPr lang="en-US" sz="1961">
                <a:gradFill>
                  <a:gsLst>
                    <a:gs pos="2917">
                      <a:schemeClr val="tx1"/>
                    </a:gs>
                    <a:gs pos="30000">
                      <a:schemeClr val="tx1"/>
                    </a:gs>
                  </a:gsLst>
                  <a:lin ang="5400000" scaled="0"/>
                </a:gradFill>
                <a:cs typeface="Segoe UI"/>
              </a:rPr>
              <a:t>1. Describe return policy of the store</a:t>
            </a:r>
          </a:p>
          <a:p>
            <a:pPr>
              <a:spcAft>
                <a:spcPts val="1176"/>
              </a:spcAft>
            </a:pPr>
            <a:r>
              <a:rPr lang="en-US" sz="1961">
                <a:gradFill>
                  <a:gsLst>
                    <a:gs pos="2917">
                      <a:schemeClr val="tx1"/>
                    </a:gs>
                    <a:gs pos="30000">
                      <a:schemeClr val="tx1"/>
                    </a:gs>
                  </a:gsLst>
                  <a:lin ang="5400000" scaled="0"/>
                </a:gradFill>
                <a:cs typeface="Segoe UI"/>
              </a:rPr>
              <a:t>2. Check customer’s eligibility for return</a:t>
            </a:r>
          </a:p>
          <a:p>
            <a:pPr>
              <a:spcAft>
                <a:spcPts val="1176"/>
              </a:spcAft>
            </a:pPr>
            <a:r>
              <a:rPr lang="en-US" sz="1961">
                <a:gradFill>
                  <a:gsLst>
                    <a:gs pos="2917">
                      <a:schemeClr val="tx1"/>
                    </a:gs>
                    <a:gs pos="30000">
                      <a:schemeClr val="tx1"/>
                    </a:gs>
                  </a:gsLst>
                  <a:lin ang="5400000" scaled="0"/>
                </a:gradFill>
                <a:cs typeface="Segoe UI"/>
              </a:rPr>
              <a:t>3. Process the return</a:t>
            </a:r>
          </a:p>
        </p:txBody>
      </p:sp>
      <p:sp>
        <p:nvSpPr>
          <p:cNvPr id="6" name="TextBox 5">
            <a:extLst>
              <a:ext uri="{FF2B5EF4-FFF2-40B4-BE49-F238E27FC236}">
                <a16:creationId xmlns:a16="http://schemas.microsoft.com/office/drawing/2014/main" id="{CAAD652F-9DBA-43F6-BF0F-4D305E53BA62}"/>
              </a:ext>
            </a:extLst>
          </p:cNvPr>
          <p:cNvSpPr txBox="1"/>
          <p:nvPr/>
        </p:nvSpPr>
        <p:spPr>
          <a:xfrm rot="5400000">
            <a:off x="6729639" y="1540654"/>
            <a:ext cx="482784" cy="2957835"/>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a:t>Topic: </a:t>
            </a:r>
            <a:r>
              <a:rPr lang="en-US" sz="1961">
                <a:solidFill>
                  <a:schemeClr val="tx2"/>
                </a:solidFill>
                <a:latin typeface="+mj-lt"/>
              </a:rPr>
              <a:t>"Return an item"</a:t>
            </a:r>
            <a:endParaRPr lang="en-US" sz="1568">
              <a:solidFill>
                <a:schemeClr val="tx2"/>
              </a:solidFill>
              <a:latin typeface="+mj-lt"/>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2: Define the goal for the topic</a:t>
            </a:r>
          </a:p>
        </p:txBody>
      </p:sp>
      <p:sp>
        <p:nvSpPr>
          <p:cNvPr id="14" name="Rectangle 13">
            <a:extLst>
              <a:ext uri="{FF2B5EF4-FFF2-40B4-BE49-F238E27FC236}">
                <a16:creationId xmlns:a16="http://schemas.microsoft.com/office/drawing/2014/main" id="{2F7C76DF-A153-4C9A-9648-F6DB4AF514E2}"/>
              </a:ext>
            </a:extLst>
          </p:cNvPr>
          <p:cNvSpPr/>
          <p:nvPr/>
        </p:nvSpPr>
        <p:spPr bwMode="auto">
          <a:xfrm>
            <a:off x="447032" y="1169263"/>
            <a:ext cx="11326327" cy="52400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6">
            <a:extLst>
              <a:ext uri="{FF2B5EF4-FFF2-40B4-BE49-F238E27FC236}">
                <a16:creationId xmlns:a16="http://schemas.microsoft.com/office/drawing/2014/main" id="{F3AF2FC7-FAD9-4774-A159-633522E8F7EC}"/>
              </a:ext>
            </a:extLst>
          </p:cNvPr>
          <p:cNvSpPr/>
          <p:nvPr/>
        </p:nvSpPr>
        <p:spPr bwMode="auto">
          <a:xfrm>
            <a:off x="447032" y="1169265"/>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14532C80-1DE8-4B1A-B2E1-7FC4465A1C0B}"/>
              </a:ext>
            </a:extLst>
          </p:cNvPr>
          <p:cNvCxnSpPr>
            <a:cxnSpLocks/>
          </p:cNvCxnSpPr>
          <p:nvPr/>
        </p:nvCxnSpPr>
        <p:spPr>
          <a:xfrm flipH="1" flipV="1">
            <a:off x="4526136" y="3034992"/>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701259E-C022-454C-A458-5F3CD495985D}"/>
              </a:ext>
            </a:extLst>
          </p:cNvPr>
          <p:cNvCxnSpPr>
            <a:cxnSpLocks/>
          </p:cNvCxnSpPr>
          <p:nvPr/>
        </p:nvCxnSpPr>
        <p:spPr>
          <a:xfrm flipH="1" flipV="1">
            <a:off x="4489922" y="4519306"/>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3428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6802ED-9734-447B-84F7-FDFC4816DDFF}"/>
              </a:ext>
            </a:extLst>
          </p:cNvPr>
          <p:cNvPicPr>
            <a:picLocks noChangeAspect="1"/>
          </p:cNvPicPr>
          <p:nvPr/>
        </p:nvPicPr>
        <p:blipFill>
          <a:blip r:embed="rId2"/>
          <a:stretch>
            <a:fillRect/>
          </a:stretch>
        </p:blipFill>
        <p:spPr>
          <a:xfrm>
            <a:off x="755113" y="1442438"/>
            <a:ext cx="5533261" cy="4810164"/>
          </a:xfrm>
          <a:prstGeom prst="rect">
            <a:avLst/>
          </a:prstGeom>
        </p:spPr>
      </p:pic>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3: Create trigger phrases</a:t>
            </a:r>
          </a:p>
        </p:txBody>
      </p:sp>
      <p:sp>
        <p:nvSpPr>
          <p:cNvPr id="14" name="Rectangle 13">
            <a:extLst>
              <a:ext uri="{FF2B5EF4-FFF2-40B4-BE49-F238E27FC236}">
                <a16:creationId xmlns:a16="http://schemas.microsoft.com/office/drawing/2014/main" id="{2F7C76DF-A153-4C9A-9648-F6DB4AF514E2}"/>
              </a:ext>
            </a:extLst>
          </p:cNvPr>
          <p:cNvSpPr/>
          <p:nvPr/>
        </p:nvSpPr>
        <p:spPr bwMode="auto">
          <a:xfrm>
            <a:off x="447032" y="1169263"/>
            <a:ext cx="11326327" cy="52400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6">
            <a:extLst>
              <a:ext uri="{FF2B5EF4-FFF2-40B4-BE49-F238E27FC236}">
                <a16:creationId xmlns:a16="http://schemas.microsoft.com/office/drawing/2014/main" id="{F3AF2FC7-FAD9-4774-A159-633522E8F7EC}"/>
              </a:ext>
            </a:extLst>
          </p:cNvPr>
          <p:cNvSpPr/>
          <p:nvPr/>
        </p:nvSpPr>
        <p:spPr bwMode="auto">
          <a:xfrm>
            <a:off x="447032" y="1169265"/>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ED2A98C-4166-4A8A-92FC-4AAC121B1782}"/>
              </a:ext>
            </a:extLst>
          </p:cNvPr>
          <p:cNvSpPr txBox="1"/>
          <p:nvPr/>
        </p:nvSpPr>
        <p:spPr>
          <a:xfrm rot="5400000">
            <a:off x="7754458" y="1501177"/>
            <a:ext cx="222236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a:solidFill>
                  <a:schemeClr val="tx2"/>
                </a:solidFill>
                <a:latin typeface="+mj-lt"/>
              </a:rPr>
              <a:t>Steps:</a:t>
            </a:r>
            <a:endParaRPr lang="en-US" sz="1961">
              <a:solidFill>
                <a:schemeClr val="tx2"/>
              </a:solidFill>
              <a:latin typeface="+mj-lt"/>
              <a:cs typeface="Segoe UI"/>
            </a:endParaRPr>
          </a:p>
          <a:p>
            <a:pPr marL="286346" indent="-224097">
              <a:spcAft>
                <a:spcPts val="1176"/>
              </a:spcAft>
              <a:buFont typeface="Arial" panose="020B0604020202020204" pitchFamily="34" charset="0"/>
              <a:buChar char="•"/>
            </a:pPr>
            <a:r>
              <a:rPr lang="en-US" sz="1961">
                <a:cs typeface="Segoe UI"/>
              </a:rPr>
              <a:t>Start with 5 to 10 trigger phrases. You may need more trigger phrases if the scope of the topic is large</a:t>
            </a:r>
          </a:p>
          <a:p>
            <a:pPr marL="286346" indent="-224097">
              <a:spcAft>
                <a:spcPts val="1176"/>
              </a:spcAft>
              <a:buFont typeface="Arial" panose="020B0604020202020204" pitchFamily="34" charset="0"/>
              <a:buChar char="•"/>
            </a:pPr>
            <a:r>
              <a:rPr lang="en-US" sz="1961">
                <a:cs typeface="Segoe UI"/>
              </a:rPr>
              <a:t>Shorter trigger phrases with less than 10 words are generally better</a:t>
            </a:r>
          </a:p>
        </p:txBody>
      </p:sp>
      <p:cxnSp>
        <p:nvCxnSpPr>
          <p:cNvPr id="11" name="Straight Connector 10">
            <a:extLst>
              <a:ext uri="{FF2B5EF4-FFF2-40B4-BE49-F238E27FC236}">
                <a16:creationId xmlns:a16="http://schemas.microsoft.com/office/drawing/2014/main" id="{A50539F4-F1D0-4A17-A532-A225B16ADE01}"/>
              </a:ext>
            </a:extLst>
          </p:cNvPr>
          <p:cNvCxnSpPr>
            <a:cxnSpLocks/>
          </p:cNvCxnSpPr>
          <p:nvPr/>
        </p:nvCxnSpPr>
        <p:spPr>
          <a:xfrm flipH="1">
            <a:off x="3979889" y="3926942"/>
            <a:ext cx="2512151"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1C2C5BC-01E0-4962-BB06-4A1D5C485F92}"/>
              </a:ext>
            </a:extLst>
          </p:cNvPr>
          <p:cNvSpPr/>
          <p:nvPr/>
        </p:nvSpPr>
        <p:spPr bwMode="auto">
          <a:xfrm>
            <a:off x="2743200" y="3005528"/>
            <a:ext cx="1424066" cy="2450892"/>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91186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2224D-4EF3-4B6F-92FE-3B2834512955}"/>
              </a:ext>
            </a:extLst>
          </p:cNvPr>
          <p:cNvPicPr>
            <a:picLocks noChangeAspect="1"/>
          </p:cNvPicPr>
          <p:nvPr/>
        </p:nvPicPr>
        <p:blipFill rotWithShape="1">
          <a:blip r:embed="rId2"/>
          <a:srcRect l="37213" t="33689" r="31874" b="17841"/>
          <a:stretch/>
        </p:blipFill>
        <p:spPr>
          <a:xfrm>
            <a:off x="791456" y="1444598"/>
            <a:ext cx="3619179" cy="4933150"/>
          </a:xfrm>
          <a:prstGeom prst="rect">
            <a:avLst/>
          </a:prstGeom>
        </p:spPr>
      </p:pic>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4: Review trigger phrases</a:t>
            </a:r>
          </a:p>
        </p:txBody>
      </p:sp>
      <p:sp>
        <p:nvSpPr>
          <p:cNvPr id="14" name="Rectangle 13">
            <a:extLst>
              <a:ext uri="{FF2B5EF4-FFF2-40B4-BE49-F238E27FC236}">
                <a16:creationId xmlns:a16="http://schemas.microsoft.com/office/drawing/2014/main" id="{2F7C76DF-A153-4C9A-9648-F6DB4AF514E2}"/>
              </a:ext>
            </a:extLst>
          </p:cNvPr>
          <p:cNvSpPr/>
          <p:nvPr/>
        </p:nvSpPr>
        <p:spPr bwMode="auto">
          <a:xfrm>
            <a:off x="447032" y="1169263"/>
            <a:ext cx="11326327" cy="52400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6">
            <a:extLst>
              <a:ext uri="{FF2B5EF4-FFF2-40B4-BE49-F238E27FC236}">
                <a16:creationId xmlns:a16="http://schemas.microsoft.com/office/drawing/2014/main" id="{F3AF2FC7-FAD9-4774-A159-633522E8F7EC}"/>
              </a:ext>
            </a:extLst>
          </p:cNvPr>
          <p:cNvSpPr/>
          <p:nvPr/>
        </p:nvSpPr>
        <p:spPr bwMode="auto">
          <a:xfrm>
            <a:off x="447032" y="1169265"/>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ED2A98C-4166-4A8A-92FC-4AAC121B1782}"/>
              </a:ext>
            </a:extLst>
          </p:cNvPr>
          <p:cNvSpPr txBox="1"/>
          <p:nvPr/>
        </p:nvSpPr>
        <p:spPr>
          <a:xfrm rot="5400000">
            <a:off x="4891868" y="1251688"/>
            <a:ext cx="1766725"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a:solidFill>
                  <a:schemeClr val="tx2"/>
                </a:solidFill>
                <a:latin typeface="+mj-lt"/>
              </a:rPr>
              <a:t>Steps:</a:t>
            </a:r>
            <a:endParaRPr lang="en-US" sz="1961">
              <a:solidFill>
                <a:schemeClr val="tx2"/>
              </a:solidFill>
              <a:latin typeface="+mj-lt"/>
              <a:cs typeface="Segoe UI"/>
            </a:endParaRPr>
          </a:p>
          <a:p>
            <a:pPr marL="286346" indent="-224097">
              <a:spcAft>
                <a:spcPts val="1176"/>
              </a:spcAft>
              <a:buFont typeface="Arial" panose="020B0604020202020204" pitchFamily="34" charset="0"/>
              <a:buChar char="•"/>
            </a:pPr>
            <a:r>
              <a:rPr lang="en-US" sz="1961">
                <a:cs typeface="Segoe UI"/>
              </a:rPr>
              <a:t>Make sure the trigger phrases are semantically different; using one different noun or verb could be enough to expand a topic’s coverage</a:t>
            </a:r>
          </a:p>
        </p:txBody>
      </p:sp>
      <p:cxnSp>
        <p:nvCxnSpPr>
          <p:cNvPr id="10" name="Straight Connector 9">
            <a:extLst>
              <a:ext uri="{FF2B5EF4-FFF2-40B4-BE49-F238E27FC236}">
                <a16:creationId xmlns:a16="http://schemas.microsoft.com/office/drawing/2014/main" id="{C06FE778-A3B1-45A2-8CBA-7F74718C7407}"/>
              </a:ext>
            </a:extLst>
          </p:cNvPr>
          <p:cNvCxnSpPr>
            <a:cxnSpLocks/>
            <a:stCxn id="12" idx="2"/>
          </p:cNvCxnSpPr>
          <p:nvPr/>
        </p:nvCxnSpPr>
        <p:spPr>
          <a:xfrm flipH="1">
            <a:off x="2143845" y="3625290"/>
            <a:ext cx="1257784"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78AE292-B34C-428C-9A2B-250AF2D47763}"/>
              </a:ext>
            </a:extLst>
          </p:cNvPr>
          <p:cNvSpPr/>
          <p:nvPr/>
        </p:nvSpPr>
        <p:spPr bwMode="auto">
          <a:xfrm>
            <a:off x="914400" y="2858462"/>
            <a:ext cx="1475334" cy="1506070"/>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264174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5AE273-07A1-4925-ADD4-A449B7CFD400}"/>
              </a:ext>
            </a:extLst>
          </p:cNvPr>
          <p:cNvPicPr>
            <a:picLocks noChangeAspect="1"/>
          </p:cNvPicPr>
          <p:nvPr/>
        </p:nvPicPr>
        <p:blipFill>
          <a:blip r:embed="rId2"/>
          <a:stretch>
            <a:fillRect/>
          </a:stretch>
        </p:blipFill>
        <p:spPr>
          <a:xfrm>
            <a:off x="993554" y="1978702"/>
            <a:ext cx="3782290" cy="3200400"/>
          </a:xfrm>
          <a:prstGeom prst="rect">
            <a:avLst/>
          </a:prstGeom>
        </p:spPr>
      </p:pic>
      <p:sp>
        <p:nvSpPr>
          <p:cNvPr id="14" name="Rectangle 13">
            <a:extLst>
              <a:ext uri="{FF2B5EF4-FFF2-40B4-BE49-F238E27FC236}">
                <a16:creationId xmlns:a16="http://schemas.microsoft.com/office/drawing/2014/main" id="{2F7C76DF-A153-4C9A-9648-F6DB4AF514E2}"/>
              </a:ext>
            </a:extLst>
          </p:cNvPr>
          <p:cNvSpPr/>
          <p:nvPr/>
        </p:nvSpPr>
        <p:spPr bwMode="auto">
          <a:xfrm>
            <a:off x="447032" y="440918"/>
            <a:ext cx="11326327" cy="59683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6">
            <a:extLst>
              <a:ext uri="{FF2B5EF4-FFF2-40B4-BE49-F238E27FC236}">
                <a16:creationId xmlns:a16="http://schemas.microsoft.com/office/drawing/2014/main" id="{F3AF2FC7-FAD9-4774-A159-633522E8F7EC}"/>
              </a:ext>
            </a:extLst>
          </p:cNvPr>
          <p:cNvSpPr/>
          <p:nvPr/>
        </p:nvSpPr>
        <p:spPr bwMode="auto">
          <a:xfrm>
            <a:off x="447032" y="440918"/>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C7445F5D-9AB0-4938-B1BF-3D2B3467F05D}"/>
              </a:ext>
            </a:extLst>
          </p:cNvPr>
          <p:cNvSpPr txBox="1"/>
          <p:nvPr/>
        </p:nvSpPr>
        <p:spPr>
          <a:xfrm rot="5400000">
            <a:off x="7574175" y="968726"/>
            <a:ext cx="138136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285750" indent="-223520">
              <a:spcAft>
                <a:spcPts val="1176"/>
              </a:spcAft>
              <a:buFont typeface="Arial" panose="020B0604020202020204" pitchFamily="34" charset="0"/>
              <a:buChar char="•"/>
            </a:pPr>
            <a:r>
              <a:rPr lang="en-US" sz="1950" dirty="0">
                <a:cs typeface="Segoe UI"/>
              </a:rPr>
              <a:t>Adding articles (an, the, etc.), capitalization, contractions, and pluralization </a:t>
            </a:r>
            <a:r>
              <a:rPr lang="en-US" sz="1950" dirty="0">
                <a:ea typeface="+mn-lt"/>
                <a:cs typeface="+mn-lt"/>
              </a:rPr>
              <a:t>has a low chance of improving the triggering</a:t>
            </a:r>
          </a:p>
        </p:txBody>
      </p:sp>
      <p:cxnSp>
        <p:nvCxnSpPr>
          <p:cNvPr id="11" name="Straight Connector 10">
            <a:extLst>
              <a:ext uri="{FF2B5EF4-FFF2-40B4-BE49-F238E27FC236}">
                <a16:creationId xmlns:a16="http://schemas.microsoft.com/office/drawing/2014/main" id="{DDF94876-5F88-45F3-A87F-CBEB0717D0EC}"/>
              </a:ext>
            </a:extLst>
          </p:cNvPr>
          <p:cNvCxnSpPr>
            <a:cxnSpLocks/>
            <a:stCxn id="10" idx="2"/>
          </p:cNvCxnSpPr>
          <p:nvPr/>
        </p:nvCxnSpPr>
        <p:spPr>
          <a:xfrm flipH="1">
            <a:off x="2894708" y="3342328"/>
            <a:ext cx="2996547" cy="1"/>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 name="&quot;Not Allowed&quot; Symbol 2">
            <a:extLst>
              <a:ext uri="{FF2B5EF4-FFF2-40B4-BE49-F238E27FC236}">
                <a16:creationId xmlns:a16="http://schemas.microsoft.com/office/drawing/2014/main" id="{60C25A5C-EA2B-447C-856D-CD650080D62A}"/>
              </a:ext>
            </a:extLst>
          </p:cNvPr>
          <p:cNvSpPr/>
          <p:nvPr/>
        </p:nvSpPr>
        <p:spPr bwMode="auto">
          <a:xfrm>
            <a:off x="697042" y="1941226"/>
            <a:ext cx="3050498" cy="3028013"/>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51957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Shape 61">
            <a:extLst>
              <a:ext uri="{FF2B5EF4-FFF2-40B4-BE49-F238E27FC236}">
                <a16:creationId xmlns:a16="http://schemas.microsoft.com/office/drawing/2014/main" id="{E83BF3D0-50C8-466D-9E18-C65D03F9C5A3}"/>
              </a:ext>
            </a:extLst>
          </p:cNvPr>
          <p:cNvSpPr/>
          <p:nvPr/>
        </p:nvSpPr>
        <p:spPr bwMode="auto">
          <a:xfrm rot="10800000">
            <a:off x="8540752" y="0"/>
            <a:ext cx="3651248" cy="3651248"/>
          </a:xfrm>
          <a:custGeom>
            <a:avLst/>
            <a:gdLst>
              <a:gd name="connsiteX0" fmla="*/ 3651248 w 3651248"/>
              <a:gd name="connsiteY0" fmla="*/ 3651248 h 3651248"/>
              <a:gd name="connsiteX1" fmla="*/ 0 w 3651248"/>
              <a:gd name="connsiteY1" fmla="*/ 3651248 h 3651248"/>
              <a:gd name="connsiteX2" fmla="*/ 0 w 3651248"/>
              <a:gd name="connsiteY2" fmla="*/ 0 h 3651248"/>
            </a:gdLst>
            <a:ahLst/>
            <a:cxnLst>
              <a:cxn ang="0">
                <a:pos x="connsiteX0" y="connsiteY0"/>
              </a:cxn>
              <a:cxn ang="0">
                <a:pos x="connsiteX1" y="connsiteY1"/>
              </a:cxn>
              <a:cxn ang="0">
                <a:pos x="connsiteX2" y="connsiteY2"/>
              </a:cxn>
            </a:cxnLst>
            <a:rect l="l" t="t" r="r" b="b"/>
            <a:pathLst>
              <a:path w="3651248" h="3651248">
                <a:moveTo>
                  <a:pt x="3651248" y="3651248"/>
                </a:moveTo>
                <a:lnTo>
                  <a:pt x="0" y="3651248"/>
                </a:lnTo>
                <a:lnTo>
                  <a:pt x="0" y="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a:t>Chat bots can help, but…</a:t>
            </a:r>
          </a:p>
        </p:txBody>
      </p:sp>
      <p:sp>
        <p:nvSpPr>
          <p:cNvPr id="4" name="TextBox 3">
            <a:extLst>
              <a:ext uri="{FF2B5EF4-FFF2-40B4-BE49-F238E27FC236}">
                <a16:creationId xmlns:a16="http://schemas.microsoft.com/office/drawing/2014/main" id="{800B64A8-FB81-476E-BC46-C7BAF81D0E24}"/>
              </a:ext>
            </a:extLst>
          </p:cNvPr>
          <p:cNvSpPr txBox="1"/>
          <p:nvPr/>
        </p:nvSpPr>
        <p:spPr>
          <a:xfrm>
            <a:off x="5895457" y="2377192"/>
            <a:ext cx="3837100" cy="553998"/>
          </a:xfrm>
          <a:prstGeom prst="rect">
            <a:avLst/>
          </a:prstGeom>
          <a:noFill/>
        </p:spPr>
        <p:txBody>
          <a:bodyPr wrap="square" lIns="0" tIns="0" rIns="0" bIns="0" rtlCol="0" anchor="t">
            <a:spAutoFit/>
          </a:bodyPr>
          <a:lstStyle/>
          <a:p>
            <a:pPr algn="r" defTabSz="914192">
              <a:lnSpc>
                <a:spcPct val="90000"/>
              </a:lnSpc>
              <a:spcAft>
                <a:spcPts val="600"/>
              </a:spcAft>
              <a:buClr>
                <a:srgbClr val="008272"/>
              </a:buClr>
              <a:defRPr/>
            </a:pPr>
            <a:r>
              <a:rPr lang="en-US" sz="2000">
                <a:latin typeface="Segoe UI"/>
              </a:rPr>
              <a:t>Bots are hard to create and expensive to maintain</a:t>
            </a:r>
          </a:p>
        </p:txBody>
      </p:sp>
      <p:sp>
        <p:nvSpPr>
          <p:cNvPr id="60" name="Freeform: Shape 59">
            <a:extLst>
              <a:ext uri="{FF2B5EF4-FFF2-40B4-BE49-F238E27FC236}">
                <a16:creationId xmlns:a16="http://schemas.microsoft.com/office/drawing/2014/main" id="{1F01BC35-CEE0-46B8-8488-95FA619F5AEA}"/>
              </a:ext>
            </a:extLst>
          </p:cNvPr>
          <p:cNvSpPr/>
          <p:nvPr/>
        </p:nvSpPr>
        <p:spPr bwMode="auto">
          <a:xfrm>
            <a:off x="6800850" y="1466848"/>
            <a:ext cx="5391151" cy="539115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a:extLst>
              <a:ext uri="{FF2B5EF4-FFF2-40B4-BE49-F238E27FC236}">
                <a16:creationId xmlns:a16="http://schemas.microsoft.com/office/drawing/2014/main" id="{B9B4D5BE-CEEE-41DA-BC2B-49C846A83307}"/>
              </a:ext>
            </a:extLst>
          </p:cNvPr>
          <p:cNvGrpSpPr/>
          <p:nvPr/>
        </p:nvGrpSpPr>
        <p:grpSpPr>
          <a:xfrm>
            <a:off x="-571500" y="1332071"/>
            <a:ext cx="4724400" cy="4635728"/>
            <a:chOff x="265161" y="2061525"/>
            <a:chExt cx="2655567" cy="2605725"/>
          </a:xfrm>
        </p:grpSpPr>
        <p:sp>
          <p:nvSpPr>
            <p:cNvPr id="22" name="Freeform: Shape 21">
              <a:extLst>
                <a:ext uri="{FF2B5EF4-FFF2-40B4-BE49-F238E27FC236}">
                  <a16:creationId xmlns:a16="http://schemas.microsoft.com/office/drawing/2014/main" id="{54F35D1B-DB4F-44BF-9944-20132D57DABB}"/>
                </a:ext>
              </a:extLst>
            </p:cNvPr>
            <p:cNvSpPr/>
            <p:nvPr/>
          </p:nvSpPr>
          <p:spPr>
            <a:xfrm>
              <a:off x="1172760" y="2061525"/>
              <a:ext cx="840369" cy="965942"/>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4" name="Freeform: Shape 23">
              <a:extLst>
                <a:ext uri="{FF2B5EF4-FFF2-40B4-BE49-F238E27FC236}">
                  <a16:creationId xmlns:a16="http://schemas.microsoft.com/office/drawing/2014/main" id="{FE6F00BE-2741-4F1D-B764-6FBE95F3D1A4}"/>
                </a:ext>
              </a:extLst>
            </p:cNvPr>
            <p:cNvSpPr/>
            <p:nvPr/>
          </p:nvSpPr>
          <p:spPr>
            <a:xfrm>
              <a:off x="668699" y="2427445"/>
              <a:ext cx="436831" cy="502105"/>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26" name="Freeform: Shape 25">
              <a:extLst>
                <a:ext uri="{FF2B5EF4-FFF2-40B4-BE49-F238E27FC236}">
                  <a16:creationId xmlns:a16="http://schemas.microsoft.com/office/drawing/2014/main" id="{BE09A802-3F43-40E4-B5C5-3503A8E832B4}"/>
                </a:ext>
              </a:extLst>
            </p:cNvPr>
            <p:cNvSpPr/>
            <p:nvPr/>
          </p:nvSpPr>
          <p:spPr>
            <a:xfrm>
              <a:off x="717222" y="2881416"/>
              <a:ext cx="840369" cy="965942"/>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8" name="Freeform: Shape 27">
              <a:extLst>
                <a:ext uri="{FF2B5EF4-FFF2-40B4-BE49-F238E27FC236}">
                  <a16:creationId xmlns:a16="http://schemas.microsoft.com/office/drawing/2014/main" id="{2BA7DD8D-3493-4433-A9BF-9CEACFEB5EF0}"/>
                </a:ext>
              </a:extLst>
            </p:cNvPr>
            <p:cNvSpPr/>
            <p:nvPr/>
          </p:nvSpPr>
          <p:spPr>
            <a:xfrm>
              <a:off x="2080359" y="2061525"/>
              <a:ext cx="840369" cy="965942"/>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29" name="Freeform: Shape 28">
              <a:extLst>
                <a:ext uri="{FF2B5EF4-FFF2-40B4-BE49-F238E27FC236}">
                  <a16:creationId xmlns:a16="http://schemas.microsoft.com/office/drawing/2014/main" id="{6CFE169F-0D6C-4A55-9A27-48A72E142209}"/>
                </a:ext>
              </a:extLst>
            </p:cNvPr>
            <p:cNvSpPr/>
            <p:nvPr/>
          </p:nvSpPr>
          <p:spPr>
            <a:xfrm>
              <a:off x="1173423" y="3792611"/>
              <a:ext cx="427477" cy="491353"/>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1" name="Freeform: Shape 30">
              <a:extLst>
                <a:ext uri="{FF2B5EF4-FFF2-40B4-BE49-F238E27FC236}">
                  <a16:creationId xmlns:a16="http://schemas.microsoft.com/office/drawing/2014/main" id="{ABDB52B5-35D9-4579-B14C-F5B03304A5BB}"/>
                </a:ext>
              </a:extLst>
            </p:cNvPr>
            <p:cNvSpPr/>
            <p:nvPr/>
          </p:nvSpPr>
          <p:spPr>
            <a:xfrm>
              <a:off x="265161" y="3701308"/>
              <a:ext cx="840369" cy="965942"/>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grpSp>
          <p:nvGrpSpPr>
            <p:cNvPr id="48" name="Group 47">
              <a:extLst>
                <a:ext uri="{FF2B5EF4-FFF2-40B4-BE49-F238E27FC236}">
                  <a16:creationId xmlns:a16="http://schemas.microsoft.com/office/drawing/2014/main" id="{4E2F47C6-2A24-4F59-8A82-27331EF61455}"/>
                </a:ext>
              </a:extLst>
            </p:cNvPr>
            <p:cNvGrpSpPr/>
            <p:nvPr/>
          </p:nvGrpSpPr>
          <p:grpSpPr>
            <a:xfrm>
              <a:off x="1624821" y="2881416"/>
              <a:ext cx="840369" cy="965941"/>
              <a:chOff x="1624821" y="2881416"/>
              <a:chExt cx="840369" cy="965941"/>
            </a:xfrm>
          </p:grpSpPr>
          <p:sp>
            <p:nvSpPr>
              <p:cNvPr id="33" name="Hexagon 32">
                <a:extLst>
                  <a:ext uri="{FF2B5EF4-FFF2-40B4-BE49-F238E27FC236}">
                    <a16:creationId xmlns:a16="http://schemas.microsoft.com/office/drawing/2014/main" id="{912CE092-7445-44F8-9085-1DDBEAB92B7B}"/>
                  </a:ext>
                </a:extLst>
              </p:cNvPr>
              <p:cNvSpPr/>
              <p:nvPr/>
            </p:nvSpPr>
            <p:spPr>
              <a:xfrm rot="5400000">
                <a:off x="1562035" y="2944202"/>
                <a:ext cx="965941" cy="840369"/>
              </a:xfrm>
              <a:prstGeom prst="hexagon">
                <a:avLst>
                  <a:gd name="adj" fmla="val 25000"/>
                  <a:gd name="vf" fmla="val 115470"/>
                </a:avLst>
              </a:prstGeom>
              <a:solidFill>
                <a:srgbClr val="0B556A"/>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Freeform 5">
                <a:extLst>
                  <a:ext uri="{FF2B5EF4-FFF2-40B4-BE49-F238E27FC236}">
                    <a16:creationId xmlns:a16="http://schemas.microsoft.com/office/drawing/2014/main" id="{0264E8B9-AC59-48F1-89C1-D80BE84140D3}"/>
                  </a:ext>
                </a:extLst>
              </p:cNvPr>
              <p:cNvSpPr>
                <a:spLocks noEditPoints="1"/>
              </p:cNvSpPr>
              <p:nvPr/>
            </p:nvSpPr>
            <p:spPr bwMode="auto">
              <a:xfrm>
                <a:off x="1775576" y="3167721"/>
                <a:ext cx="538858" cy="393331"/>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p>
            </p:txBody>
          </p:sp>
        </p:grpSp>
        <p:sp>
          <p:nvSpPr>
            <p:cNvPr id="69" name="Freeform: Shape 68">
              <a:extLst>
                <a:ext uri="{FF2B5EF4-FFF2-40B4-BE49-F238E27FC236}">
                  <a16:creationId xmlns:a16="http://schemas.microsoft.com/office/drawing/2014/main" id="{4134E365-92FD-4047-B78D-E2D35C0F67F8}"/>
                </a:ext>
              </a:extLst>
            </p:cNvPr>
            <p:cNvSpPr/>
            <p:nvPr/>
          </p:nvSpPr>
          <p:spPr>
            <a:xfrm>
              <a:off x="1657915" y="3780373"/>
              <a:ext cx="204969" cy="235596"/>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grpSp>
      <p:sp>
        <p:nvSpPr>
          <p:cNvPr id="55" name="TextBox 54">
            <a:extLst>
              <a:ext uri="{FF2B5EF4-FFF2-40B4-BE49-F238E27FC236}">
                <a16:creationId xmlns:a16="http://schemas.microsoft.com/office/drawing/2014/main" id="{53053DDF-4FA9-40E3-91A1-494472D27357}"/>
              </a:ext>
            </a:extLst>
          </p:cNvPr>
          <p:cNvSpPr txBox="1"/>
          <p:nvPr/>
        </p:nvSpPr>
        <p:spPr>
          <a:xfrm>
            <a:off x="3328714" y="3703656"/>
            <a:ext cx="5036386" cy="830997"/>
          </a:xfrm>
          <a:prstGeom prst="rect">
            <a:avLst/>
          </a:prstGeom>
          <a:noFill/>
        </p:spPr>
        <p:txBody>
          <a:bodyPr wrap="square" lIns="0" tIns="0" rIns="0" bIns="0" rtlCol="0" anchor="t">
            <a:spAutoFit/>
          </a:bodyPr>
          <a:lstStyle/>
          <a:p>
            <a:pPr algn="r" defTabSz="914192">
              <a:lnSpc>
                <a:spcPct val="90000"/>
              </a:lnSpc>
              <a:spcAft>
                <a:spcPts val="600"/>
              </a:spcAft>
              <a:buClr>
                <a:srgbClr val="008272"/>
              </a:buClr>
              <a:defRPr/>
            </a:pPr>
            <a:r>
              <a:rPr lang="en-US" sz="2000"/>
              <a:t>There is impedance between the subject matter experts with answers – and the developers and scientists who create bots</a:t>
            </a:r>
            <a:endParaRPr lang="en-US" sz="2000">
              <a:cs typeface="Segoe UI"/>
            </a:endParaRPr>
          </a:p>
        </p:txBody>
      </p:sp>
      <p:sp>
        <p:nvSpPr>
          <p:cNvPr id="56" name="TextBox 55">
            <a:extLst>
              <a:ext uri="{FF2B5EF4-FFF2-40B4-BE49-F238E27FC236}">
                <a16:creationId xmlns:a16="http://schemas.microsoft.com/office/drawing/2014/main" id="{952618E0-FC8B-45F0-A6F3-88AB09EB9BD7}"/>
              </a:ext>
            </a:extLst>
          </p:cNvPr>
          <p:cNvSpPr txBox="1"/>
          <p:nvPr/>
        </p:nvSpPr>
        <p:spPr>
          <a:xfrm>
            <a:off x="2552700" y="5185093"/>
            <a:ext cx="4284228" cy="830997"/>
          </a:xfrm>
          <a:prstGeom prst="rect">
            <a:avLst/>
          </a:prstGeom>
          <a:noFill/>
        </p:spPr>
        <p:txBody>
          <a:bodyPr wrap="square" lIns="0" tIns="0" rIns="0" bIns="0" rtlCol="0" anchor="ctr">
            <a:spAutoFit/>
          </a:bodyPr>
          <a:lstStyle/>
          <a:p>
            <a:pPr algn="r" defTabSz="914192">
              <a:lnSpc>
                <a:spcPct val="90000"/>
              </a:lnSpc>
              <a:spcAft>
                <a:spcPts val="600"/>
              </a:spcAft>
              <a:buClr>
                <a:srgbClr val="008272"/>
              </a:buClr>
              <a:defRPr/>
            </a:pPr>
            <a:r>
              <a:rPr lang="en-US" sz="2000" dirty="0"/>
              <a:t>Bots aren’t useful unless they can integrate with the backend and provide personalized answers</a:t>
            </a:r>
            <a:endParaRPr lang="en-US" sz="2000" dirty="0">
              <a:cs typeface="Segoe UI"/>
            </a:endParaRPr>
          </a:p>
        </p:txBody>
      </p:sp>
      <p:grpSp>
        <p:nvGrpSpPr>
          <p:cNvPr id="65" name="Group 64">
            <a:extLst>
              <a:ext uri="{FF2B5EF4-FFF2-40B4-BE49-F238E27FC236}">
                <a16:creationId xmlns:a16="http://schemas.microsoft.com/office/drawing/2014/main" id="{4D44FB7C-854A-4103-9544-866A936072C2}"/>
              </a:ext>
            </a:extLst>
          </p:cNvPr>
          <p:cNvGrpSpPr/>
          <p:nvPr/>
        </p:nvGrpSpPr>
        <p:grpSpPr>
          <a:xfrm>
            <a:off x="8601225" y="3825331"/>
            <a:ext cx="587497" cy="587497"/>
            <a:chOff x="8772675" y="3533231"/>
            <a:chExt cx="587497" cy="587497"/>
          </a:xfrm>
        </p:grpSpPr>
        <p:sp>
          <p:nvSpPr>
            <p:cNvPr id="50" name="Rectangle 49">
              <a:extLst>
                <a:ext uri="{FF2B5EF4-FFF2-40B4-BE49-F238E27FC236}">
                  <a16:creationId xmlns:a16="http://schemas.microsoft.com/office/drawing/2014/main" id="{4A9185C8-A795-48DE-8B1B-9BA128041A25}"/>
                </a:ext>
              </a:extLst>
            </p:cNvPr>
            <p:cNvSpPr/>
            <p:nvPr/>
          </p:nvSpPr>
          <p:spPr bwMode="auto">
            <a:xfrm rot="2700000">
              <a:off x="8772675" y="3533231"/>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ChatBot_F08B" title="Icon of a robotic chat bubble with a smiley face">
              <a:extLst>
                <a:ext uri="{FF2B5EF4-FFF2-40B4-BE49-F238E27FC236}">
                  <a16:creationId xmlns:a16="http://schemas.microsoft.com/office/drawing/2014/main" id="{EF2FC808-2563-48A5-ACE1-F9490220C9D8}"/>
                </a:ext>
              </a:extLst>
            </p:cNvPr>
            <p:cNvSpPr>
              <a:spLocks noChangeAspect="1" noEditPoints="1"/>
            </p:cNvSpPr>
            <p:nvPr/>
          </p:nvSpPr>
          <p:spPr bwMode="auto">
            <a:xfrm>
              <a:off x="8907883" y="3622204"/>
              <a:ext cx="317080" cy="409552"/>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grpSp>
        <p:nvGrpSpPr>
          <p:cNvPr id="81" name="Group 80">
            <a:extLst>
              <a:ext uri="{FF2B5EF4-FFF2-40B4-BE49-F238E27FC236}">
                <a16:creationId xmlns:a16="http://schemas.microsoft.com/office/drawing/2014/main" id="{07EC159E-D5C2-4EDF-81B5-C8A533F6411F}"/>
              </a:ext>
            </a:extLst>
          </p:cNvPr>
          <p:cNvGrpSpPr/>
          <p:nvPr/>
        </p:nvGrpSpPr>
        <p:grpSpPr>
          <a:xfrm>
            <a:off x="10070853" y="2361897"/>
            <a:ext cx="587497" cy="587497"/>
            <a:chOff x="10070853" y="2361897"/>
            <a:chExt cx="587497" cy="587497"/>
          </a:xfrm>
        </p:grpSpPr>
        <p:sp>
          <p:nvSpPr>
            <p:cNvPr id="49" name="Rectangle 48">
              <a:extLst>
                <a:ext uri="{FF2B5EF4-FFF2-40B4-BE49-F238E27FC236}">
                  <a16:creationId xmlns:a16="http://schemas.microsoft.com/office/drawing/2014/main" id="{5CF50D77-DC46-4D56-AEAD-EA4CA83769F6}"/>
                </a:ext>
              </a:extLst>
            </p:cNvPr>
            <p:cNvSpPr/>
            <p:nvPr/>
          </p:nvSpPr>
          <p:spPr bwMode="auto">
            <a:xfrm rot="2700000">
              <a:off x="10070853" y="2361897"/>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Money_4" title="Icon of a stack of coins">
              <a:extLst>
                <a:ext uri="{FF2B5EF4-FFF2-40B4-BE49-F238E27FC236}">
                  <a16:creationId xmlns:a16="http://schemas.microsoft.com/office/drawing/2014/main" id="{C52E1CB9-C2FD-4B7D-BF8D-0FDA02D1BEA2}"/>
                </a:ext>
              </a:extLst>
            </p:cNvPr>
            <p:cNvSpPr>
              <a:spLocks noChangeAspect="1" noEditPoints="1"/>
            </p:cNvSpPr>
            <p:nvPr/>
          </p:nvSpPr>
          <p:spPr bwMode="auto">
            <a:xfrm>
              <a:off x="10188335" y="2482365"/>
              <a:ext cx="352532" cy="327510"/>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grpSp>
        <p:nvGrpSpPr>
          <p:cNvPr id="80" name="Group 79">
            <a:extLst>
              <a:ext uri="{FF2B5EF4-FFF2-40B4-BE49-F238E27FC236}">
                <a16:creationId xmlns:a16="http://schemas.microsoft.com/office/drawing/2014/main" id="{C82D5463-280B-4285-A7C1-D6DAA7B197AA}"/>
              </a:ext>
            </a:extLst>
          </p:cNvPr>
          <p:cNvGrpSpPr/>
          <p:nvPr/>
        </p:nvGrpSpPr>
        <p:grpSpPr>
          <a:xfrm>
            <a:off x="7131597" y="5288765"/>
            <a:ext cx="587497" cy="587497"/>
            <a:chOff x="7131597" y="5288765"/>
            <a:chExt cx="587497" cy="587497"/>
          </a:xfrm>
        </p:grpSpPr>
        <p:sp>
          <p:nvSpPr>
            <p:cNvPr id="51" name="Rectangle 50">
              <a:extLst>
                <a:ext uri="{FF2B5EF4-FFF2-40B4-BE49-F238E27FC236}">
                  <a16:creationId xmlns:a16="http://schemas.microsoft.com/office/drawing/2014/main" id="{C20DD664-01D4-47A8-A931-49C9F8FC91F3}"/>
                </a:ext>
              </a:extLst>
            </p:cNvPr>
            <p:cNvSpPr/>
            <p:nvPr/>
          </p:nvSpPr>
          <p:spPr bwMode="auto">
            <a:xfrm rot="2700000">
              <a:off x="7131597" y="5288765"/>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Org_ECA6" title="Icon of three boxes in a bracket chart">
              <a:extLst>
                <a:ext uri="{FF2B5EF4-FFF2-40B4-BE49-F238E27FC236}">
                  <a16:creationId xmlns:a16="http://schemas.microsoft.com/office/drawing/2014/main" id="{DA384994-0B67-4D11-8407-4AEACA6B6C20}"/>
                </a:ext>
              </a:extLst>
            </p:cNvPr>
            <p:cNvSpPr>
              <a:spLocks noChangeAspect="1" noEditPoints="1"/>
            </p:cNvSpPr>
            <p:nvPr/>
          </p:nvSpPr>
          <p:spPr bwMode="auto">
            <a:xfrm>
              <a:off x="7262321" y="5395596"/>
              <a:ext cx="326049" cy="3262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50197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42" presetClass="path" presetSubtype="0" decel="100000" fill="hold" grpId="1" nodeType="withEffect">
                                  <p:stCondLst>
                                    <p:cond delay="0"/>
                                  </p:stCondLst>
                                  <p:childTnLst>
                                    <p:animMotion origin="layout" path="M -2.5E-6 -3.33333E-6 L -2.5E-6 0.03542 " pathEditMode="relative" rAng="0" ptsTypes="AA">
                                      <p:cBhvr>
                                        <p:cTn id="21" dur="700" spd="-100000" fill="hold"/>
                                        <p:tgtEl>
                                          <p:spTgt spid="4"/>
                                        </p:tgtEl>
                                        <p:attrNameLst>
                                          <p:attrName>ppt_x</p:attrName>
                                          <p:attrName>ppt_y</p:attrName>
                                        </p:attrNameLst>
                                      </p:cBhvr>
                                      <p:rCtr x="0" y="1759"/>
                                    </p:animMotion>
                                  </p:childTnLst>
                                </p:cTn>
                              </p:par>
                              <p:par>
                                <p:cTn id="22" presetID="10" presetClass="entr" presetSubtype="0" fill="hold" grpId="0" nodeType="withEffect">
                                  <p:stCondLst>
                                    <p:cond delay="250"/>
                                  </p:stCondLst>
                                  <p:childTnLst>
                                    <p:set>
                                      <p:cBhvr>
                                        <p:cTn id="23" dur="1" fill="hold">
                                          <p:stCondLst>
                                            <p:cond delay="0"/>
                                          </p:stCondLst>
                                        </p:cTn>
                                        <p:tgtEl>
                                          <p:spTgt spid="55"/>
                                        </p:tgtEl>
                                        <p:attrNameLst>
                                          <p:attrName>style.visibility</p:attrName>
                                        </p:attrNameLst>
                                      </p:cBhvr>
                                      <p:to>
                                        <p:strVal val="visible"/>
                                      </p:to>
                                    </p:set>
                                    <p:animEffect transition="in" filter="fade">
                                      <p:cBhvr>
                                        <p:cTn id="24" dur="500"/>
                                        <p:tgtEl>
                                          <p:spTgt spid="55"/>
                                        </p:tgtEl>
                                      </p:cBhvr>
                                    </p:animEffect>
                                  </p:childTnLst>
                                </p:cTn>
                              </p:par>
                              <p:par>
                                <p:cTn id="25" presetID="42" presetClass="path" presetSubtype="0" decel="100000" fill="hold" grpId="1" nodeType="withEffect">
                                  <p:stCondLst>
                                    <p:cond delay="0"/>
                                  </p:stCondLst>
                                  <p:childTnLst>
                                    <p:animMotion origin="layout" path="M -2.5E-6 -3.33333E-6 L -2.5E-6 0.03542 " pathEditMode="relative" rAng="0" ptsTypes="AA">
                                      <p:cBhvr>
                                        <p:cTn id="26" dur="700" spd="-100000" fill="hold"/>
                                        <p:tgtEl>
                                          <p:spTgt spid="55"/>
                                        </p:tgtEl>
                                        <p:attrNameLst>
                                          <p:attrName>ppt_x</p:attrName>
                                          <p:attrName>ppt_y</p:attrName>
                                        </p:attrNameLst>
                                      </p:cBhvr>
                                      <p:rCtr x="0" y="1759"/>
                                    </p:animMotion>
                                  </p:childTnLst>
                                </p:cTn>
                              </p:par>
                              <p:par>
                                <p:cTn id="27" presetID="10" presetClass="entr" presetSubtype="0" fill="hold" grpId="0"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fade">
                                      <p:cBhvr>
                                        <p:cTn id="29" dur="500"/>
                                        <p:tgtEl>
                                          <p:spTgt spid="56"/>
                                        </p:tgtEl>
                                      </p:cBhvr>
                                    </p:animEffect>
                                  </p:childTnLst>
                                </p:cTn>
                              </p:par>
                              <p:par>
                                <p:cTn id="30" presetID="42" presetClass="path" presetSubtype="0" decel="100000" fill="hold" grpId="1" nodeType="withEffect">
                                  <p:stCondLst>
                                    <p:cond delay="0"/>
                                  </p:stCondLst>
                                  <p:childTnLst>
                                    <p:animMotion origin="layout" path="M -2.5E-6 -3.33333E-6 L -2.5E-6 0.03542 " pathEditMode="relative" rAng="0" ptsTypes="AA">
                                      <p:cBhvr>
                                        <p:cTn id="31" dur="700" spd="-100000" fill="hold"/>
                                        <p:tgtEl>
                                          <p:spTgt spid="5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5" grpId="0"/>
      <p:bldP spid="55" grpId="1"/>
      <p:bldP spid="56" grpId="0"/>
      <p:bldP spid="56"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AB213A-63EE-41BA-BC8A-E0DD1FC96234}"/>
              </a:ext>
            </a:extLst>
          </p:cNvPr>
          <p:cNvPicPr>
            <a:picLocks noChangeAspect="1"/>
          </p:cNvPicPr>
          <p:nvPr/>
        </p:nvPicPr>
        <p:blipFill>
          <a:blip r:embed="rId3"/>
          <a:stretch>
            <a:fillRect/>
          </a:stretch>
        </p:blipFill>
        <p:spPr>
          <a:xfrm>
            <a:off x="682052" y="3106158"/>
            <a:ext cx="6291072" cy="3058563"/>
          </a:xfrm>
          <a:prstGeom prst="rect">
            <a:avLst/>
          </a:prstGeom>
          <a:ln w="12700">
            <a:solidFill>
              <a:schemeClr val="tx2"/>
            </a:solidFill>
          </a:ln>
        </p:spPr>
      </p:pic>
      <p:pic>
        <p:nvPicPr>
          <p:cNvPr id="3" name="Picture 2">
            <a:extLst>
              <a:ext uri="{FF2B5EF4-FFF2-40B4-BE49-F238E27FC236}">
                <a16:creationId xmlns:a16="http://schemas.microsoft.com/office/drawing/2014/main" id="{7DE2B193-BAA7-4894-BA23-50E2A0081084}"/>
              </a:ext>
            </a:extLst>
          </p:cNvPr>
          <p:cNvPicPr>
            <a:picLocks noChangeAspect="1"/>
          </p:cNvPicPr>
          <p:nvPr/>
        </p:nvPicPr>
        <p:blipFill rotWithShape="1">
          <a:blip r:embed="rId4"/>
          <a:srcRect l="306"/>
          <a:stretch/>
        </p:blipFill>
        <p:spPr>
          <a:xfrm>
            <a:off x="682052" y="645352"/>
            <a:ext cx="6291072" cy="2278958"/>
          </a:xfrm>
          <a:prstGeom prst="rect">
            <a:avLst/>
          </a:prstGeom>
          <a:ln w="12700">
            <a:solidFill>
              <a:schemeClr val="tx2"/>
            </a:solidFill>
          </a:ln>
        </p:spPr>
      </p:pic>
      <p:sp>
        <p:nvSpPr>
          <p:cNvPr id="14" name="Rectangle 13">
            <a:extLst>
              <a:ext uri="{FF2B5EF4-FFF2-40B4-BE49-F238E27FC236}">
                <a16:creationId xmlns:a16="http://schemas.microsoft.com/office/drawing/2014/main" id="{2F7C76DF-A153-4C9A-9648-F6DB4AF514E2}"/>
              </a:ext>
            </a:extLst>
          </p:cNvPr>
          <p:cNvSpPr/>
          <p:nvPr/>
        </p:nvSpPr>
        <p:spPr bwMode="auto">
          <a:xfrm>
            <a:off x="447032" y="440918"/>
            <a:ext cx="11326327" cy="59683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6">
            <a:extLst>
              <a:ext uri="{FF2B5EF4-FFF2-40B4-BE49-F238E27FC236}">
                <a16:creationId xmlns:a16="http://schemas.microsoft.com/office/drawing/2014/main" id="{F3AF2FC7-FAD9-4774-A159-633522E8F7EC}"/>
              </a:ext>
            </a:extLst>
          </p:cNvPr>
          <p:cNvSpPr/>
          <p:nvPr/>
        </p:nvSpPr>
        <p:spPr bwMode="auto">
          <a:xfrm>
            <a:off x="447032" y="440918"/>
            <a:ext cx="806782" cy="806782"/>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E4C2DEF-7D2B-44C4-A480-9801351754F8}"/>
              </a:ext>
            </a:extLst>
          </p:cNvPr>
          <p:cNvSpPr/>
          <p:nvPr/>
        </p:nvSpPr>
        <p:spPr bwMode="auto">
          <a:xfrm>
            <a:off x="4017364" y="2689761"/>
            <a:ext cx="4497302" cy="3324242"/>
          </a:xfrm>
          <a:custGeom>
            <a:avLst/>
            <a:gdLst>
              <a:gd name="connsiteX0" fmla="*/ 809625 w 4733925"/>
              <a:gd name="connsiteY0" fmla="*/ 0 h 3390900"/>
              <a:gd name="connsiteX1" fmla="*/ 4733925 w 4733925"/>
              <a:gd name="connsiteY1" fmla="*/ 0 h 3390900"/>
              <a:gd name="connsiteX2" fmla="*/ 4733925 w 4733925"/>
              <a:gd name="connsiteY2" fmla="*/ 3390900 h 3390900"/>
              <a:gd name="connsiteX3" fmla="*/ 0 w 4733925"/>
              <a:gd name="connsiteY3" fmla="*/ 3390900 h 3390900"/>
              <a:gd name="connsiteX0" fmla="*/ 430932 w 4733925"/>
              <a:gd name="connsiteY0" fmla="*/ 7646 h 3390900"/>
              <a:gd name="connsiteX1" fmla="*/ 4733925 w 4733925"/>
              <a:gd name="connsiteY1" fmla="*/ 0 h 3390900"/>
              <a:gd name="connsiteX2" fmla="*/ 4733925 w 4733925"/>
              <a:gd name="connsiteY2" fmla="*/ 3390900 h 3390900"/>
              <a:gd name="connsiteX3" fmla="*/ 0 w 4733925"/>
              <a:gd name="connsiteY3" fmla="*/ 3390900 h 3390900"/>
            </a:gdLst>
            <a:ahLst/>
            <a:cxnLst>
              <a:cxn ang="0">
                <a:pos x="connsiteX0" y="connsiteY0"/>
              </a:cxn>
              <a:cxn ang="0">
                <a:pos x="connsiteX1" y="connsiteY1"/>
              </a:cxn>
              <a:cxn ang="0">
                <a:pos x="connsiteX2" y="connsiteY2"/>
              </a:cxn>
              <a:cxn ang="0">
                <a:pos x="connsiteX3" y="connsiteY3"/>
              </a:cxn>
            </a:cxnLst>
            <a:rect l="l" t="t" r="r" b="b"/>
            <a:pathLst>
              <a:path w="4733925" h="3390900">
                <a:moveTo>
                  <a:pt x="430932" y="7646"/>
                </a:moveTo>
                <a:lnTo>
                  <a:pt x="4733925" y="0"/>
                </a:lnTo>
                <a:lnTo>
                  <a:pt x="4733925" y="3390900"/>
                </a:lnTo>
                <a:lnTo>
                  <a:pt x="0" y="3390900"/>
                </a:lnTo>
              </a:path>
            </a:pathLst>
          </a:custGeom>
          <a:noFill/>
          <a:ln w="28575">
            <a:solidFill>
              <a:srgbClr val="C00000"/>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sp>
        <p:nvSpPr>
          <p:cNvPr id="20" name="TextBox 19">
            <a:extLst>
              <a:ext uri="{FF2B5EF4-FFF2-40B4-BE49-F238E27FC236}">
                <a16:creationId xmlns:a16="http://schemas.microsoft.com/office/drawing/2014/main" id="{2586944A-2E05-47EC-8600-D313FFB770D3}"/>
              </a:ext>
            </a:extLst>
          </p:cNvPr>
          <p:cNvSpPr txBox="1"/>
          <p:nvPr/>
        </p:nvSpPr>
        <p:spPr>
          <a:xfrm rot="5400000">
            <a:off x="9029968" y="3198712"/>
            <a:ext cx="2287035" cy="2474506"/>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noAutofit/>
          </a:bodyPr>
          <a:lstStyle/>
          <a:p>
            <a:pPr marL="285750" indent="-223520">
              <a:spcAft>
                <a:spcPts val="1176"/>
              </a:spcAft>
              <a:buFont typeface="Arial" panose="020B0604020202020204" pitchFamily="34" charset="0"/>
              <a:buChar char="•"/>
            </a:pPr>
            <a:r>
              <a:rPr lang="en-US" sz="1950" dirty="0">
                <a:cs typeface="Segoe UI"/>
              </a:rPr>
              <a:t>Avoid overlapping trigger phrases or ambiguous trigger phrases among different topics </a:t>
            </a:r>
          </a:p>
        </p:txBody>
      </p:sp>
      <p:cxnSp>
        <p:nvCxnSpPr>
          <p:cNvPr id="21" name="Straight Connector 20">
            <a:extLst>
              <a:ext uri="{FF2B5EF4-FFF2-40B4-BE49-F238E27FC236}">
                <a16:creationId xmlns:a16="http://schemas.microsoft.com/office/drawing/2014/main" id="{F78DC9A2-EE91-4910-83BF-3563E941766D}"/>
              </a:ext>
            </a:extLst>
          </p:cNvPr>
          <p:cNvCxnSpPr>
            <a:cxnSpLocks/>
            <a:stCxn id="20" idx="2"/>
          </p:cNvCxnSpPr>
          <p:nvPr/>
        </p:nvCxnSpPr>
        <p:spPr>
          <a:xfrm flipH="1">
            <a:off x="8573613" y="4435966"/>
            <a:ext cx="362620"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2A464CB-CA5D-4449-9285-5A2991E8CC86}"/>
              </a:ext>
            </a:extLst>
          </p:cNvPr>
          <p:cNvSpPr/>
          <p:nvPr/>
        </p:nvSpPr>
        <p:spPr bwMode="auto">
          <a:xfrm>
            <a:off x="711560" y="677393"/>
            <a:ext cx="861934" cy="237007"/>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36B27153-253A-4DC2-9066-9D66C154DEF1}"/>
              </a:ext>
            </a:extLst>
          </p:cNvPr>
          <p:cNvSpPr/>
          <p:nvPr/>
        </p:nvSpPr>
        <p:spPr bwMode="auto">
          <a:xfrm>
            <a:off x="711560" y="3145773"/>
            <a:ext cx="861934" cy="237007"/>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1A2BB170-5C35-40D5-BB46-B62FAE516985}"/>
              </a:ext>
            </a:extLst>
          </p:cNvPr>
          <p:cNvSpPr/>
          <p:nvPr/>
        </p:nvSpPr>
        <p:spPr bwMode="auto">
          <a:xfrm>
            <a:off x="3050025" y="2553662"/>
            <a:ext cx="1166734" cy="271984"/>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B933530A-D5F6-4C20-ABC9-82B14C28F161}"/>
              </a:ext>
            </a:extLst>
          </p:cNvPr>
          <p:cNvSpPr/>
          <p:nvPr/>
        </p:nvSpPr>
        <p:spPr bwMode="auto">
          <a:xfrm>
            <a:off x="3052524" y="5868986"/>
            <a:ext cx="684550" cy="232011"/>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quot;Not Allowed&quot; Symbol 22">
            <a:extLst>
              <a:ext uri="{FF2B5EF4-FFF2-40B4-BE49-F238E27FC236}">
                <a16:creationId xmlns:a16="http://schemas.microsoft.com/office/drawing/2014/main" id="{86FD7D5A-6642-4C04-8F5E-113ECA5BFA95}"/>
              </a:ext>
            </a:extLst>
          </p:cNvPr>
          <p:cNvSpPr/>
          <p:nvPr/>
        </p:nvSpPr>
        <p:spPr bwMode="auto">
          <a:xfrm>
            <a:off x="7944786" y="1828800"/>
            <a:ext cx="1334123" cy="1446551"/>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823831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Quiz time…</a:t>
            </a:r>
            <a:br>
              <a:rPr lang="en-US"/>
            </a:br>
            <a:br>
              <a:rPr lang="en-US"/>
            </a:br>
            <a:endParaRPr lang="en-US"/>
          </a:p>
        </p:txBody>
      </p:sp>
      <p:grpSp>
        <p:nvGrpSpPr>
          <p:cNvPr id="3" name="Group 2">
            <a:extLst>
              <a:ext uri="{FF2B5EF4-FFF2-40B4-BE49-F238E27FC236}">
                <a16:creationId xmlns:a16="http://schemas.microsoft.com/office/drawing/2014/main" id="{B52A54FD-9789-49E8-9213-2DDB04726F94}"/>
              </a:ext>
            </a:extLst>
          </p:cNvPr>
          <p:cNvGrpSpPr/>
          <p:nvPr/>
        </p:nvGrpSpPr>
        <p:grpSpPr>
          <a:xfrm>
            <a:off x="9224441" y="4884661"/>
            <a:ext cx="2967561" cy="1976519"/>
            <a:chOff x="9224440" y="4884660"/>
            <a:chExt cx="2967561" cy="1976519"/>
          </a:xfrm>
        </p:grpSpPr>
        <p:sp>
          <p:nvSpPr>
            <p:cNvPr id="5" name="Freeform: Shape 4">
              <a:extLst>
                <a:ext uri="{FF2B5EF4-FFF2-40B4-BE49-F238E27FC236}">
                  <a16:creationId xmlns:a16="http://schemas.microsoft.com/office/drawing/2014/main" id="{8FF7E99D-D408-459F-AEB6-E9E312811A3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9B7A36B5-7413-449B-911A-6C043B3572E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FACF60A8-CDC3-43A4-83A1-C83E64F9591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95FFCF5-0CB4-4548-9A61-1211A377481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C0F37AD5-66EF-4E4D-8E8B-11A1DDA2950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D5155D7-F28F-4DB5-9FED-13C127E2F9C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474BEF60-6F9B-4F9E-9AD6-F48D1872804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7BFC1913-F5E3-4C9C-8019-1DB0D9FCEB0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ADCF67C0-AB90-4C00-BCDB-6847B60C65B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88FE4EE6-CA23-419A-A062-03BD8FFBC03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23274D08-62A3-454C-B683-DF3DA557193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E31EDC18-E49E-4D01-B576-7E11BA1F4AA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1F789286-CF79-44FA-9743-CCF3C83DADE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2D4CBE4-C5C1-47C3-B74F-8BDC0664C41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DF33E66-EBEF-476F-8DD8-3EA58B2CD27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ADB694FC-4039-49EC-BC92-1C2AE3A587C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4C891D8-CDC2-4571-BFD2-FF08C20F923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5B17D359-63B2-437A-8C72-9681ECECDFC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14801261-81A0-4DA1-A4E9-0193CD3F5FE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BCE8B-86CD-4813-9AF6-364EDAB2FCBA}"/>
                </a:ext>
              </a:extLst>
            </p:cNvPr>
            <p:cNvSpPr/>
            <p:nvPr/>
          </p:nvSpPr>
          <p:spPr>
            <a:xfrm>
              <a:off x="11501100"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7763A70-1C26-4E01-950C-B1C013C5949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4A3DAF5-D709-409D-8553-028A31056DA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79E1DC19-A7F7-4AA4-B168-A4F529CC154E}"/>
                </a:ext>
              </a:extLst>
            </p:cNvPr>
            <p:cNvSpPr/>
            <p:nvPr/>
          </p:nvSpPr>
          <p:spPr>
            <a:xfrm>
              <a:off x="10590811" y="4885130"/>
              <a:ext cx="911227" cy="394552"/>
            </a:xfrm>
            <a:custGeom>
              <a:avLst/>
              <a:gdLst>
                <a:gd name="connsiteX0" fmla="*/ 1435131 w 1435223"/>
                <a:gd name="connsiteY0" fmla="*/ 1387 h 621436"/>
                <a:gd name="connsiteX1" fmla="*/ 1077065 w 1435223"/>
                <a:gd name="connsiteY1" fmla="*/ 622824 h 621436"/>
                <a:gd name="connsiteX2" fmla="*/ 359453 w 1435223"/>
                <a:gd name="connsiteY2" fmla="*/ 622824 h 621436"/>
                <a:gd name="connsiteX3" fmla="*/ 1387 w 1435223"/>
                <a:gd name="connsiteY3" fmla="*/ 1387 h 621436"/>
              </a:gdLst>
              <a:ahLst/>
              <a:cxnLst>
                <a:cxn ang="0">
                  <a:pos x="connsiteX0" y="connsiteY0"/>
                </a:cxn>
                <a:cxn ang="0">
                  <a:pos x="connsiteX1" y="connsiteY1"/>
                </a:cxn>
                <a:cxn ang="0">
                  <a:pos x="connsiteX2" y="connsiteY2"/>
                </a:cxn>
                <a:cxn ang="0">
                  <a:pos x="connsiteX3" y="connsiteY3"/>
                </a:cxn>
              </a:cxnLst>
              <a:rect l="l" t="t" r="r" b="b"/>
              <a:pathLst>
                <a:path w="1435223" h="621436">
                  <a:moveTo>
                    <a:pt x="1435131" y="1387"/>
                  </a:moveTo>
                  <a:lnTo>
                    <a:pt x="1077065" y="622824"/>
                  </a:lnTo>
                  <a:lnTo>
                    <a:pt x="359453" y="622824"/>
                  </a:lnTo>
                  <a:lnTo>
                    <a:pt x="1387" y="1387"/>
                  </a:lnTo>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D336DF69-E42A-4E15-8183-36EACE79FF5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DA149901-9E77-4089-BE45-017CC64FB3E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9839046-370B-4AFA-8A8E-42B0538C26C7}"/>
                </a:ext>
              </a:extLst>
            </p:cNvPr>
            <p:cNvSpPr/>
            <p:nvPr/>
          </p:nvSpPr>
          <p:spPr>
            <a:xfrm>
              <a:off x="11273763" y="4885130"/>
              <a:ext cx="911227" cy="789105"/>
            </a:xfrm>
            <a:custGeom>
              <a:avLst/>
              <a:gdLst>
                <a:gd name="connsiteX0" fmla="*/ 359453 w 1435223"/>
                <a:gd name="connsiteY0" fmla="*/ 1243521 h 1242873"/>
                <a:gd name="connsiteX1" fmla="*/ 1387 w 1435223"/>
                <a:gd name="connsiteY1" fmla="*/ 622824 h 1242873"/>
                <a:gd name="connsiteX2" fmla="*/ 359453 w 1435223"/>
                <a:gd name="connsiteY2" fmla="*/ 1387 h 1242873"/>
                <a:gd name="connsiteX3" fmla="*/ 1076325 w 1435223"/>
                <a:gd name="connsiteY3" fmla="*/ 1387 h 1242873"/>
                <a:gd name="connsiteX4" fmla="*/ 1435131 w 1435223"/>
                <a:gd name="connsiteY4" fmla="*/ 622824 h 1242873"/>
                <a:gd name="connsiteX5" fmla="*/ 107632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824"/>
                  </a:lnTo>
                  <a:lnTo>
                    <a:pt x="359453" y="1387"/>
                  </a:lnTo>
                  <a:lnTo>
                    <a:pt x="1076325" y="1387"/>
                  </a:lnTo>
                  <a:lnTo>
                    <a:pt x="1435131" y="622824"/>
                  </a:lnTo>
                  <a:lnTo>
                    <a:pt x="107632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BF5D6368-D6F6-47D7-859F-593E5EBC2ADA}"/>
                </a:ext>
              </a:extLst>
            </p:cNvPr>
            <p:cNvSpPr/>
            <p:nvPr/>
          </p:nvSpPr>
          <p:spPr>
            <a:xfrm>
              <a:off x="11273763"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9A8AEC0-9EF3-41EC-9691-E8AD9BF6E445}"/>
                </a:ext>
              </a:extLst>
            </p:cNvPr>
            <p:cNvSpPr/>
            <p:nvPr/>
          </p:nvSpPr>
          <p:spPr>
            <a:xfrm>
              <a:off x="11727966" y="5278054"/>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6D283E02-BE40-4066-84BE-7680947BBDBF}"/>
                </a:ext>
              </a:extLst>
            </p:cNvPr>
            <p:cNvSpPr/>
            <p:nvPr/>
          </p:nvSpPr>
          <p:spPr>
            <a:xfrm>
              <a:off x="11501100"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4BC91E22-0DE5-43D3-82F0-220FDB311FF9}"/>
                </a:ext>
              </a:extLst>
            </p:cNvPr>
            <p:cNvSpPr/>
            <p:nvPr/>
          </p:nvSpPr>
          <p:spPr>
            <a:xfrm>
              <a:off x="10135667" y="4885130"/>
              <a:ext cx="455614" cy="4697"/>
            </a:xfrm>
            <a:custGeom>
              <a:avLst/>
              <a:gdLst>
                <a:gd name="connsiteX0" fmla="*/ 718259 w 717611"/>
                <a:gd name="connsiteY0" fmla="*/ 1387 h 0"/>
                <a:gd name="connsiteX1" fmla="*/ 1387 w 717611"/>
                <a:gd name="connsiteY1" fmla="*/ 1387 h 0"/>
              </a:gdLst>
              <a:ahLst/>
              <a:cxnLst>
                <a:cxn ang="0">
                  <a:pos x="connsiteX0" y="connsiteY0"/>
                </a:cxn>
                <a:cxn ang="0">
                  <a:pos x="connsiteX1" y="connsiteY1"/>
                </a:cxn>
              </a:cxnLst>
              <a:rect l="l" t="t" r="r" b="b"/>
              <a:pathLst>
                <a:path w="717611">
                  <a:moveTo>
                    <a:pt x="718259"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E91B71A-9FAB-4141-877B-F2C976B8DE0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55A06212-198A-4E01-A2A2-B63D88D6134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1444DFAD-6A5F-4F31-8D45-07AF6610742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1C6A75C-E78F-49FD-9EA3-24612E4785E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1816F5F5-3BFF-4E26-9590-C3058B93A696}"/>
                </a:ext>
              </a:extLst>
            </p:cNvPr>
            <p:cNvSpPr/>
            <p:nvPr/>
          </p:nvSpPr>
          <p:spPr>
            <a:xfrm>
              <a:off x="9907860" y="4885130"/>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18DD41C-E15F-41D5-85DD-5F49AFDB9204}"/>
                </a:ext>
              </a:extLst>
            </p:cNvPr>
            <p:cNvSpPr/>
            <p:nvPr/>
          </p:nvSpPr>
          <p:spPr>
            <a:xfrm>
              <a:off x="9907860" y="52796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78118B4-A20C-4622-9F7E-85F3E2C9DA0F}"/>
                </a:ext>
              </a:extLst>
            </p:cNvPr>
            <p:cNvSpPr/>
            <p:nvPr/>
          </p:nvSpPr>
          <p:spPr>
            <a:xfrm>
              <a:off x="10362533" y="5278052"/>
              <a:ext cx="228748" cy="396181"/>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217F127-1DBB-4EA4-8C33-99C4537F1F90}"/>
                </a:ext>
              </a:extLst>
            </p:cNvPr>
            <p:cNvSpPr/>
            <p:nvPr/>
          </p:nvSpPr>
          <p:spPr>
            <a:xfrm>
              <a:off x="10135667" y="4885130"/>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8E533DD0-DEFA-4275-8091-80BF071633B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57798F5-409D-4E5B-BD31-4E94F3CF57B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6BEDB4A-521A-4C29-8049-BCE7985C9D9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5CBDFC89-1E8A-46AC-AFE4-EB3396F86FD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FD8EEF1-CDD9-4F69-B41C-3EAFA2282B9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B243BEE0-807F-499F-87D7-5698CF1D22A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CDE51CD-1EC7-4863-9EB6-87D08E973C3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12276A1-1EDF-4028-BFDA-7C34809C12C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8A3A7F62-125E-478B-87A0-3C93155F890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2EA45CFB-3574-4ED2-BC35-2BBCE287C94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EBBF1B4-2471-4445-A606-47D019625DD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16008B9-3E9A-40C9-AF7C-322554747962}"/>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8A04601-D84D-41A1-A20D-22E12B44AB6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3A05411-7B97-4CF4-9A13-EA13AFEA1DB5}"/>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43584-AB6A-4D8F-8F26-E35A6CFBF9B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DF05CF35-979A-4E14-9619-F2512EF89CB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A7A780F7-7983-4F14-97C6-916F9F9B404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14807D2-8E58-46FD-9F88-8258765133F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8713521F-8613-4A19-8952-05641CAEFCB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02548DA-8C8E-4965-9F72-0C5423F6672E}"/>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E4FA7971-6545-41E5-810C-BAD677EAE187}"/>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1F4FA7CC-C166-42DC-B44A-17D7D69C2199}"/>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BD50FB0-3425-4D8A-B216-F1308EF1FD84}"/>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1EBAFB76-2FE4-4ABF-85AA-C436E67D5490}"/>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B4D953E-2A89-4FA7-875C-38977B2AA5D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4FD86488-7D0C-4653-B527-5A6D9870B186}"/>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62D8E0F-8787-48D7-8A6E-86C2FA2423AA}"/>
                </a:ext>
              </a:extLst>
            </p:cNvPr>
            <p:cNvSpPr/>
            <p:nvPr/>
          </p:nvSpPr>
          <p:spPr>
            <a:xfrm>
              <a:off x="11957124" y="5280563"/>
              <a:ext cx="234876" cy="788166"/>
            </a:xfrm>
            <a:custGeom>
              <a:avLst/>
              <a:gdLst>
                <a:gd name="connsiteX0" fmla="*/ 227807 w 234876"/>
                <a:gd name="connsiteY0" fmla="*/ 0 h 788166"/>
                <a:gd name="connsiteX1" fmla="*/ 234876 w 234876"/>
                <a:gd name="connsiteY1" fmla="*/ 0 h 788166"/>
                <a:gd name="connsiteX2" fmla="*/ 234876 w 234876"/>
                <a:gd name="connsiteY2" fmla="*/ 788166 h 788166"/>
                <a:gd name="connsiteX3" fmla="*/ 227807 w 234876"/>
                <a:gd name="connsiteY3" fmla="*/ 788166 h 788166"/>
                <a:gd name="connsiteX4" fmla="*/ 0 w 23487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166">
                  <a:moveTo>
                    <a:pt x="227807" y="0"/>
                  </a:moveTo>
                  <a:lnTo>
                    <a:pt x="234876" y="0"/>
                  </a:lnTo>
                  <a:lnTo>
                    <a:pt x="234876" y="788166"/>
                  </a:lnTo>
                  <a:lnTo>
                    <a:pt x="22780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8596F9D-656F-4608-9E8D-327CB2DC823A}"/>
                </a:ext>
              </a:extLst>
            </p:cNvPr>
            <p:cNvSpPr/>
            <p:nvPr/>
          </p:nvSpPr>
          <p:spPr>
            <a:xfrm>
              <a:off x="11956245" y="5673765"/>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49B51E01-8BE6-4BF5-B3E5-F351DA3D1267}"/>
                </a:ext>
              </a:extLst>
            </p:cNvPr>
            <p:cNvSpPr/>
            <p:nvPr/>
          </p:nvSpPr>
          <p:spPr>
            <a:xfrm>
              <a:off x="11957124" y="6068728"/>
              <a:ext cx="234876" cy="788636"/>
            </a:xfrm>
            <a:custGeom>
              <a:avLst/>
              <a:gdLst>
                <a:gd name="connsiteX0" fmla="*/ 227807 w 234876"/>
                <a:gd name="connsiteY0" fmla="*/ 0 h 788636"/>
                <a:gd name="connsiteX1" fmla="*/ 234876 w 234876"/>
                <a:gd name="connsiteY1" fmla="*/ 0 h 788636"/>
                <a:gd name="connsiteX2" fmla="*/ 234876 w 234876"/>
                <a:gd name="connsiteY2" fmla="*/ 788636 h 788636"/>
                <a:gd name="connsiteX3" fmla="*/ 227807 w 234876"/>
                <a:gd name="connsiteY3" fmla="*/ 788636 h 788636"/>
                <a:gd name="connsiteX4" fmla="*/ 0 w 234876"/>
                <a:gd name="connsiteY4" fmla="*/ 394083 h 788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76" h="788636">
                  <a:moveTo>
                    <a:pt x="227807" y="0"/>
                  </a:moveTo>
                  <a:lnTo>
                    <a:pt x="234876" y="0"/>
                  </a:lnTo>
                  <a:lnTo>
                    <a:pt x="234876" y="788636"/>
                  </a:lnTo>
                  <a:lnTo>
                    <a:pt x="227807" y="78863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D1516F3A-E32C-4314-B252-8C59B1CD0208}"/>
                </a:ext>
              </a:extLst>
            </p:cNvPr>
            <p:cNvSpPr/>
            <p:nvPr/>
          </p:nvSpPr>
          <p:spPr>
            <a:xfrm>
              <a:off x="11956244" y="6461929"/>
              <a:ext cx="235756" cy="45719"/>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99264BBB-02DA-411B-8200-56E3B624B6E3}"/>
                </a:ext>
              </a:extLst>
            </p:cNvPr>
            <p:cNvSpPr/>
            <p:nvPr/>
          </p:nvSpPr>
          <p:spPr>
            <a:xfrm>
              <a:off x="12184564" y="6857364"/>
              <a:ext cx="7436" cy="635"/>
            </a:xfrm>
            <a:custGeom>
              <a:avLst/>
              <a:gdLst>
                <a:gd name="connsiteX0" fmla="*/ 367 w 7436"/>
                <a:gd name="connsiteY0" fmla="*/ 0 h 635"/>
                <a:gd name="connsiteX1" fmla="*/ 7436 w 7436"/>
                <a:gd name="connsiteY1" fmla="*/ 0 h 635"/>
                <a:gd name="connsiteX2" fmla="*/ 7436 w 7436"/>
                <a:gd name="connsiteY2" fmla="*/ 635 h 635"/>
                <a:gd name="connsiteX3" fmla="*/ 0 w 7436"/>
                <a:gd name="connsiteY3" fmla="*/ 635 h 635"/>
              </a:gdLst>
              <a:ahLst/>
              <a:cxnLst>
                <a:cxn ang="0">
                  <a:pos x="connsiteX0" y="connsiteY0"/>
                </a:cxn>
                <a:cxn ang="0">
                  <a:pos x="connsiteX1" y="connsiteY1"/>
                </a:cxn>
                <a:cxn ang="0">
                  <a:pos x="connsiteX2" y="connsiteY2"/>
                </a:cxn>
                <a:cxn ang="0">
                  <a:pos x="connsiteX3" y="connsiteY3"/>
                </a:cxn>
              </a:cxnLst>
              <a:rect l="l" t="t" r="r" b="b"/>
              <a:pathLst>
                <a:path w="7436" h="635">
                  <a:moveTo>
                    <a:pt x="367" y="0"/>
                  </a:moveTo>
                  <a:lnTo>
                    <a:pt x="7436" y="0"/>
                  </a:lnTo>
                  <a:lnTo>
                    <a:pt x="743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6FB76196-8D4C-4E9A-B4CA-1A3E7DD870C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C50DA947-919B-48BC-8D0B-F1A897BDEF0C}"/>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36DDF29-CD83-433B-BEA9-2533E17B8EB5}"/>
                </a:ext>
              </a:extLst>
            </p:cNvPr>
            <p:cNvSpPr/>
            <p:nvPr/>
          </p:nvSpPr>
          <p:spPr>
            <a:xfrm>
              <a:off x="11273763" y="5673765"/>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6325 w 1435223"/>
                <a:gd name="connsiteY3" fmla="*/ 1387 h 1242873"/>
                <a:gd name="connsiteX4" fmla="*/ 1435131 w 1435223"/>
                <a:gd name="connsiteY4" fmla="*/ 622084 h 1242873"/>
                <a:gd name="connsiteX5" fmla="*/ 107632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6325" y="1387"/>
                  </a:lnTo>
                  <a:lnTo>
                    <a:pt x="1435131" y="622084"/>
                  </a:lnTo>
                  <a:lnTo>
                    <a:pt x="107632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4F5806EA-FA76-4565-A26D-1B49CDCF0B75}"/>
                </a:ext>
              </a:extLst>
            </p:cNvPr>
            <p:cNvSpPr/>
            <p:nvPr/>
          </p:nvSpPr>
          <p:spPr>
            <a:xfrm>
              <a:off x="11273763"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0EDB5633-F6F3-45D8-9A4D-111D41680C34}"/>
                </a:ext>
              </a:extLst>
            </p:cNvPr>
            <p:cNvSpPr/>
            <p:nvPr/>
          </p:nvSpPr>
          <p:spPr>
            <a:xfrm>
              <a:off x="11726935" y="6064900"/>
              <a:ext cx="229780" cy="397969"/>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01E58299-37EB-457E-9AE4-FF7EB54E9A54}"/>
                </a:ext>
              </a:extLst>
            </p:cNvPr>
            <p:cNvSpPr/>
            <p:nvPr/>
          </p:nvSpPr>
          <p:spPr>
            <a:xfrm>
              <a:off x="11724116" y="5673766"/>
              <a:ext cx="232598" cy="40285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A476637-29AD-40A6-90CD-2BEC5E661EAD}"/>
                </a:ext>
              </a:extLst>
            </p:cNvPr>
            <p:cNvSpPr/>
            <p:nvPr/>
          </p:nvSpPr>
          <p:spPr>
            <a:xfrm>
              <a:off x="11274644" y="6462810"/>
              <a:ext cx="910288" cy="395188"/>
            </a:xfrm>
            <a:custGeom>
              <a:avLst/>
              <a:gdLst>
                <a:gd name="connsiteX0" fmla="*/ 227337 w 910288"/>
                <a:gd name="connsiteY0" fmla="*/ 0 h 395188"/>
                <a:gd name="connsiteX1" fmla="*/ 682481 w 910288"/>
                <a:gd name="connsiteY1" fmla="*/ 0 h 395188"/>
                <a:gd name="connsiteX2" fmla="*/ 910288 w 910288"/>
                <a:gd name="connsiteY2" fmla="*/ 394553 h 395188"/>
                <a:gd name="connsiteX3" fmla="*/ 909921 w 910288"/>
                <a:gd name="connsiteY3" fmla="*/ 395188 h 395188"/>
                <a:gd name="connsiteX4" fmla="*/ 367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337" y="0"/>
                  </a:moveTo>
                  <a:lnTo>
                    <a:pt x="682481" y="0"/>
                  </a:lnTo>
                  <a:lnTo>
                    <a:pt x="910288" y="394553"/>
                  </a:lnTo>
                  <a:lnTo>
                    <a:pt x="909921" y="395188"/>
                  </a:lnTo>
                  <a:lnTo>
                    <a:pt x="367"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4FEBB80C-2274-48E9-A2A4-BC57A10803F6}"/>
                </a:ext>
              </a:extLst>
            </p:cNvPr>
            <p:cNvSpPr/>
            <p:nvPr/>
          </p:nvSpPr>
          <p:spPr>
            <a:xfrm>
              <a:off x="11273763"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62F816DC-4D1E-48F7-9AA4-8BC5CA8BD210}"/>
                </a:ext>
              </a:extLst>
            </p:cNvPr>
            <p:cNvSpPr/>
            <p:nvPr/>
          </p:nvSpPr>
          <p:spPr>
            <a:xfrm>
              <a:off x="11728030" y="6461930"/>
              <a:ext cx="228683" cy="396070"/>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CA6C0D55-37AF-428E-9F3B-37B4B08225F1}"/>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D7CD1F60-F6F4-44AD-B281-935299C90A5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CD63B53-73DF-456C-9832-F6ACB2CDD39E}"/>
                </a:ext>
              </a:extLst>
            </p:cNvPr>
            <p:cNvSpPr/>
            <p:nvPr/>
          </p:nvSpPr>
          <p:spPr>
            <a:xfrm>
              <a:off x="10590811" y="5279682"/>
              <a:ext cx="911227" cy="789105"/>
            </a:xfrm>
            <a:custGeom>
              <a:avLst/>
              <a:gdLst>
                <a:gd name="connsiteX0" fmla="*/ 359453 w 1435223"/>
                <a:gd name="connsiteY0" fmla="*/ 124278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2781"/>
                  </a:moveTo>
                  <a:lnTo>
                    <a:pt x="1387" y="622084"/>
                  </a:lnTo>
                  <a:lnTo>
                    <a:pt x="35945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D01976D-3D5C-4789-8C01-70D20B85CAEA}"/>
                </a:ext>
              </a:extLst>
            </p:cNvPr>
            <p:cNvSpPr/>
            <p:nvPr/>
          </p:nvSpPr>
          <p:spPr>
            <a:xfrm>
              <a:off x="10590811" y="567376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F3A60567-B81B-443C-AA33-E7FB43EF2E0B}"/>
                </a:ext>
              </a:extLst>
            </p:cNvPr>
            <p:cNvSpPr/>
            <p:nvPr/>
          </p:nvSpPr>
          <p:spPr>
            <a:xfrm>
              <a:off x="11043981" y="5670815"/>
              <a:ext cx="229781" cy="397970"/>
            </a:xfrm>
            <a:custGeom>
              <a:avLst/>
              <a:gdLst>
                <a:gd name="connsiteX0" fmla="*/ 71899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482F7B6B-82D5-4096-9DC3-0144E25562A1}"/>
                </a:ext>
              </a:extLst>
            </p:cNvPr>
            <p:cNvSpPr/>
            <p:nvPr/>
          </p:nvSpPr>
          <p:spPr>
            <a:xfrm>
              <a:off x="11041161" y="5279682"/>
              <a:ext cx="232602" cy="402857"/>
            </a:xfrm>
            <a:custGeom>
              <a:avLst/>
              <a:gdLst>
                <a:gd name="connsiteX0" fmla="*/ 71899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99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16771C5-4CBA-4E82-AEE2-78C4F29D3954}"/>
                </a:ext>
              </a:extLst>
            </p:cNvPr>
            <p:cNvSpPr/>
            <p:nvPr/>
          </p:nvSpPr>
          <p:spPr>
            <a:xfrm>
              <a:off x="10590811" y="6067847"/>
              <a:ext cx="911227" cy="789105"/>
            </a:xfrm>
            <a:custGeom>
              <a:avLst/>
              <a:gdLst>
                <a:gd name="connsiteX0" fmla="*/ 359453 w 1435223"/>
                <a:gd name="connsiteY0" fmla="*/ 1243521 h 1242873"/>
                <a:gd name="connsiteX1" fmla="*/ 1387 w 1435223"/>
                <a:gd name="connsiteY1" fmla="*/ 622084 h 1242873"/>
                <a:gd name="connsiteX2" fmla="*/ 35945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59453" y="1243521"/>
                  </a:moveTo>
                  <a:lnTo>
                    <a:pt x="1387" y="622084"/>
                  </a:lnTo>
                  <a:lnTo>
                    <a:pt x="35945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88FC9D5D-911A-47EF-AFAC-F462B10392E9}"/>
                </a:ext>
              </a:extLst>
            </p:cNvPr>
            <p:cNvSpPr/>
            <p:nvPr/>
          </p:nvSpPr>
          <p:spPr>
            <a:xfrm>
              <a:off x="10590811" y="6461929"/>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5F09482B-987F-4755-B55F-83DEE9775D19}"/>
                </a:ext>
              </a:extLst>
            </p:cNvPr>
            <p:cNvSpPr/>
            <p:nvPr/>
          </p:nvSpPr>
          <p:spPr>
            <a:xfrm>
              <a:off x="11043983" y="6458984"/>
              <a:ext cx="229779" cy="397967"/>
            </a:xfrm>
            <a:custGeom>
              <a:avLst/>
              <a:gdLst>
                <a:gd name="connsiteX0" fmla="*/ 71899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99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DC8FDD0D-E270-497A-8D7F-DD777EAA76DE}"/>
                </a:ext>
              </a:extLst>
            </p:cNvPr>
            <p:cNvSpPr/>
            <p:nvPr/>
          </p:nvSpPr>
          <p:spPr>
            <a:xfrm>
              <a:off x="10818149" y="6067847"/>
              <a:ext cx="455614" cy="789105"/>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AED56C1E-F37D-4E91-A900-64AFCCC66452}"/>
                </a:ext>
              </a:extLst>
            </p:cNvPr>
            <p:cNvSpPr/>
            <p:nvPr/>
          </p:nvSpPr>
          <p:spPr>
            <a:xfrm>
              <a:off x="10818663" y="6857363"/>
              <a:ext cx="456346" cy="635"/>
            </a:xfrm>
            <a:custGeom>
              <a:avLst/>
              <a:gdLst>
                <a:gd name="connsiteX0" fmla="*/ 366 w 456346"/>
                <a:gd name="connsiteY0" fmla="*/ 0 h 635"/>
                <a:gd name="connsiteX1" fmla="*/ 455979 w 456346"/>
                <a:gd name="connsiteY1" fmla="*/ 0 h 635"/>
                <a:gd name="connsiteX2" fmla="*/ 456346 w 456346"/>
                <a:gd name="connsiteY2" fmla="*/ 635 h 635"/>
                <a:gd name="connsiteX3" fmla="*/ 0 w 456346"/>
                <a:gd name="connsiteY3" fmla="*/ 635 h 635"/>
              </a:gdLst>
              <a:ahLst/>
              <a:cxnLst>
                <a:cxn ang="0">
                  <a:pos x="connsiteX0" y="connsiteY0"/>
                </a:cxn>
                <a:cxn ang="0">
                  <a:pos x="connsiteX1" y="connsiteY1"/>
                </a:cxn>
                <a:cxn ang="0">
                  <a:pos x="connsiteX2" y="connsiteY2"/>
                </a:cxn>
                <a:cxn ang="0">
                  <a:pos x="connsiteX3" y="connsiteY3"/>
                </a:cxn>
              </a:cxnLst>
              <a:rect l="l" t="t" r="r" b="b"/>
              <a:pathLst>
                <a:path w="456346" h="635">
                  <a:moveTo>
                    <a:pt x="366" y="0"/>
                  </a:moveTo>
                  <a:lnTo>
                    <a:pt x="455979" y="0"/>
                  </a:lnTo>
                  <a:lnTo>
                    <a:pt x="456346"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DA5CBA15-7C85-471D-BB34-0B00F2237943}"/>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A7A1BFA0-BCF8-403F-A45F-F2188924580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07C153FB-5AFC-4FD4-9968-99FF6C07FE96}"/>
                </a:ext>
              </a:extLst>
            </p:cNvPr>
            <p:cNvSpPr/>
            <p:nvPr/>
          </p:nvSpPr>
          <p:spPr>
            <a:xfrm>
              <a:off x="9907860" y="5673765"/>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13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5C84EEC-71E5-4322-A485-6729EC942CC2}"/>
                </a:ext>
              </a:extLst>
            </p:cNvPr>
            <p:cNvSpPr/>
            <p:nvPr/>
          </p:nvSpPr>
          <p:spPr>
            <a:xfrm>
              <a:off x="9907860" y="6067847"/>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0A1728D1-5D27-468D-B815-7A23F6ED4AB6}"/>
                </a:ext>
              </a:extLst>
            </p:cNvPr>
            <p:cNvSpPr/>
            <p:nvPr/>
          </p:nvSpPr>
          <p:spPr>
            <a:xfrm>
              <a:off x="10361031" y="6064085"/>
              <a:ext cx="230250" cy="398783"/>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A3C495D2-5EC9-479A-A7FF-2BAF49B2FF1B}"/>
                </a:ext>
              </a:extLst>
            </p:cNvPr>
            <p:cNvSpPr/>
            <p:nvPr/>
          </p:nvSpPr>
          <p:spPr>
            <a:xfrm>
              <a:off x="10358211" y="5677576"/>
              <a:ext cx="233069" cy="403666"/>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DDC3CAC-2FEF-4074-91A0-EB6700FAEAD4}"/>
                </a:ext>
              </a:extLst>
            </p:cNvPr>
            <p:cNvSpPr/>
            <p:nvPr/>
          </p:nvSpPr>
          <p:spPr>
            <a:xfrm>
              <a:off x="9908741" y="6462810"/>
              <a:ext cx="910288" cy="395188"/>
            </a:xfrm>
            <a:custGeom>
              <a:avLst/>
              <a:gdLst>
                <a:gd name="connsiteX0" fmla="*/ 227807 w 910288"/>
                <a:gd name="connsiteY0" fmla="*/ 0 h 395188"/>
                <a:gd name="connsiteX1" fmla="*/ 682951 w 910288"/>
                <a:gd name="connsiteY1" fmla="*/ 0 h 395188"/>
                <a:gd name="connsiteX2" fmla="*/ 910288 w 910288"/>
                <a:gd name="connsiteY2" fmla="*/ 394553 h 395188"/>
                <a:gd name="connsiteX3" fmla="*/ 909922 w 910288"/>
                <a:gd name="connsiteY3" fmla="*/ 395188 h 395188"/>
                <a:gd name="connsiteX4" fmla="*/ 368 w 910288"/>
                <a:gd name="connsiteY4" fmla="*/ 395188 h 395188"/>
                <a:gd name="connsiteX5" fmla="*/ 0 w 910288"/>
                <a:gd name="connsiteY5" fmla="*/ 394553 h 39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288" h="395188">
                  <a:moveTo>
                    <a:pt x="227807" y="0"/>
                  </a:moveTo>
                  <a:lnTo>
                    <a:pt x="682951" y="0"/>
                  </a:lnTo>
                  <a:lnTo>
                    <a:pt x="910288" y="394553"/>
                  </a:lnTo>
                  <a:lnTo>
                    <a:pt x="909922" y="395188"/>
                  </a:lnTo>
                  <a:lnTo>
                    <a:pt x="368" y="395188"/>
                  </a:lnTo>
                  <a:lnTo>
                    <a:pt x="0" y="39455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0E178D9-8B6A-4F7A-AF38-35FD77E5FFF2}"/>
                </a:ext>
              </a:extLst>
            </p:cNvPr>
            <p:cNvSpPr/>
            <p:nvPr/>
          </p:nvSpPr>
          <p:spPr>
            <a:xfrm>
              <a:off x="9907860" y="6856482"/>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2083D66E-F5C4-4996-9667-61B6F4EB705F}"/>
                </a:ext>
              </a:extLst>
            </p:cNvPr>
            <p:cNvSpPr/>
            <p:nvPr userDrawn="1"/>
          </p:nvSpPr>
          <p:spPr>
            <a:xfrm>
              <a:off x="10361399" y="6461930"/>
              <a:ext cx="229881" cy="398144"/>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E2F37C0B-FFA5-4549-9556-2CCFBC4914FF}"/>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54087A7A-D77D-4685-9999-4AB2A7C2761D}"/>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7D2DB14-443A-49C5-8F6E-8FBF7CB9D000}"/>
                </a:ext>
              </a:extLst>
            </p:cNvPr>
            <p:cNvSpPr/>
            <p:nvPr/>
          </p:nvSpPr>
          <p:spPr>
            <a:xfrm>
              <a:off x="9224910" y="5279682"/>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F3E8ACE-1205-44B9-B191-BE7E8631DF4B}"/>
                </a:ext>
              </a:extLst>
            </p:cNvPr>
            <p:cNvSpPr/>
            <p:nvPr/>
          </p:nvSpPr>
          <p:spPr>
            <a:xfrm>
              <a:off x="9224910" y="5673765"/>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20EEAE05-CEBD-400E-B06B-09E771DFC9B7}"/>
                </a:ext>
              </a:extLst>
            </p:cNvPr>
            <p:cNvSpPr/>
            <p:nvPr/>
          </p:nvSpPr>
          <p:spPr>
            <a:xfrm>
              <a:off x="9679584" y="5672608"/>
              <a:ext cx="228745" cy="396178"/>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A1294ACF-8901-4D4E-8B66-09B02D2F07F2}"/>
                </a:ext>
              </a:extLst>
            </p:cNvPr>
            <p:cNvSpPr/>
            <p:nvPr/>
          </p:nvSpPr>
          <p:spPr>
            <a:xfrm>
              <a:off x="9452716" y="5279682"/>
              <a:ext cx="455614" cy="789105"/>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EFD6ABFF-6ACF-4468-8C1C-53948924BFAD}"/>
                </a:ext>
              </a:extLst>
            </p:cNvPr>
            <p:cNvSpPr/>
            <p:nvPr/>
          </p:nvSpPr>
          <p:spPr>
            <a:xfrm>
              <a:off x="9224910" y="6067847"/>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87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F7F7B6A4-B05A-4CA4-A178-703FC3890965}"/>
                </a:ext>
              </a:extLst>
            </p:cNvPr>
            <p:cNvSpPr/>
            <p:nvPr/>
          </p:nvSpPr>
          <p:spPr>
            <a:xfrm>
              <a:off x="9224910" y="6461929"/>
              <a:ext cx="457200"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0750A10D-837D-4125-951B-1C51472C7148}"/>
                </a:ext>
              </a:extLst>
            </p:cNvPr>
            <p:cNvSpPr/>
            <p:nvPr/>
          </p:nvSpPr>
          <p:spPr>
            <a:xfrm>
              <a:off x="9679583" y="6460771"/>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EB0F9895-8427-4718-9858-7EC9428A7E21}"/>
                </a:ext>
              </a:extLst>
            </p:cNvPr>
            <p:cNvSpPr/>
            <p:nvPr/>
          </p:nvSpPr>
          <p:spPr>
            <a:xfrm>
              <a:off x="9678082" y="6067847"/>
              <a:ext cx="230247" cy="398779"/>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4C0376A-8BD9-4534-B77E-E99C59862857}"/>
                </a:ext>
              </a:extLst>
            </p:cNvPr>
            <p:cNvSpPr/>
            <p:nvPr/>
          </p:nvSpPr>
          <p:spPr>
            <a:xfrm>
              <a:off x="9453231" y="6857363"/>
              <a:ext cx="455878" cy="635"/>
            </a:xfrm>
            <a:custGeom>
              <a:avLst/>
              <a:gdLst>
                <a:gd name="connsiteX0" fmla="*/ 367 w 455878"/>
                <a:gd name="connsiteY0" fmla="*/ 0 h 635"/>
                <a:gd name="connsiteX1" fmla="*/ 455511 w 455878"/>
                <a:gd name="connsiteY1" fmla="*/ 0 h 635"/>
                <a:gd name="connsiteX2" fmla="*/ 455878 w 455878"/>
                <a:gd name="connsiteY2" fmla="*/ 635 h 635"/>
                <a:gd name="connsiteX3" fmla="*/ 0 w 455878"/>
                <a:gd name="connsiteY3" fmla="*/ 635 h 635"/>
              </a:gdLst>
              <a:ahLst/>
              <a:cxnLst>
                <a:cxn ang="0">
                  <a:pos x="connsiteX0" y="connsiteY0"/>
                </a:cxn>
                <a:cxn ang="0">
                  <a:pos x="connsiteX1" y="connsiteY1"/>
                </a:cxn>
                <a:cxn ang="0">
                  <a:pos x="connsiteX2" y="connsiteY2"/>
                </a:cxn>
                <a:cxn ang="0">
                  <a:pos x="connsiteX3" y="connsiteY3"/>
                </a:cxn>
              </a:cxnLst>
              <a:rect l="l" t="t" r="r" b="b"/>
              <a:pathLst>
                <a:path w="455878" h="635">
                  <a:moveTo>
                    <a:pt x="367" y="0"/>
                  </a:moveTo>
                  <a:lnTo>
                    <a:pt x="455511" y="0"/>
                  </a:lnTo>
                  <a:lnTo>
                    <a:pt x="455878" y="635"/>
                  </a:lnTo>
                  <a:lnTo>
                    <a:pt x="0" y="635"/>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8D2379C-940A-4A7D-890C-CF4118DD0F58}"/>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D28399A-FB3F-4930-B3FC-B6E549C625FA}"/>
                </a:ext>
              </a:extLst>
            </p:cNvPr>
            <p:cNvSpPr/>
            <p:nvPr/>
          </p:nvSpPr>
          <p:spPr>
            <a:xfrm>
              <a:off x="9224440" y="4884660"/>
              <a:ext cx="4697" cy="4697"/>
            </a:xfrm>
            <a:custGeom>
              <a:avLst/>
              <a:gdLst/>
              <a:ahLst/>
              <a:cxnLst/>
              <a:rect l="l" t="t" r="r" b="b"/>
              <a:pathLst>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Oval 115">
              <a:extLst>
                <a:ext uri="{FF2B5EF4-FFF2-40B4-BE49-F238E27FC236}">
                  <a16:creationId xmlns:a16="http://schemas.microsoft.com/office/drawing/2014/main" id="{C86D52E1-35C8-4A7C-80DA-51293082761F}"/>
                </a:ext>
              </a:extLst>
            </p:cNvPr>
            <p:cNvSpPr/>
            <p:nvPr/>
          </p:nvSpPr>
          <p:spPr bwMode="auto">
            <a:xfrm>
              <a:off x="10553785" y="563585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84300A24-8F1B-4524-9DB5-28FAC1707107}"/>
                </a:ext>
              </a:extLst>
            </p:cNvPr>
            <p:cNvSpPr/>
            <p:nvPr/>
          </p:nvSpPr>
          <p:spPr bwMode="auto">
            <a:xfrm>
              <a:off x="10746029" y="521407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Oval 117">
              <a:extLst>
                <a:ext uri="{FF2B5EF4-FFF2-40B4-BE49-F238E27FC236}">
                  <a16:creationId xmlns:a16="http://schemas.microsoft.com/office/drawing/2014/main" id="{DF46BBF7-7C23-4E38-A911-08278967DEE9}"/>
                </a:ext>
              </a:extLst>
            </p:cNvPr>
            <p:cNvSpPr/>
            <p:nvPr/>
          </p:nvSpPr>
          <p:spPr bwMode="auto">
            <a:xfrm>
              <a:off x="11465281"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2B42B6A8-3FE1-4CE7-9271-04AC4C99F36E}"/>
                </a:ext>
              </a:extLst>
            </p:cNvPr>
            <p:cNvSpPr/>
            <p:nvPr/>
          </p:nvSpPr>
          <p:spPr bwMode="auto">
            <a:xfrm>
              <a:off x="12112870" y="5214073"/>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81EE0FC9-3AF9-4347-8694-DA9EE66FDA20}"/>
                </a:ext>
              </a:extLst>
            </p:cNvPr>
            <p:cNvSpPr/>
            <p:nvPr/>
          </p:nvSpPr>
          <p:spPr bwMode="auto">
            <a:xfrm>
              <a:off x="9645924" y="5639660"/>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4D90EEB1-E3B0-4E42-9442-32BF7D1F50AB}"/>
                </a:ext>
              </a:extLst>
            </p:cNvPr>
            <p:cNvSpPr/>
            <p:nvPr/>
          </p:nvSpPr>
          <p:spPr bwMode="auto">
            <a:xfrm>
              <a:off x="10777575"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Freeform: Shape 121">
              <a:extLst>
                <a:ext uri="{FF2B5EF4-FFF2-40B4-BE49-F238E27FC236}">
                  <a16:creationId xmlns:a16="http://schemas.microsoft.com/office/drawing/2014/main" id="{A308622F-8ABC-4453-9D54-E1A5498299F3}"/>
                </a:ext>
              </a:extLst>
            </p:cNvPr>
            <p:cNvSpPr/>
            <p:nvPr/>
          </p:nvSpPr>
          <p:spPr bwMode="auto">
            <a:xfrm>
              <a:off x="12144415" y="6821906"/>
              <a:ext cx="47586" cy="36093"/>
            </a:xfrm>
            <a:custGeom>
              <a:avLst/>
              <a:gdLst>
                <a:gd name="connsiteX0" fmla="*/ 36483 w 47586"/>
                <a:gd name="connsiteY0" fmla="*/ 0 h 36093"/>
                <a:gd name="connsiteX1" fmla="*/ 47586 w 47586"/>
                <a:gd name="connsiteY1" fmla="*/ 4599 h 36093"/>
                <a:gd name="connsiteX2" fmla="*/ 47586 w 47586"/>
                <a:gd name="connsiteY2" fmla="*/ 36093 h 36093"/>
                <a:gd name="connsiteX3" fmla="*/ 0 w 47586"/>
                <a:gd name="connsiteY3" fmla="*/ 36093 h 36093"/>
                <a:gd name="connsiteX4" fmla="*/ 10491 w 47586"/>
                <a:gd name="connsiteY4" fmla="*/ 10766 h 36093"/>
                <a:gd name="connsiteX5" fmla="*/ 36483 w 47586"/>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86" h="36093">
                  <a:moveTo>
                    <a:pt x="36483" y="0"/>
                  </a:moveTo>
                  <a:lnTo>
                    <a:pt x="47586" y="4599"/>
                  </a:lnTo>
                  <a:lnTo>
                    <a:pt x="47586" y="36093"/>
                  </a:lnTo>
                  <a:lnTo>
                    <a:pt x="0" y="36093"/>
                  </a:lnTo>
                  <a:lnTo>
                    <a:pt x="10491" y="10766"/>
                  </a:lnTo>
                  <a:cubicBezTo>
                    <a:pt x="17143" y="4115"/>
                    <a:pt x="26332" y="0"/>
                    <a:pt x="36483"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6BBB17A2-A747-4D90-AEAB-D5FD3AD0B882}"/>
                </a:ext>
              </a:extLst>
            </p:cNvPr>
            <p:cNvSpPr/>
            <p:nvPr/>
          </p:nvSpPr>
          <p:spPr bwMode="auto">
            <a:xfrm>
              <a:off x="9421443" y="6821906"/>
              <a:ext cx="72965" cy="36093"/>
            </a:xfrm>
            <a:custGeom>
              <a:avLst/>
              <a:gdLst>
                <a:gd name="connsiteX0" fmla="*/ 36482 w 72965"/>
                <a:gd name="connsiteY0" fmla="*/ 0 h 36093"/>
                <a:gd name="connsiteX1" fmla="*/ 62474 w 72965"/>
                <a:gd name="connsiteY1" fmla="*/ 10766 h 36093"/>
                <a:gd name="connsiteX2" fmla="*/ 72965 w 72965"/>
                <a:gd name="connsiteY2" fmla="*/ 36093 h 36093"/>
                <a:gd name="connsiteX3" fmla="*/ 0 w 72965"/>
                <a:gd name="connsiteY3" fmla="*/ 36093 h 36093"/>
                <a:gd name="connsiteX4" fmla="*/ 10490 w 72965"/>
                <a:gd name="connsiteY4" fmla="*/ 10766 h 36093"/>
                <a:gd name="connsiteX5" fmla="*/ 36482 w 72965"/>
                <a:gd name="connsiteY5" fmla="*/ 0 h 3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65" h="36093">
                  <a:moveTo>
                    <a:pt x="36482" y="0"/>
                  </a:moveTo>
                  <a:cubicBezTo>
                    <a:pt x="46633" y="0"/>
                    <a:pt x="55822" y="4115"/>
                    <a:pt x="62474" y="10766"/>
                  </a:cubicBezTo>
                  <a:lnTo>
                    <a:pt x="72965" y="36093"/>
                  </a:lnTo>
                  <a:lnTo>
                    <a:pt x="0" y="36093"/>
                  </a:lnTo>
                  <a:lnTo>
                    <a:pt x="10490" y="10766"/>
                  </a:lnTo>
                  <a:cubicBezTo>
                    <a:pt x="17142" y="4115"/>
                    <a:pt x="26332" y="0"/>
                    <a:pt x="36482"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4" name="Freeform: Shape 123">
              <a:extLst>
                <a:ext uri="{FF2B5EF4-FFF2-40B4-BE49-F238E27FC236}">
                  <a16:creationId xmlns:a16="http://schemas.microsoft.com/office/drawing/2014/main" id="{31721E0D-EC9A-4A81-A379-AE4E4298B348}"/>
                </a:ext>
              </a:extLst>
            </p:cNvPr>
            <p:cNvSpPr/>
            <p:nvPr/>
          </p:nvSpPr>
          <p:spPr bwMode="auto">
            <a:xfrm>
              <a:off x="12112870" y="6002152"/>
              <a:ext cx="79130" cy="136054"/>
            </a:xfrm>
            <a:custGeom>
              <a:avLst/>
              <a:gdLst>
                <a:gd name="connsiteX0" fmla="*/ 68027 w 79130"/>
                <a:gd name="connsiteY0" fmla="*/ 0 h 136054"/>
                <a:gd name="connsiteX1" fmla="*/ 79130 w 79130"/>
                <a:gd name="connsiteY1" fmla="*/ 2242 h 136054"/>
                <a:gd name="connsiteX2" fmla="*/ 79130 w 79130"/>
                <a:gd name="connsiteY2" fmla="*/ 133813 h 136054"/>
                <a:gd name="connsiteX3" fmla="*/ 68027 w 79130"/>
                <a:gd name="connsiteY3" fmla="*/ 136054 h 136054"/>
                <a:gd name="connsiteX4" fmla="*/ 0 w 79130"/>
                <a:gd name="connsiteY4" fmla="*/ 68027 h 136054"/>
                <a:gd name="connsiteX5" fmla="*/ 68027 w 79130"/>
                <a:gd name="connsiteY5" fmla="*/ 0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30" h="136054">
                  <a:moveTo>
                    <a:pt x="68027" y="0"/>
                  </a:moveTo>
                  <a:lnTo>
                    <a:pt x="79130" y="2242"/>
                  </a:lnTo>
                  <a:lnTo>
                    <a:pt x="79130" y="133813"/>
                  </a:lnTo>
                  <a:lnTo>
                    <a:pt x="68027" y="136054"/>
                  </a:lnTo>
                  <a:cubicBezTo>
                    <a:pt x="30457" y="136054"/>
                    <a:pt x="0" y="105597"/>
                    <a:pt x="0" y="68027"/>
                  </a:cubicBezTo>
                  <a:cubicBezTo>
                    <a:pt x="0" y="30457"/>
                    <a:pt x="30457" y="0"/>
                    <a:pt x="68027" y="0"/>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 name="Oval 124">
              <a:extLst>
                <a:ext uri="{FF2B5EF4-FFF2-40B4-BE49-F238E27FC236}">
                  <a16:creationId xmlns:a16="http://schemas.microsoft.com/office/drawing/2014/main" id="{01DEED31-67CF-4086-AB01-71697627DF77}"/>
                </a:ext>
              </a:extLst>
            </p:cNvPr>
            <p:cNvSpPr/>
            <p:nvPr/>
          </p:nvSpPr>
          <p:spPr bwMode="auto">
            <a:xfrm>
              <a:off x="10522516" y="6389716"/>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BC0E1425-F1E4-4D57-9F25-44CF20F5C547}"/>
                </a:ext>
              </a:extLst>
            </p:cNvPr>
            <p:cNvSpPr/>
            <p:nvPr/>
          </p:nvSpPr>
          <p:spPr bwMode="auto">
            <a:xfrm>
              <a:off x="11465281" y="6427509"/>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4E67C7FC-4443-49E3-AB91-62DB6D0A9066}"/>
              </a:ext>
            </a:extLst>
          </p:cNvPr>
          <p:cNvGrpSpPr/>
          <p:nvPr/>
        </p:nvGrpSpPr>
        <p:grpSpPr>
          <a:xfrm>
            <a:off x="10357803" y="-4071"/>
            <a:ext cx="1834198" cy="1586279"/>
            <a:chOff x="10357802" y="-4071"/>
            <a:chExt cx="1834198" cy="1586279"/>
          </a:xfrm>
        </p:grpSpPr>
        <p:grpSp>
          <p:nvGrpSpPr>
            <p:cNvPr id="128" name="Group 127">
              <a:extLst>
                <a:ext uri="{FF2B5EF4-FFF2-40B4-BE49-F238E27FC236}">
                  <a16:creationId xmlns:a16="http://schemas.microsoft.com/office/drawing/2014/main" id="{E5E80C87-FF80-4D6A-B4F2-E9B52EABDB11}"/>
                </a:ext>
              </a:extLst>
            </p:cNvPr>
            <p:cNvGrpSpPr/>
            <p:nvPr/>
          </p:nvGrpSpPr>
          <p:grpSpPr>
            <a:xfrm>
              <a:off x="10357802" y="-4071"/>
              <a:ext cx="1834198" cy="1586279"/>
              <a:chOff x="10357802" y="-4071"/>
              <a:chExt cx="1834198" cy="1586279"/>
            </a:xfrm>
          </p:grpSpPr>
          <p:sp>
            <p:nvSpPr>
              <p:cNvPr id="134" name="Freeform: Shape 133">
                <a:extLst>
                  <a:ext uri="{FF2B5EF4-FFF2-40B4-BE49-F238E27FC236}">
                    <a16:creationId xmlns:a16="http://schemas.microsoft.com/office/drawing/2014/main" id="{75A68998-B0CD-43E1-B0F7-6781CFBB0CEE}"/>
                  </a:ext>
                </a:extLst>
              </p:cNvPr>
              <p:cNvSpPr/>
              <p:nvPr/>
            </p:nvSpPr>
            <p:spPr>
              <a:xfrm>
                <a:off x="11724584" y="-2"/>
                <a:ext cx="467416" cy="399904"/>
              </a:xfrm>
              <a:custGeom>
                <a:avLst/>
                <a:gdLst>
                  <a:gd name="connsiteX0" fmla="*/ 3087 w 467416"/>
                  <a:gd name="connsiteY0" fmla="*/ 0 h 399904"/>
                  <a:gd name="connsiteX1" fmla="*/ 467416 w 467416"/>
                  <a:gd name="connsiteY1" fmla="*/ 0 h 399904"/>
                  <a:gd name="connsiteX2" fmla="*/ 467416 w 467416"/>
                  <a:gd name="connsiteY2" fmla="*/ 399904 h 399904"/>
                  <a:gd name="connsiteX3" fmla="*/ 227337 w 467416"/>
                  <a:gd name="connsiteY3" fmla="*/ 399904 h 399904"/>
                  <a:gd name="connsiteX4" fmla="*/ 0 w 467416"/>
                  <a:gd name="connsiteY4" fmla="*/ 5352 h 39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399904">
                    <a:moveTo>
                      <a:pt x="3087" y="0"/>
                    </a:moveTo>
                    <a:lnTo>
                      <a:pt x="467416" y="0"/>
                    </a:lnTo>
                    <a:lnTo>
                      <a:pt x="467416" y="399904"/>
                    </a:lnTo>
                    <a:lnTo>
                      <a:pt x="22733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8C39C296-0347-4971-9D02-A0925A53F64C}"/>
                  </a:ext>
                </a:extLst>
              </p:cNvPr>
              <p:cNvSpPr/>
              <p:nvPr userDrawn="1"/>
            </p:nvSpPr>
            <p:spPr>
              <a:xfrm>
                <a:off x="11951041" y="-4071"/>
                <a:ext cx="233009" cy="403562"/>
              </a:xfrm>
              <a:custGeom>
                <a:avLst/>
                <a:gdLst>
                  <a:gd name="connsiteX0" fmla="*/ 71899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99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61DCE7D2-1CF5-40E6-9E2C-FC30D738426B}"/>
                  </a:ext>
                </a:extLst>
              </p:cNvPr>
              <p:cNvSpPr/>
              <p:nvPr/>
            </p:nvSpPr>
            <p:spPr>
              <a:xfrm>
                <a:off x="11724584" y="399902"/>
                <a:ext cx="467416" cy="788166"/>
              </a:xfrm>
              <a:custGeom>
                <a:avLst/>
                <a:gdLst>
                  <a:gd name="connsiteX0" fmla="*/ 227337 w 467416"/>
                  <a:gd name="connsiteY0" fmla="*/ 0 h 788166"/>
                  <a:gd name="connsiteX1" fmla="*/ 467416 w 467416"/>
                  <a:gd name="connsiteY1" fmla="*/ 0 h 788166"/>
                  <a:gd name="connsiteX2" fmla="*/ 467416 w 467416"/>
                  <a:gd name="connsiteY2" fmla="*/ 788166 h 788166"/>
                  <a:gd name="connsiteX3" fmla="*/ 227337 w 467416"/>
                  <a:gd name="connsiteY3" fmla="*/ 788166 h 788166"/>
                  <a:gd name="connsiteX4" fmla="*/ 0 w 467416"/>
                  <a:gd name="connsiteY4" fmla="*/ 394083 h 788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416" h="788166">
                    <a:moveTo>
                      <a:pt x="227337" y="0"/>
                    </a:moveTo>
                    <a:lnTo>
                      <a:pt x="467416" y="0"/>
                    </a:lnTo>
                    <a:lnTo>
                      <a:pt x="467416" y="788166"/>
                    </a:lnTo>
                    <a:lnTo>
                      <a:pt x="227337" y="788166"/>
                    </a:lnTo>
                    <a:lnTo>
                      <a:pt x="0" y="394083"/>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543E4D0D-9FA5-44D0-89BA-E71A6DD36C92}"/>
                  </a:ext>
                </a:extLst>
              </p:cNvPr>
              <p:cNvSpPr/>
              <p:nvPr/>
            </p:nvSpPr>
            <p:spPr>
              <a:xfrm>
                <a:off x="11723703" y="793103"/>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B967209-5D7C-45BA-AA52-38AD3AD29CEE}"/>
                  </a:ext>
                </a:extLst>
              </p:cNvPr>
              <p:cNvSpPr/>
              <p:nvPr/>
            </p:nvSpPr>
            <p:spPr>
              <a:xfrm>
                <a:off x="11040752" y="4468"/>
                <a:ext cx="911227" cy="789105"/>
              </a:xfrm>
              <a:custGeom>
                <a:avLst/>
                <a:gdLst>
                  <a:gd name="connsiteX0" fmla="*/ 360193 w 1435223"/>
                  <a:gd name="connsiteY0" fmla="*/ 1243521 h 1242873"/>
                  <a:gd name="connsiteX1" fmla="*/ 1387 w 1435223"/>
                  <a:gd name="connsiteY1" fmla="*/ 622824 h 1242873"/>
                  <a:gd name="connsiteX2" fmla="*/ 360193 w 1435223"/>
                  <a:gd name="connsiteY2" fmla="*/ 1387 h 1242873"/>
                  <a:gd name="connsiteX3" fmla="*/ 1077065 w 1435223"/>
                  <a:gd name="connsiteY3" fmla="*/ 1387 h 1242873"/>
                  <a:gd name="connsiteX4" fmla="*/ 1435131 w 1435223"/>
                  <a:gd name="connsiteY4" fmla="*/ 62282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824"/>
                    </a:lnTo>
                    <a:lnTo>
                      <a:pt x="360193" y="1387"/>
                    </a:lnTo>
                    <a:lnTo>
                      <a:pt x="1077065" y="1387"/>
                    </a:lnTo>
                    <a:lnTo>
                      <a:pt x="1435131" y="62282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BCDBB366-85EB-4C67-ACD2-E430B924A88C}"/>
                  </a:ext>
                </a:extLst>
              </p:cNvPr>
              <p:cNvSpPr/>
              <p:nvPr/>
            </p:nvSpPr>
            <p:spPr>
              <a:xfrm>
                <a:off x="11040752" y="399021"/>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CB70D70-DCC4-4146-8359-4C441A2B3C37}"/>
                  </a:ext>
                </a:extLst>
              </p:cNvPr>
              <p:cNvSpPr/>
              <p:nvPr/>
            </p:nvSpPr>
            <p:spPr>
              <a:xfrm>
                <a:off x="11493925" y="394793"/>
                <a:ext cx="230248" cy="3987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F444D39-B96E-48E8-9914-29F1ADE5ED5A}"/>
                  </a:ext>
                </a:extLst>
              </p:cNvPr>
              <p:cNvSpPr/>
              <p:nvPr/>
            </p:nvSpPr>
            <p:spPr>
              <a:xfrm>
                <a:off x="11268559" y="4468"/>
                <a:ext cx="455614" cy="789105"/>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53842794-7896-4045-8876-B1D4D82453C4}"/>
                  </a:ext>
                </a:extLst>
              </p:cNvPr>
              <p:cNvSpPr/>
              <p:nvPr/>
            </p:nvSpPr>
            <p:spPr>
              <a:xfrm>
                <a:off x="11040752" y="793103"/>
                <a:ext cx="911227" cy="789105"/>
              </a:xfrm>
              <a:custGeom>
                <a:avLst/>
                <a:gdLst>
                  <a:gd name="connsiteX0" fmla="*/ 360193 w 1435223"/>
                  <a:gd name="connsiteY0" fmla="*/ 124352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131 w 1435223"/>
                  <a:gd name="connsiteY4" fmla="*/ 622084 h 1242873"/>
                  <a:gd name="connsiteX5" fmla="*/ 1077065 w 1435223"/>
                  <a:gd name="connsiteY5" fmla="*/ 124352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3521"/>
                    </a:moveTo>
                    <a:lnTo>
                      <a:pt x="1387" y="622084"/>
                    </a:lnTo>
                    <a:lnTo>
                      <a:pt x="360193" y="1387"/>
                    </a:lnTo>
                    <a:lnTo>
                      <a:pt x="1077065" y="1387"/>
                    </a:lnTo>
                    <a:lnTo>
                      <a:pt x="1435131" y="622084"/>
                    </a:lnTo>
                    <a:lnTo>
                      <a:pt x="1077065" y="124352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5207CEFE-A2F4-44E8-B8D5-8987CD013B0B}"/>
                  </a:ext>
                </a:extLst>
              </p:cNvPr>
              <p:cNvSpPr/>
              <p:nvPr/>
            </p:nvSpPr>
            <p:spPr>
              <a:xfrm>
                <a:off x="11040752" y="1187185"/>
                <a:ext cx="457200" cy="4697"/>
              </a:xfrm>
              <a:custGeom>
                <a:avLst/>
                <a:gdLst>
                  <a:gd name="connsiteX0" fmla="*/ 143513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13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80CB434E-EAEE-43A9-8B2C-5F2A97A82608}"/>
                  </a:ext>
                </a:extLst>
              </p:cNvPr>
              <p:cNvSpPr/>
              <p:nvPr/>
            </p:nvSpPr>
            <p:spPr>
              <a:xfrm>
                <a:off x="11493923" y="1183424"/>
                <a:ext cx="230250" cy="398784"/>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1A5CA0D-EB32-4B16-8DF1-444E561A68BE}"/>
                  </a:ext>
                </a:extLst>
              </p:cNvPr>
              <p:cNvSpPr/>
              <p:nvPr/>
            </p:nvSpPr>
            <p:spPr>
              <a:xfrm>
                <a:off x="11497305" y="793103"/>
                <a:ext cx="226868" cy="392927"/>
              </a:xfrm>
              <a:custGeom>
                <a:avLst/>
                <a:gdLst>
                  <a:gd name="connsiteX0" fmla="*/ 718259 w 717611"/>
                  <a:gd name="connsiteY0" fmla="*/ 1387 h 1242873"/>
                  <a:gd name="connsiteX1" fmla="*/ 1387 w 717611"/>
                  <a:gd name="connsiteY1" fmla="*/ 1243521 h 1242873"/>
                </a:gdLst>
                <a:ahLst/>
                <a:cxnLst>
                  <a:cxn ang="0">
                    <a:pos x="connsiteX0" y="connsiteY0"/>
                  </a:cxn>
                  <a:cxn ang="0">
                    <a:pos x="connsiteX1" y="connsiteY1"/>
                  </a:cxn>
                </a:cxnLst>
                <a:rect l="l" t="t" r="r" b="b"/>
                <a:pathLst>
                  <a:path w="717611" h="1242873">
                    <a:moveTo>
                      <a:pt x="718259" y="1387"/>
                    </a:moveTo>
                    <a:lnTo>
                      <a:pt x="1387" y="124352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886DE2A4-4013-4783-B14A-414C4E249347}"/>
                  </a:ext>
                </a:extLst>
              </p:cNvPr>
              <p:cNvSpPr/>
              <p:nvPr/>
            </p:nvSpPr>
            <p:spPr>
              <a:xfrm>
                <a:off x="10358683" y="-2"/>
                <a:ext cx="910757" cy="399904"/>
              </a:xfrm>
              <a:custGeom>
                <a:avLst/>
                <a:gdLst>
                  <a:gd name="connsiteX0" fmla="*/ 3094 w 910757"/>
                  <a:gd name="connsiteY0" fmla="*/ 0 h 399904"/>
                  <a:gd name="connsiteX1" fmla="*/ 907664 w 910757"/>
                  <a:gd name="connsiteY1" fmla="*/ 0 h 399904"/>
                  <a:gd name="connsiteX2" fmla="*/ 910757 w 910757"/>
                  <a:gd name="connsiteY2" fmla="*/ 5352 h 399904"/>
                  <a:gd name="connsiteX3" fmla="*/ 682951 w 910757"/>
                  <a:gd name="connsiteY3" fmla="*/ 399904 h 399904"/>
                  <a:gd name="connsiteX4" fmla="*/ 227807 w 910757"/>
                  <a:gd name="connsiteY4" fmla="*/ 399904 h 399904"/>
                  <a:gd name="connsiteX5" fmla="*/ 0 w 910757"/>
                  <a:gd name="connsiteY5" fmla="*/ 5352 h 39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757" h="399904">
                    <a:moveTo>
                      <a:pt x="3094" y="0"/>
                    </a:moveTo>
                    <a:lnTo>
                      <a:pt x="907664" y="0"/>
                    </a:lnTo>
                    <a:lnTo>
                      <a:pt x="910757" y="5352"/>
                    </a:lnTo>
                    <a:lnTo>
                      <a:pt x="682951" y="399904"/>
                    </a:lnTo>
                    <a:lnTo>
                      <a:pt x="227807" y="399904"/>
                    </a:lnTo>
                    <a:lnTo>
                      <a:pt x="0" y="5352"/>
                    </a:lnTo>
                    <a:close/>
                  </a:path>
                </a:pathLst>
              </a:custGeom>
              <a:noFill/>
              <a:ln w="2381" cap="flat">
                <a:solidFill>
                  <a:schemeClr val="bg2"/>
                </a:solidFill>
                <a:prstDash val="solid"/>
                <a:miter/>
              </a:ln>
            </p:spPr>
            <p:txBody>
              <a:bodyPr wrap="square"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7E6C09B8-7638-4D72-9A27-7826F817F332}"/>
                  </a:ext>
                </a:extLst>
              </p:cNvPr>
              <p:cNvSpPr/>
              <p:nvPr/>
            </p:nvSpPr>
            <p:spPr>
              <a:xfrm>
                <a:off x="10812475" y="3310"/>
                <a:ext cx="228747" cy="396180"/>
              </a:xfrm>
              <a:custGeom>
                <a:avLst/>
                <a:gdLst>
                  <a:gd name="connsiteX0" fmla="*/ 718259 w 717611"/>
                  <a:gd name="connsiteY0" fmla="*/ 124352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352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158320E-8101-492F-8E1C-C5A3DD18C8E7}"/>
                  </a:ext>
                </a:extLst>
              </p:cNvPr>
              <p:cNvSpPr/>
              <p:nvPr/>
            </p:nvSpPr>
            <p:spPr>
              <a:xfrm>
                <a:off x="10357802" y="399021"/>
                <a:ext cx="911227" cy="789105"/>
              </a:xfrm>
              <a:custGeom>
                <a:avLst/>
                <a:gdLst>
                  <a:gd name="connsiteX0" fmla="*/ 360193 w 1435223"/>
                  <a:gd name="connsiteY0" fmla="*/ 1242781 h 1242873"/>
                  <a:gd name="connsiteX1" fmla="*/ 1387 w 1435223"/>
                  <a:gd name="connsiteY1" fmla="*/ 622084 h 1242873"/>
                  <a:gd name="connsiteX2" fmla="*/ 360193 w 1435223"/>
                  <a:gd name="connsiteY2" fmla="*/ 1387 h 1242873"/>
                  <a:gd name="connsiteX3" fmla="*/ 1077065 w 1435223"/>
                  <a:gd name="connsiteY3" fmla="*/ 1387 h 1242873"/>
                  <a:gd name="connsiteX4" fmla="*/ 1435871 w 1435223"/>
                  <a:gd name="connsiteY4" fmla="*/ 622084 h 1242873"/>
                  <a:gd name="connsiteX5" fmla="*/ 1077065 w 1435223"/>
                  <a:gd name="connsiteY5" fmla="*/ 1242781 h 12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5223" h="1242873">
                    <a:moveTo>
                      <a:pt x="360193" y="1242781"/>
                    </a:moveTo>
                    <a:lnTo>
                      <a:pt x="1387" y="622084"/>
                    </a:lnTo>
                    <a:lnTo>
                      <a:pt x="360193" y="1387"/>
                    </a:lnTo>
                    <a:lnTo>
                      <a:pt x="1077065" y="1387"/>
                    </a:lnTo>
                    <a:lnTo>
                      <a:pt x="1435871" y="622084"/>
                    </a:lnTo>
                    <a:lnTo>
                      <a:pt x="1077065" y="1242781"/>
                    </a:lnTo>
                    <a:close/>
                  </a:path>
                </a:pathLst>
              </a:custGeom>
              <a:noFill/>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0481D1E-5248-487F-8163-8D5C8202A8C3}"/>
                  </a:ext>
                </a:extLst>
              </p:cNvPr>
              <p:cNvSpPr/>
              <p:nvPr/>
            </p:nvSpPr>
            <p:spPr>
              <a:xfrm>
                <a:off x="10357802" y="793103"/>
                <a:ext cx="911227" cy="4697"/>
              </a:xfrm>
              <a:custGeom>
                <a:avLst/>
                <a:gdLst>
                  <a:gd name="connsiteX0" fmla="*/ 1435871 w 1435223"/>
                  <a:gd name="connsiteY0" fmla="*/ 1387 h 0"/>
                  <a:gd name="connsiteX1" fmla="*/ 1387 w 1435223"/>
                  <a:gd name="connsiteY1" fmla="*/ 1387 h 0"/>
                </a:gdLst>
                <a:ahLst/>
                <a:cxnLst>
                  <a:cxn ang="0">
                    <a:pos x="connsiteX0" y="connsiteY0"/>
                  </a:cxn>
                  <a:cxn ang="0">
                    <a:pos x="connsiteX1" y="connsiteY1"/>
                  </a:cxn>
                </a:cxnLst>
                <a:rect l="l" t="t" r="r" b="b"/>
                <a:pathLst>
                  <a:path w="1435223">
                    <a:moveTo>
                      <a:pt x="1435871" y="1387"/>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74564632-E520-4DAA-8EA2-408D1A154AD7}"/>
                  </a:ext>
                </a:extLst>
              </p:cNvPr>
              <p:cNvSpPr/>
              <p:nvPr/>
            </p:nvSpPr>
            <p:spPr>
              <a:xfrm>
                <a:off x="10811828" y="790825"/>
                <a:ext cx="229394" cy="397301"/>
              </a:xfrm>
              <a:custGeom>
                <a:avLst/>
                <a:gdLst>
                  <a:gd name="connsiteX0" fmla="*/ 718259 w 717611"/>
                  <a:gd name="connsiteY0" fmla="*/ 1242781 h 1242873"/>
                  <a:gd name="connsiteX1" fmla="*/ 1387 w 717611"/>
                  <a:gd name="connsiteY1" fmla="*/ 1387 h 1242873"/>
                </a:gdLst>
                <a:ahLst/>
                <a:cxnLst>
                  <a:cxn ang="0">
                    <a:pos x="connsiteX0" y="connsiteY0"/>
                  </a:cxn>
                  <a:cxn ang="0">
                    <a:pos x="connsiteX1" y="connsiteY1"/>
                  </a:cxn>
                </a:cxnLst>
                <a:rect l="l" t="t" r="r" b="b"/>
                <a:pathLst>
                  <a:path w="717611" h="1242873">
                    <a:moveTo>
                      <a:pt x="718259" y="1242781"/>
                    </a:moveTo>
                    <a:lnTo>
                      <a:pt x="1387" y="1387"/>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A43E0A78-8EA3-45EB-873D-AB1A46F91CC7}"/>
                  </a:ext>
                </a:extLst>
              </p:cNvPr>
              <p:cNvSpPr/>
              <p:nvPr/>
            </p:nvSpPr>
            <p:spPr>
              <a:xfrm>
                <a:off x="10810974" y="399022"/>
                <a:ext cx="230248" cy="398780"/>
              </a:xfrm>
              <a:custGeom>
                <a:avLst/>
                <a:gdLst>
                  <a:gd name="connsiteX0" fmla="*/ 718259 w 717611"/>
                  <a:gd name="connsiteY0" fmla="*/ 1387 h 1242873"/>
                  <a:gd name="connsiteX1" fmla="*/ 1387 w 717611"/>
                  <a:gd name="connsiteY1" fmla="*/ 1242781 h 1242873"/>
                </a:gdLst>
                <a:ahLst/>
                <a:cxnLst>
                  <a:cxn ang="0">
                    <a:pos x="connsiteX0" y="connsiteY0"/>
                  </a:cxn>
                  <a:cxn ang="0">
                    <a:pos x="connsiteX1" y="connsiteY1"/>
                  </a:cxn>
                </a:cxnLst>
                <a:rect l="l" t="t" r="r" b="b"/>
                <a:pathLst>
                  <a:path w="717611" h="1242873">
                    <a:moveTo>
                      <a:pt x="718259" y="1387"/>
                    </a:moveTo>
                    <a:lnTo>
                      <a:pt x="1387" y="1242781"/>
                    </a:lnTo>
                  </a:path>
                </a:pathLst>
              </a:custGeom>
              <a:ln w="2381" cap="flat">
                <a:solidFill>
                  <a:schemeClr val="bg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29" name="Oval 128">
              <a:extLst>
                <a:ext uri="{FF2B5EF4-FFF2-40B4-BE49-F238E27FC236}">
                  <a16:creationId xmlns:a16="http://schemas.microsoft.com/office/drawing/2014/main" id="{DD1F3B55-E605-42EB-92C3-DC5018B93AA5}"/>
                </a:ext>
              </a:extLst>
            </p:cNvPr>
            <p:cNvSpPr/>
            <p:nvPr/>
          </p:nvSpPr>
          <p:spPr bwMode="auto">
            <a:xfrm>
              <a:off x="11655408"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D203C2DB-02AA-4F07-92D8-9336DDB9F75D}"/>
                </a:ext>
              </a:extLst>
            </p:cNvPr>
            <p:cNvSpPr/>
            <p:nvPr/>
          </p:nvSpPr>
          <p:spPr bwMode="auto">
            <a:xfrm>
              <a:off x="11910190"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1" name="Oval 130">
              <a:extLst>
                <a:ext uri="{FF2B5EF4-FFF2-40B4-BE49-F238E27FC236}">
                  <a16:creationId xmlns:a16="http://schemas.microsoft.com/office/drawing/2014/main" id="{99FB291D-EC39-4472-BCB5-AA42A9FFD560}"/>
                </a:ext>
              </a:extLst>
            </p:cNvPr>
            <p:cNvSpPr/>
            <p:nvPr/>
          </p:nvSpPr>
          <p:spPr bwMode="auto">
            <a:xfrm>
              <a:off x="10747547" y="727493"/>
              <a:ext cx="136054" cy="136054"/>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C7FA785B-83EC-4C66-9DC0-06A364C03945}"/>
                </a:ext>
              </a:extLst>
            </p:cNvPr>
            <p:cNvSpPr/>
            <p:nvPr/>
          </p:nvSpPr>
          <p:spPr bwMode="auto">
            <a:xfrm>
              <a:off x="10554058" y="364444"/>
              <a:ext cx="73516" cy="73516"/>
            </a:xfrm>
            <a:prstGeom prst="ellipse">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3" name="Freeform: Shape 132">
              <a:extLst>
                <a:ext uri="{FF2B5EF4-FFF2-40B4-BE49-F238E27FC236}">
                  <a16:creationId xmlns:a16="http://schemas.microsoft.com/office/drawing/2014/main" id="{FB2C8DB5-A2D6-40D1-B81D-2C599CFCE4D6}"/>
                </a:ext>
              </a:extLst>
            </p:cNvPr>
            <p:cNvSpPr/>
            <p:nvPr/>
          </p:nvSpPr>
          <p:spPr bwMode="auto">
            <a:xfrm>
              <a:off x="11655408" y="1"/>
              <a:ext cx="136054" cy="68308"/>
            </a:xfrm>
            <a:custGeom>
              <a:avLst/>
              <a:gdLst>
                <a:gd name="connsiteX0" fmla="*/ 116 w 136054"/>
                <a:gd name="connsiteY0" fmla="*/ 0 h 68308"/>
                <a:gd name="connsiteX1" fmla="*/ 135938 w 136054"/>
                <a:gd name="connsiteY1" fmla="*/ 0 h 68308"/>
                <a:gd name="connsiteX2" fmla="*/ 136054 w 136054"/>
                <a:gd name="connsiteY2" fmla="*/ 281 h 68308"/>
                <a:gd name="connsiteX3" fmla="*/ 68027 w 136054"/>
                <a:gd name="connsiteY3" fmla="*/ 68308 h 68308"/>
                <a:gd name="connsiteX4" fmla="*/ 0 w 136054"/>
                <a:gd name="connsiteY4" fmla="*/ 281 h 68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54" h="68308">
                  <a:moveTo>
                    <a:pt x="116" y="0"/>
                  </a:moveTo>
                  <a:lnTo>
                    <a:pt x="135938" y="0"/>
                  </a:lnTo>
                  <a:lnTo>
                    <a:pt x="136054" y="281"/>
                  </a:lnTo>
                  <a:cubicBezTo>
                    <a:pt x="136054" y="37851"/>
                    <a:pt x="105597" y="68308"/>
                    <a:pt x="68027" y="68308"/>
                  </a:cubicBezTo>
                  <a:cubicBezTo>
                    <a:pt x="30457" y="68308"/>
                    <a:pt x="0" y="37851"/>
                    <a:pt x="0" y="281"/>
                  </a:cubicBezTo>
                  <a:close/>
                </a:path>
              </a:pathLst>
            </a:cu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539261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856745D-57F2-497C-A880-7163EF398CDC}"/>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267999"/>
            <a:ext cx="11306469" cy="1107996"/>
          </a:xfrm>
        </p:spPr>
        <p:txBody>
          <a:bodyPr anchor="ctr"/>
          <a:lstStyle/>
          <a:p>
            <a:pPr>
              <a:lnSpc>
                <a:spcPct val="100000"/>
              </a:lnSpc>
            </a:pPr>
            <a:r>
              <a:rPr lang="en-US">
                <a:cs typeface="Segoe UI"/>
              </a:rPr>
              <a:t>Q1: For the topic </a:t>
            </a:r>
            <a:r>
              <a:rPr lang="en-US">
                <a:solidFill>
                  <a:schemeClr val="tx2"/>
                </a:solidFill>
                <a:cs typeface="Segoe UI"/>
              </a:rPr>
              <a:t>“Return an item,” </a:t>
            </a:r>
            <a:r>
              <a:rPr lang="en-US">
                <a:solidFill>
                  <a:srgbClr val="3C3C41"/>
                </a:solidFill>
                <a:cs typeface="Segoe UI"/>
              </a:rPr>
              <a:t>please select</a:t>
            </a:r>
            <a:r>
              <a:rPr lang="en-US">
                <a:cs typeface="Segoe UI"/>
              </a:rPr>
              <a:t> the best trigger phrase from below:</a:t>
            </a:r>
          </a:p>
        </p:txBody>
      </p:sp>
      <p:grpSp>
        <p:nvGrpSpPr>
          <p:cNvPr id="15" name="Group 14">
            <a:extLst>
              <a:ext uri="{FF2B5EF4-FFF2-40B4-BE49-F238E27FC236}">
                <a16:creationId xmlns:a16="http://schemas.microsoft.com/office/drawing/2014/main" id="{FC9CA27E-06CA-449C-BC7B-632FCB715CF7}"/>
              </a:ext>
            </a:extLst>
          </p:cNvPr>
          <p:cNvGrpSpPr/>
          <p:nvPr/>
        </p:nvGrpSpPr>
        <p:grpSpPr>
          <a:xfrm>
            <a:off x="597174" y="2349817"/>
            <a:ext cx="7562977" cy="2893303"/>
            <a:chOff x="7521574" y="2400300"/>
            <a:chExt cx="3927475" cy="2313214"/>
          </a:xfrm>
          <a:solidFill>
            <a:schemeClr val="bg1">
              <a:lumMod val="85000"/>
            </a:schemeClr>
          </a:solidFill>
        </p:grpSpPr>
        <p:sp>
          <p:nvSpPr>
            <p:cNvPr id="24" name="Rectangle: Rounded Corners 23">
              <a:extLst>
                <a:ext uri="{FF2B5EF4-FFF2-40B4-BE49-F238E27FC236}">
                  <a16:creationId xmlns:a16="http://schemas.microsoft.com/office/drawing/2014/main" id="{82CE8AA8-853B-4AAA-B48A-A0DB94020472}"/>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rgbClr val="3C3C41"/>
                  </a:solidFill>
                </a:rPr>
                <a:t>A. I want to return an item.</a:t>
              </a:r>
            </a:p>
          </p:txBody>
        </p:sp>
        <p:sp>
          <p:nvSpPr>
            <p:cNvPr id="26" name="Rectangle: Rounded Corners 25">
              <a:extLst>
                <a:ext uri="{FF2B5EF4-FFF2-40B4-BE49-F238E27FC236}">
                  <a16:creationId xmlns:a16="http://schemas.microsoft.com/office/drawing/2014/main" id="{CA76FD3B-DBBE-4173-BF67-73426BCD7DF5}"/>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My mom was cooking last night when I came back home from school, and suddenly the refrigerator stopped working. Can I return it?</a:t>
              </a:r>
            </a:p>
          </p:txBody>
        </p:sp>
        <p:sp>
          <p:nvSpPr>
            <p:cNvPr id="27" name="Rectangle: Rounded Corners 26">
              <a:extLst>
                <a:ext uri="{FF2B5EF4-FFF2-40B4-BE49-F238E27FC236}">
                  <a16:creationId xmlns:a16="http://schemas.microsoft.com/office/drawing/2014/main" id="{15154E61-E752-4E22-B71C-B02F26D6B4CA}"/>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C. I don't like any of the items I purchased from your store.</a:t>
              </a:r>
            </a:p>
          </p:txBody>
        </p:sp>
      </p:grpSp>
    </p:spTree>
    <p:extLst>
      <p:ext uri="{BB962C8B-B14F-4D97-AF65-F5344CB8AC3E}">
        <p14:creationId xmlns:p14="http://schemas.microsoft.com/office/powerpoint/2010/main" val="193346787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0E8EE975-4487-43AC-8D94-374946212257}"/>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A</a:t>
            </a:r>
          </a:p>
        </p:txBody>
      </p:sp>
      <p:sp>
        <p:nvSpPr>
          <p:cNvPr id="25" name="Rectangle 24">
            <a:extLst>
              <a:ext uri="{FF2B5EF4-FFF2-40B4-BE49-F238E27FC236}">
                <a16:creationId xmlns:a16="http://schemas.microsoft.com/office/drawing/2014/main" id="{55C69FFE-9E76-42F2-9289-176AE6DABE37}"/>
              </a:ext>
            </a:extLst>
          </p:cNvPr>
          <p:cNvSpPr/>
          <p:nvPr/>
        </p:nvSpPr>
        <p:spPr bwMode="auto">
          <a:xfrm rot="5400000">
            <a:off x="9731946" y="2381390"/>
            <a:ext cx="1155651" cy="2771523"/>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rgbClr val="FF0000"/>
                </a:solidFill>
                <a:ea typeface="Segoe UI" pitchFamily="34" charset="0"/>
                <a:cs typeface="Segoe UI" pitchFamily="34" charset="0"/>
              </a:rPr>
              <a:t>B</a:t>
            </a:r>
            <a:r>
              <a:rPr lang="en-US" sz="1372">
                <a:solidFill>
                  <a:schemeClr val="tx1"/>
                </a:solidFill>
                <a:ea typeface="Segoe UI" pitchFamily="34" charset="0"/>
                <a:cs typeface="Segoe UI" pitchFamily="34" charset="0"/>
              </a:rPr>
              <a:t> is not good because it is too complicated. It introduces too many irrelevant keywords which could potentially connect to the wrong topics</a:t>
            </a:r>
          </a:p>
        </p:txBody>
      </p:sp>
      <p:sp>
        <p:nvSpPr>
          <p:cNvPr id="26" name="Rectangle 25">
            <a:extLst>
              <a:ext uri="{FF2B5EF4-FFF2-40B4-BE49-F238E27FC236}">
                <a16:creationId xmlns:a16="http://schemas.microsoft.com/office/drawing/2014/main" id="{339E92AB-ECE1-47A4-B3C8-502DE36CA7DB}"/>
              </a:ext>
            </a:extLst>
          </p:cNvPr>
          <p:cNvSpPr/>
          <p:nvPr/>
        </p:nvSpPr>
        <p:spPr bwMode="auto">
          <a:xfrm rot="5400000">
            <a:off x="9731944" y="3625061"/>
            <a:ext cx="1155655" cy="2771523"/>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rgbClr val="0070C0"/>
                </a:solidFill>
                <a:ea typeface="Segoe UI" pitchFamily="34" charset="0"/>
                <a:cs typeface="Segoe UI" pitchFamily="34" charset="0"/>
              </a:rPr>
              <a:t>C</a:t>
            </a:r>
            <a:r>
              <a:rPr lang="en-US" sz="1372">
                <a:solidFill>
                  <a:schemeClr val="tx1"/>
                </a:solidFill>
                <a:ea typeface="Segoe UI" pitchFamily="34" charset="0"/>
                <a:cs typeface="Segoe UI" pitchFamily="34" charset="0"/>
              </a:rPr>
              <a:t> depends on your business logic. If you want to cover this scenario in this topic, then you should add it to the trigger phrases</a:t>
            </a:r>
          </a:p>
        </p:txBody>
      </p:sp>
      <p:sp>
        <p:nvSpPr>
          <p:cNvPr id="28" name="Rectangle: Rounded Corners 27">
            <a:extLst>
              <a:ext uri="{FF2B5EF4-FFF2-40B4-BE49-F238E27FC236}">
                <a16:creationId xmlns:a16="http://schemas.microsoft.com/office/drawing/2014/main" id="{C1AE9535-4045-4CD3-8D2B-AD6DE5423ED6}"/>
              </a:ext>
            </a:extLst>
          </p:cNvPr>
          <p:cNvSpPr/>
          <p:nvPr/>
        </p:nvSpPr>
        <p:spPr bwMode="auto">
          <a:xfrm>
            <a:off x="597174" y="2349817"/>
            <a:ext cx="7562977" cy="81012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chemeClr val="bg1"/>
                </a:solidFill>
              </a:rPr>
              <a:t>A. I want to return an item.</a:t>
            </a:r>
          </a:p>
        </p:txBody>
      </p:sp>
      <p:sp>
        <p:nvSpPr>
          <p:cNvPr id="29" name="Rectangle: Rounded Corners 28">
            <a:extLst>
              <a:ext uri="{FF2B5EF4-FFF2-40B4-BE49-F238E27FC236}">
                <a16:creationId xmlns:a16="http://schemas.microsoft.com/office/drawing/2014/main" id="{08CF9691-F496-4C0C-B4D3-510778B339CB}"/>
              </a:ext>
            </a:extLst>
          </p:cNvPr>
          <p:cNvSpPr/>
          <p:nvPr/>
        </p:nvSpPr>
        <p:spPr bwMode="auto">
          <a:xfrm>
            <a:off x="597174" y="3391406"/>
            <a:ext cx="7562977" cy="81012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My mom was cooking last night when I came back home from school, and suddenly the refrigerator stopped working. Can I return it?</a:t>
            </a:r>
          </a:p>
        </p:txBody>
      </p:sp>
      <p:sp>
        <p:nvSpPr>
          <p:cNvPr id="30" name="Rectangle: Rounded Corners 29">
            <a:extLst>
              <a:ext uri="{FF2B5EF4-FFF2-40B4-BE49-F238E27FC236}">
                <a16:creationId xmlns:a16="http://schemas.microsoft.com/office/drawing/2014/main" id="{A99E9C7A-7174-4169-A315-4E6C7C5C7578}"/>
              </a:ext>
            </a:extLst>
          </p:cNvPr>
          <p:cNvSpPr/>
          <p:nvPr/>
        </p:nvSpPr>
        <p:spPr bwMode="auto">
          <a:xfrm>
            <a:off x="597174" y="4432995"/>
            <a:ext cx="7562977" cy="81012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C. I don't like any of the items I purchased from your store.</a:t>
            </a:r>
          </a:p>
        </p:txBody>
      </p:sp>
      <p:sp>
        <p:nvSpPr>
          <p:cNvPr id="24" name="Rectangle 23">
            <a:extLst>
              <a:ext uri="{FF2B5EF4-FFF2-40B4-BE49-F238E27FC236}">
                <a16:creationId xmlns:a16="http://schemas.microsoft.com/office/drawing/2014/main" id="{F172766B-05AE-4DB7-88CA-D8FE3B3DE1EF}"/>
              </a:ext>
            </a:extLst>
          </p:cNvPr>
          <p:cNvSpPr/>
          <p:nvPr/>
        </p:nvSpPr>
        <p:spPr bwMode="auto">
          <a:xfrm rot="5400000">
            <a:off x="9993816" y="1352880"/>
            <a:ext cx="631915" cy="2771523"/>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A</a:t>
            </a:r>
            <a:r>
              <a:rPr lang="en-US" sz="1372">
                <a:solidFill>
                  <a:schemeClr val="tx1"/>
                </a:solidFill>
                <a:ea typeface="Segoe UI" pitchFamily="34" charset="0"/>
                <a:cs typeface="Segoe UI" pitchFamily="34" charset="0"/>
              </a:rPr>
              <a:t> is the best because it's direct and simple</a:t>
            </a:r>
          </a:p>
        </p:txBody>
      </p:sp>
      <p:cxnSp>
        <p:nvCxnSpPr>
          <p:cNvPr id="33" name="Straight Connector 32">
            <a:extLst>
              <a:ext uri="{FF2B5EF4-FFF2-40B4-BE49-F238E27FC236}">
                <a16:creationId xmlns:a16="http://schemas.microsoft.com/office/drawing/2014/main" id="{07A5D4C3-F049-4E31-AA7B-35EABC255E55}"/>
              </a:ext>
            </a:extLst>
          </p:cNvPr>
          <p:cNvCxnSpPr>
            <a:cxnSpLocks/>
          </p:cNvCxnSpPr>
          <p:nvPr/>
        </p:nvCxnSpPr>
        <p:spPr>
          <a:xfrm flipH="1">
            <a:off x="8161020" y="3796468"/>
            <a:ext cx="762992"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25333BF-F8CA-46D2-B74B-421B5639960D}"/>
              </a:ext>
            </a:extLst>
          </p:cNvPr>
          <p:cNvCxnSpPr>
            <a:cxnSpLocks/>
          </p:cNvCxnSpPr>
          <p:nvPr/>
        </p:nvCxnSpPr>
        <p:spPr>
          <a:xfrm flipH="1">
            <a:off x="8168640" y="2723353"/>
            <a:ext cx="755371"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BA59405-1687-435D-9FB1-FB4413211494}"/>
              </a:ext>
            </a:extLst>
          </p:cNvPr>
          <p:cNvCxnSpPr>
            <a:cxnSpLocks/>
          </p:cNvCxnSpPr>
          <p:nvPr/>
        </p:nvCxnSpPr>
        <p:spPr>
          <a:xfrm flipH="1">
            <a:off x="8161020" y="4838057"/>
            <a:ext cx="762992"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677567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699A189-92C6-49BE-9971-C92DB628D440}"/>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267999"/>
            <a:ext cx="11306469" cy="1107996"/>
          </a:xfrm>
        </p:spPr>
        <p:txBody>
          <a:bodyPr anchor="ctr"/>
          <a:lstStyle/>
          <a:p>
            <a:pPr>
              <a:lnSpc>
                <a:spcPct val="100000"/>
              </a:lnSpc>
            </a:pPr>
            <a:r>
              <a:rPr lang="en-US">
                <a:cs typeface="Segoe UI"/>
              </a:rPr>
              <a:t>Q2: For the topic </a:t>
            </a:r>
            <a:r>
              <a:rPr lang="en-US">
                <a:solidFill>
                  <a:schemeClr val="tx2"/>
                </a:solidFill>
                <a:cs typeface="Segoe UI"/>
              </a:rPr>
              <a:t>“Return an item,” </a:t>
            </a:r>
            <a:r>
              <a:rPr lang="en-US">
                <a:cs typeface="Segoe UI"/>
              </a:rPr>
              <a:t>please select the good trigger phrases from below:</a:t>
            </a:r>
          </a:p>
        </p:txBody>
      </p:sp>
      <p:grpSp>
        <p:nvGrpSpPr>
          <p:cNvPr id="23" name="Group 22">
            <a:extLst>
              <a:ext uri="{FF2B5EF4-FFF2-40B4-BE49-F238E27FC236}">
                <a16:creationId xmlns:a16="http://schemas.microsoft.com/office/drawing/2014/main" id="{8F942407-94FA-47D5-AE73-868CCFD2C3AA}"/>
              </a:ext>
            </a:extLst>
          </p:cNvPr>
          <p:cNvGrpSpPr/>
          <p:nvPr/>
        </p:nvGrpSpPr>
        <p:grpSpPr>
          <a:xfrm>
            <a:off x="597174" y="1820128"/>
            <a:ext cx="7562977" cy="3952681"/>
            <a:chOff x="7521574" y="2400300"/>
            <a:chExt cx="3927475" cy="3160193"/>
          </a:xfrm>
          <a:solidFill>
            <a:schemeClr val="bg1">
              <a:lumMod val="85000"/>
            </a:schemeClr>
          </a:solidFill>
        </p:grpSpPr>
        <p:sp>
          <p:nvSpPr>
            <p:cNvPr id="26" name="Rectangle: Rounded Corners 25">
              <a:extLst>
                <a:ext uri="{FF2B5EF4-FFF2-40B4-BE49-F238E27FC236}">
                  <a16:creationId xmlns:a16="http://schemas.microsoft.com/office/drawing/2014/main" id="{6520D0C2-6E22-4BE1-B91C-56B18ACB27DD}"/>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rgbClr val="3C3C41"/>
                  </a:solidFill>
                </a:rPr>
                <a:t>A. What is your return policy?</a:t>
              </a:r>
            </a:p>
          </p:txBody>
        </p:sp>
        <p:sp>
          <p:nvSpPr>
            <p:cNvPr id="27" name="Rectangle: Rounded Corners 26">
              <a:extLst>
                <a:ext uri="{FF2B5EF4-FFF2-40B4-BE49-F238E27FC236}">
                  <a16:creationId xmlns:a16="http://schemas.microsoft.com/office/drawing/2014/main" id="{8CD6E960-A88F-4FB6-BAE0-12FA547AEB77}"/>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I want to return my refrigerator.</a:t>
              </a:r>
            </a:p>
          </p:txBody>
        </p:sp>
        <p:sp>
          <p:nvSpPr>
            <p:cNvPr id="28" name="Rectangle: Rounded Corners 27">
              <a:extLst>
                <a:ext uri="{FF2B5EF4-FFF2-40B4-BE49-F238E27FC236}">
                  <a16:creationId xmlns:a16="http://schemas.microsoft.com/office/drawing/2014/main" id="{9E803AFD-5F50-4C3C-86BE-DCB97E2F273E}"/>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C. How can I make a return?</a:t>
              </a:r>
            </a:p>
          </p:txBody>
        </p:sp>
        <p:sp>
          <p:nvSpPr>
            <p:cNvPr id="29" name="Rectangle: Rounded Corners 28">
              <a:extLst>
                <a:ext uri="{FF2B5EF4-FFF2-40B4-BE49-F238E27FC236}">
                  <a16:creationId xmlns:a16="http://schemas.microsoft.com/office/drawing/2014/main" id="{2F841151-2E80-48BA-A477-456B1CB2C21A}"/>
                </a:ext>
              </a:extLst>
            </p:cNvPr>
            <p:cNvSpPr/>
            <p:nvPr/>
          </p:nvSpPr>
          <p:spPr bwMode="auto">
            <a:xfrm>
              <a:off x="7521574" y="4912793"/>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D. I want to return an item.</a:t>
              </a:r>
            </a:p>
          </p:txBody>
        </p:sp>
      </p:grpSp>
    </p:spTree>
    <p:extLst>
      <p:ext uri="{BB962C8B-B14F-4D97-AF65-F5344CB8AC3E}">
        <p14:creationId xmlns:p14="http://schemas.microsoft.com/office/powerpoint/2010/main" val="296819666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A, B, C, D</a:t>
            </a:r>
          </a:p>
        </p:txBody>
      </p:sp>
      <p:sp>
        <p:nvSpPr>
          <p:cNvPr id="26" name="Rectangle 25">
            <a:extLst>
              <a:ext uri="{FF2B5EF4-FFF2-40B4-BE49-F238E27FC236}">
                <a16:creationId xmlns:a16="http://schemas.microsoft.com/office/drawing/2014/main" id="{C12DA166-922B-43A6-9CAC-88CBF65B32F5}"/>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F41A8E71-8C2F-4A1F-8C6F-676F6AE54445}"/>
              </a:ext>
            </a:extLst>
          </p:cNvPr>
          <p:cNvSpPr/>
          <p:nvPr/>
        </p:nvSpPr>
        <p:spPr bwMode="auto">
          <a:xfrm>
            <a:off x="597174" y="1820128"/>
            <a:ext cx="7562977" cy="81012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chemeClr val="bg1"/>
                </a:solidFill>
              </a:rPr>
              <a:t>A. What is your return policy?</a:t>
            </a:r>
          </a:p>
        </p:txBody>
      </p:sp>
      <p:sp>
        <p:nvSpPr>
          <p:cNvPr id="29" name="Rectangle: Rounded Corners 28">
            <a:extLst>
              <a:ext uri="{FF2B5EF4-FFF2-40B4-BE49-F238E27FC236}">
                <a16:creationId xmlns:a16="http://schemas.microsoft.com/office/drawing/2014/main" id="{1C8B5151-7642-4520-A79F-8431207B10A0}"/>
              </a:ext>
            </a:extLst>
          </p:cNvPr>
          <p:cNvSpPr/>
          <p:nvPr/>
        </p:nvSpPr>
        <p:spPr bwMode="auto">
          <a:xfrm>
            <a:off x="597174" y="2861717"/>
            <a:ext cx="7562977" cy="81012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B. I want to return my refrigerator.</a:t>
            </a:r>
          </a:p>
        </p:txBody>
      </p:sp>
      <p:sp>
        <p:nvSpPr>
          <p:cNvPr id="31" name="Rectangle: Rounded Corners 30">
            <a:extLst>
              <a:ext uri="{FF2B5EF4-FFF2-40B4-BE49-F238E27FC236}">
                <a16:creationId xmlns:a16="http://schemas.microsoft.com/office/drawing/2014/main" id="{A3F1A33F-A1D3-49E3-969E-84A55132C99B}"/>
              </a:ext>
            </a:extLst>
          </p:cNvPr>
          <p:cNvSpPr/>
          <p:nvPr/>
        </p:nvSpPr>
        <p:spPr bwMode="auto">
          <a:xfrm>
            <a:off x="597174" y="3903306"/>
            <a:ext cx="7562977" cy="81012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C. How can I make a return?</a:t>
            </a:r>
          </a:p>
        </p:txBody>
      </p:sp>
      <p:sp>
        <p:nvSpPr>
          <p:cNvPr id="32" name="Rectangle: Rounded Corners 31">
            <a:extLst>
              <a:ext uri="{FF2B5EF4-FFF2-40B4-BE49-F238E27FC236}">
                <a16:creationId xmlns:a16="http://schemas.microsoft.com/office/drawing/2014/main" id="{16BEB63F-089E-4F2B-8A36-5D5463464DE5}"/>
              </a:ext>
            </a:extLst>
          </p:cNvPr>
          <p:cNvSpPr/>
          <p:nvPr/>
        </p:nvSpPr>
        <p:spPr bwMode="auto">
          <a:xfrm>
            <a:off x="597174" y="4962684"/>
            <a:ext cx="7562977" cy="81012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D. I want to return an item.</a:t>
            </a:r>
          </a:p>
        </p:txBody>
      </p:sp>
      <p:sp>
        <p:nvSpPr>
          <p:cNvPr id="36" name="Rectangle 35">
            <a:extLst>
              <a:ext uri="{FF2B5EF4-FFF2-40B4-BE49-F238E27FC236}">
                <a16:creationId xmlns:a16="http://schemas.microsoft.com/office/drawing/2014/main" id="{E03937E7-65A2-4DC1-8EF8-6B7D5251181F}"/>
              </a:ext>
            </a:extLst>
          </p:cNvPr>
          <p:cNvSpPr/>
          <p:nvPr/>
        </p:nvSpPr>
        <p:spPr bwMode="auto">
          <a:xfrm>
            <a:off x="8841804" y="1756016"/>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A</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is good because it is simple and direct. However, you need to make sure your topic covers “return policy”</a:t>
            </a:r>
          </a:p>
        </p:txBody>
      </p:sp>
      <p:sp>
        <p:nvSpPr>
          <p:cNvPr id="38" name="Rectangle 37">
            <a:extLst>
              <a:ext uri="{FF2B5EF4-FFF2-40B4-BE49-F238E27FC236}">
                <a16:creationId xmlns:a16="http://schemas.microsoft.com/office/drawing/2014/main" id="{E5F68AC9-5DDD-406A-9563-D0DB5B65AFE8}"/>
              </a:ext>
            </a:extLst>
          </p:cNvPr>
          <p:cNvSpPr/>
          <p:nvPr/>
        </p:nvSpPr>
        <p:spPr bwMode="auto">
          <a:xfrm>
            <a:off x="8841804" y="2803535"/>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B</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is good because it is simple and direct. However, you need to make sure your topic covers “refrigerator”</a:t>
            </a:r>
          </a:p>
        </p:txBody>
      </p:sp>
      <p:sp>
        <p:nvSpPr>
          <p:cNvPr id="39" name="Rectangle 38">
            <a:extLst>
              <a:ext uri="{FF2B5EF4-FFF2-40B4-BE49-F238E27FC236}">
                <a16:creationId xmlns:a16="http://schemas.microsoft.com/office/drawing/2014/main" id="{46A98FF6-0678-4684-880D-ADB801D252BE}"/>
              </a:ext>
            </a:extLst>
          </p:cNvPr>
          <p:cNvSpPr/>
          <p:nvPr/>
        </p:nvSpPr>
        <p:spPr bwMode="auto">
          <a:xfrm>
            <a:off x="8841804" y="3851054"/>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C</a:t>
            </a:r>
            <a:r>
              <a:rPr lang="en-US" sz="1372">
                <a:solidFill>
                  <a:schemeClr val="tx1"/>
                </a:solidFill>
                <a:ea typeface="Segoe UI" pitchFamily="34" charset="0"/>
                <a:cs typeface="Segoe UI" pitchFamily="34" charset="0"/>
              </a:rPr>
              <a:t> is good because it covers another way to request a return -- use "return" as a noun</a:t>
            </a:r>
          </a:p>
        </p:txBody>
      </p:sp>
      <p:sp>
        <p:nvSpPr>
          <p:cNvPr id="41" name="Rectangle 40">
            <a:extLst>
              <a:ext uri="{FF2B5EF4-FFF2-40B4-BE49-F238E27FC236}">
                <a16:creationId xmlns:a16="http://schemas.microsoft.com/office/drawing/2014/main" id="{8E6E9956-BF01-4FD6-A0A4-D386BE912A7C}"/>
              </a:ext>
            </a:extLst>
          </p:cNvPr>
          <p:cNvSpPr/>
          <p:nvPr/>
        </p:nvSpPr>
        <p:spPr bwMode="auto">
          <a:xfrm>
            <a:off x="8841804" y="4898572"/>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D</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is good especially when your store has many items and you cannot list them all</a:t>
            </a:r>
          </a:p>
        </p:txBody>
      </p:sp>
      <p:cxnSp>
        <p:nvCxnSpPr>
          <p:cNvPr id="37" name="Straight Connector 36">
            <a:extLst>
              <a:ext uri="{FF2B5EF4-FFF2-40B4-BE49-F238E27FC236}">
                <a16:creationId xmlns:a16="http://schemas.microsoft.com/office/drawing/2014/main" id="{ACA1176B-ADD3-4C8C-B617-4E2246E23BD5}"/>
              </a:ext>
            </a:extLst>
          </p:cNvPr>
          <p:cNvCxnSpPr>
            <a:cxnSpLocks/>
            <a:stCxn id="36" idx="1"/>
            <a:endCxn id="28" idx="3"/>
          </p:cNvCxnSpPr>
          <p:nvPr/>
        </p:nvCxnSpPr>
        <p:spPr>
          <a:xfrm flipH="1">
            <a:off x="8160151" y="2225190"/>
            <a:ext cx="681653" cy="1"/>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789E8AA-EEF2-4948-B1E3-7890FC0BD1F3}"/>
              </a:ext>
            </a:extLst>
          </p:cNvPr>
          <p:cNvCxnSpPr>
            <a:cxnSpLocks/>
            <a:stCxn id="38" idx="1"/>
            <a:endCxn id="29" idx="3"/>
          </p:cNvCxnSpPr>
          <p:nvPr/>
        </p:nvCxnSpPr>
        <p:spPr>
          <a:xfrm flipH="1" flipV="1">
            <a:off x="8160151" y="3266780"/>
            <a:ext cx="681653" cy="5929"/>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BB84541-1567-41F5-87AE-2B30805863DC}"/>
              </a:ext>
            </a:extLst>
          </p:cNvPr>
          <p:cNvCxnSpPr>
            <a:cxnSpLocks/>
            <a:stCxn id="39" idx="1"/>
            <a:endCxn id="31" idx="3"/>
          </p:cNvCxnSpPr>
          <p:nvPr/>
        </p:nvCxnSpPr>
        <p:spPr>
          <a:xfrm flipH="1" flipV="1">
            <a:off x="8160151" y="4308369"/>
            <a:ext cx="681653" cy="11859"/>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E7E094-5530-4D0C-B97F-CF8448C9053B}"/>
              </a:ext>
            </a:extLst>
          </p:cNvPr>
          <p:cNvCxnSpPr>
            <a:cxnSpLocks/>
            <a:stCxn id="41" idx="1"/>
            <a:endCxn id="32" idx="3"/>
          </p:cNvCxnSpPr>
          <p:nvPr/>
        </p:nvCxnSpPr>
        <p:spPr>
          <a:xfrm flipH="1">
            <a:off x="8160151" y="5367746"/>
            <a:ext cx="681653" cy="1"/>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05654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a:xfrm>
            <a:off x="455995" y="267999"/>
            <a:ext cx="11306469" cy="1107996"/>
          </a:xfrm>
        </p:spPr>
        <p:txBody>
          <a:bodyPr anchor="ctr"/>
          <a:lstStyle/>
          <a:p>
            <a:pPr>
              <a:lnSpc>
                <a:spcPct val="100000"/>
              </a:lnSpc>
            </a:pPr>
            <a:r>
              <a:rPr lang="en-US"/>
              <a:t>Q3: For the topic </a:t>
            </a:r>
            <a:r>
              <a:rPr lang="en-US">
                <a:solidFill>
                  <a:schemeClr val="tx2"/>
                </a:solidFill>
              </a:rPr>
              <a:t>“Return an item,” </a:t>
            </a:r>
            <a:r>
              <a:rPr lang="en-US"/>
              <a:t>here is a sentence from real customer chatlogs.</a:t>
            </a:r>
          </a:p>
        </p:txBody>
      </p:sp>
      <p:sp>
        <p:nvSpPr>
          <p:cNvPr id="5" name="Title 13">
            <a:extLst>
              <a:ext uri="{FF2B5EF4-FFF2-40B4-BE49-F238E27FC236}">
                <a16:creationId xmlns:a16="http://schemas.microsoft.com/office/drawing/2014/main" id="{408BA1D7-C35C-42DE-85AD-6568ECC78A6F}"/>
              </a:ext>
            </a:extLst>
          </p:cNvPr>
          <p:cNvSpPr txBox="1">
            <a:spLocks/>
          </p:cNvSpPr>
          <p:nvPr/>
        </p:nvSpPr>
        <p:spPr>
          <a:xfrm>
            <a:off x="1663678" y="2992546"/>
            <a:ext cx="8470903" cy="1280187"/>
          </a:xfrm>
          <a:prstGeom prst="rect">
            <a:avLst/>
          </a:prstGeom>
          <a:ln w="6350">
            <a:noFill/>
          </a:ln>
        </p:spPr>
        <p:txBody>
          <a:bodyPr vert="horz" wrap="square" lIns="0" tIns="0" rIns="0" bIns="0" rtlCol="0" anchor="ctr">
            <a:no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nSpc>
                <a:spcPct val="100000"/>
              </a:lnSpc>
              <a:spcBef>
                <a:spcPts val="0"/>
              </a:spcBef>
              <a:spcAft>
                <a:spcPts val="588"/>
              </a:spcAft>
              <a:buSzPct val="90000"/>
            </a:pPr>
            <a:r>
              <a:rPr lang="en-US" sz="2745" i="1">
                <a:solidFill>
                  <a:schemeClr val="tx2"/>
                </a:solidFill>
                <a:cs typeface="+mn-cs"/>
              </a:rPr>
              <a:t>“I am a member of your store for over 5 years. I was wondering how to return items that I got yesterday. I don’t like the color.”</a:t>
            </a:r>
            <a:endParaRPr lang="en-US" sz="1765" i="1">
              <a:solidFill>
                <a:schemeClr val="tx2"/>
              </a:solidFill>
              <a:cs typeface="Segoe UI Semibold"/>
            </a:endParaRPr>
          </a:p>
        </p:txBody>
      </p:sp>
      <p:sp>
        <p:nvSpPr>
          <p:cNvPr id="3" name="Freeform: Shape 2">
            <a:extLst>
              <a:ext uri="{FF2B5EF4-FFF2-40B4-BE49-F238E27FC236}">
                <a16:creationId xmlns:a16="http://schemas.microsoft.com/office/drawing/2014/main" id="{73CC8171-F200-4922-BEE1-8592ED0FF9BB}"/>
              </a:ext>
            </a:extLst>
          </p:cNvPr>
          <p:cNvSpPr/>
          <p:nvPr/>
        </p:nvSpPr>
        <p:spPr bwMode="auto">
          <a:xfrm>
            <a:off x="1033379" y="2504784"/>
            <a:ext cx="9499613" cy="3137487"/>
          </a:xfrm>
          <a:custGeom>
            <a:avLst/>
            <a:gdLst>
              <a:gd name="connsiteX0" fmla="*/ 0 w 9105900"/>
              <a:gd name="connsiteY0" fmla="*/ 0 h 3352800"/>
              <a:gd name="connsiteX1" fmla="*/ 0 w 9105900"/>
              <a:gd name="connsiteY1" fmla="*/ 2235200 h 3352800"/>
              <a:gd name="connsiteX2" fmla="*/ 6731000 w 9105900"/>
              <a:gd name="connsiteY2" fmla="*/ 2654300 h 3352800"/>
              <a:gd name="connsiteX3" fmla="*/ 7416800 w 9105900"/>
              <a:gd name="connsiteY3" fmla="*/ 3352800 h 3352800"/>
              <a:gd name="connsiteX4" fmla="*/ 7416800 w 9105900"/>
              <a:gd name="connsiteY4" fmla="*/ 2641600 h 3352800"/>
              <a:gd name="connsiteX5" fmla="*/ 9105900 w 9105900"/>
              <a:gd name="connsiteY5" fmla="*/ 2082800 h 3352800"/>
              <a:gd name="connsiteX6" fmla="*/ 9105900 w 9105900"/>
              <a:gd name="connsiteY6" fmla="*/ 1270000 h 3352800"/>
              <a:gd name="connsiteX0" fmla="*/ 0 w 9105900"/>
              <a:gd name="connsiteY0" fmla="*/ 0 h 3200400"/>
              <a:gd name="connsiteX1" fmla="*/ 0 w 9105900"/>
              <a:gd name="connsiteY1" fmla="*/ 2235200 h 3200400"/>
              <a:gd name="connsiteX2" fmla="*/ 6731000 w 9105900"/>
              <a:gd name="connsiteY2" fmla="*/ 2654300 h 3200400"/>
              <a:gd name="connsiteX3" fmla="*/ 7416800 w 9105900"/>
              <a:gd name="connsiteY3" fmla="*/ 3200400 h 3200400"/>
              <a:gd name="connsiteX4" fmla="*/ 7416800 w 9105900"/>
              <a:gd name="connsiteY4" fmla="*/ 2641600 h 3200400"/>
              <a:gd name="connsiteX5" fmla="*/ 9105900 w 9105900"/>
              <a:gd name="connsiteY5" fmla="*/ 2082800 h 3200400"/>
              <a:gd name="connsiteX6" fmla="*/ 9105900 w 9105900"/>
              <a:gd name="connsiteY6" fmla="*/ 127000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5900" h="3200400">
                <a:moveTo>
                  <a:pt x="0" y="0"/>
                </a:moveTo>
                <a:lnTo>
                  <a:pt x="0" y="2235200"/>
                </a:lnTo>
                <a:lnTo>
                  <a:pt x="6731000" y="2654300"/>
                </a:lnTo>
                <a:lnTo>
                  <a:pt x="7416800" y="3200400"/>
                </a:lnTo>
                <a:lnTo>
                  <a:pt x="7416800" y="2641600"/>
                </a:lnTo>
                <a:lnTo>
                  <a:pt x="9105900" y="2082800"/>
                </a:lnTo>
                <a:lnTo>
                  <a:pt x="9105900" y="1270000"/>
                </a:lnTo>
              </a:path>
            </a:pathLst>
          </a:custGeom>
          <a:noFill/>
          <a:ln>
            <a:solidFill>
              <a:schemeClr val="tx2"/>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sp>
        <p:nvSpPr>
          <p:cNvPr id="8" name="Rectangle 7">
            <a:extLst>
              <a:ext uri="{FF2B5EF4-FFF2-40B4-BE49-F238E27FC236}">
                <a16:creationId xmlns:a16="http://schemas.microsoft.com/office/drawing/2014/main" id="{D115C10E-E2C3-4D97-BD36-259E91F886F6}"/>
              </a:ext>
            </a:extLst>
          </p:cNvPr>
          <p:cNvSpPr/>
          <p:nvPr/>
        </p:nvSpPr>
        <p:spPr>
          <a:xfrm>
            <a:off x="455994" y="1541622"/>
            <a:ext cx="7428165" cy="430887"/>
          </a:xfrm>
          <a:prstGeom prst="rect">
            <a:avLst/>
          </a:prstGeom>
        </p:spPr>
        <p:txBody>
          <a:bodyPr wrap="square" lIns="0" tIns="0" rIns="0" bIns="0">
            <a:spAutoFit/>
          </a:bodyPr>
          <a:lstStyle/>
          <a:p>
            <a:r>
              <a:rPr lang="en-US" sz="2800" spc="-49">
                <a:ln w="3175">
                  <a:noFill/>
                </a:ln>
                <a:solidFill>
                  <a:schemeClr val="tx2"/>
                </a:solidFill>
                <a:latin typeface="Segoe UI Semibold"/>
                <a:cs typeface="Segoe UI" pitchFamily="34" charset="0"/>
              </a:rPr>
              <a:t>Write some trigger phrases for it:</a:t>
            </a:r>
            <a:endParaRPr lang="en-US" sz="1400">
              <a:solidFill>
                <a:schemeClr val="tx2"/>
              </a:solidFill>
            </a:endParaRPr>
          </a:p>
        </p:txBody>
      </p:sp>
    </p:spTree>
    <p:extLst>
      <p:ext uri="{BB962C8B-B14F-4D97-AF65-F5344CB8AC3E}">
        <p14:creationId xmlns:p14="http://schemas.microsoft.com/office/powerpoint/2010/main" val="265035283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p:txBody>
          <a:bodyPr/>
          <a:lstStyle/>
          <a:p>
            <a:r>
              <a:rPr lang="en-US"/>
              <a:t>Answer:</a:t>
            </a:r>
          </a:p>
        </p:txBody>
      </p:sp>
      <p:sp>
        <p:nvSpPr>
          <p:cNvPr id="10" name="Content Placeholder 2">
            <a:extLst>
              <a:ext uri="{FF2B5EF4-FFF2-40B4-BE49-F238E27FC236}">
                <a16:creationId xmlns:a16="http://schemas.microsoft.com/office/drawing/2014/main" id="{70A0249F-4ABB-4E05-8A36-736BB9BDB9E8}"/>
              </a:ext>
            </a:extLst>
          </p:cNvPr>
          <p:cNvSpPr txBox="1">
            <a:spLocks/>
          </p:cNvSpPr>
          <p:nvPr/>
        </p:nvSpPr>
        <p:spPr>
          <a:xfrm>
            <a:off x="466889" y="1177046"/>
            <a:ext cx="11586710" cy="5235369"/>
          </a:xfrm>
          <a:prstGeom prst="rect">
            <a:avLst/>
          </a:prstGeom>
          <a:solidFill>
            <a:schemeClr val="bg1">
              <a:lumMod val="95000"/>
            </a:schemeClr>
          </a:solidFill>
        </p:spPr>
        <p:txBody>
          <a:bodyPr wrap="square" lIns="179285" tIns="179285" rIns="179285" bIns="179285" anchor="t">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1765">
                <a:cs typeface="Segoe UI"/>
              </a:rPr>
              <a:t>Step 1:</a:t>
            </a:r>
            <a:r>
              <a:rPr lang="en-US" sz="1765">
                <a:latin typeface="Segoe UI"/>
                <a:cs typeface="Segoe UI"/>
              </a:rPr>
              <a:t> Remove all irrelevant parts, and keep words relevant to the goals of the topic</a:t>
            </a:r>
            <a:endParaRPr lang="en-US" sz="1961">
              <a:latin typeface="Segoe UI"/>
              <a:cs typeface="Segoe UI"/>
            </a:endParaRPr>
          </a:p>
          <a:p>
            <a:pPr lvl="2">
              <a:spcAft>
                <a:spcPts val="1176"/>
              </a:spcAft>
            </a:pPr>
            <a:r>
              <a:rPr lang="en-US" sz="1765" i="1" strike="sngStrike">
                <a:latin typeface="+mn-lt"/>
                <a:cs typeface="Segoe UI"/>
              </a:rPr>
              <a:t>“I am a member of your store for over 5 years. I was wondering </a:t>
            </a:r>
            <a:r>
              <a:rPr lang="en-US" sz="1765" i="1">
                <a:solidFill>
                  <a:srgbClr val="14848F"/>
                </a:solidFill>
                <a:cs typeface="Segoe UI"/>
              </a:rPr>
              <a:t>how to</a:t>
            </a:r>
            <a:br>
              <a:rPr lang="en-US" sz="1765" i="1" strike="sngStrike">
                <a:solidFill>
                  <a:srgbClr val="14848F"/>
                </a:solidFill>
                <a:latin typeface="+mn-lt"/>
                <a:cs typeface="Segoe UI"/>
              </a:rPr>
            </a:br>
            <a:r>
              <a:rPr lang="en-US" sz="1765" i="1">
                <a:solidFill>
                  <a:srgbClr val="14848F"/>
                </a:solidFill>
                <a:cs typeface="Segoe UI"/>
              </a:rPr>
              <a:t>return items that I got yesterday</a:t>
            </a:r>
            <a:r>
              <a:rPr lang="en-US" sz="1765" i="1">
                <a:latin typeface="+mn-lt"/>
                <a:cs typeface="Segoe UI"/>
              </a:rPr>
              <a:t>. </a:t>
            </a:r>
            <a:r>
              <a:rPr lang="en-US" sz="1765" i="1" strike="sngStrike">
                <a:latin typeface="+mn-lt"/>
                <a:cs typeface="Segoe UI"/>
              </a:rPr>
              <a:t>I don’t like the color.”</a:t>
            </a:r>
            <a:endParaRPr lang="en-US" sz="1765" i="1">
              <a:latin typeface="+mn-lt"/>
              <a:cs typeface="Segoe UI" panose="020B0502040204020203" pitchFamily="34" charset="0"/>
            </a:endParaRPr>
          </a:p>
          <a:p>
            <a:pPr>
              <a:spcAft>
                <a:spcPts val="2353"/>
              </a:spcAft>
            </a:pPr>
            <a:r>
              <a:rPr lang="en-US" sz="1765">
                <a:solidFill>
                  <a:srgbClr val="3C3C41"/>
                </a:solidFill>
                <a:cs typeface="Segoe UI"/>
              </a:rPr>
              <a:t>Step 2:</a:t>
            </a:r>
            <a:r>
              <a:rPr lang="en-US" sz="1961">
                <a:solidFill>
                  <a:srgbClr val="3C3C41"/>
                </a:solidFill>
                <a:latin typeface="Segoe UI"/>
                <a:cs typeface="Segoe UI"/>
              </a:rPr>
              <a:t> </a:t>
            </a:r>
            <a:r>
              <a:rPr lang="en-US" sz="1765">
                <a:latin typeface="+mn-lt"/>
                <a:cs typeface="Segoe UI"/>
              </a:rPr>
              <a:t>Add new trigger phrases with different keywords</a:t>
            </a:r>
          </a:p>
          <a:p>
            <a:pPr>
              <a:spcAft>
                <a:spcPts val="2353"/>
              </a:spcAft>
            </a:pPr>
            <a:endParaRPr lang="en-US" sz="1765">
              <a:latin typeface="+mn-lt"/>
              <a:cs typeface="Segoe UI"/>
            </a:endParaRPr>
          </a:p>
          <a:p>
            <a:pPr>
              <a:spcAft>
                <a:spcPts val="1765"/>
              </a:spcAft>
            </a:pPr>
            <a:endParaRPr lang="en-US" sz="1765">
              <a:latin typeface="+mn-lt"/>
              <a:cs typeface="Segoe UI"/>
            </a:endParaRPr>
          </a:p>
          <a:p>
            <a:pPr>
              <a:spcAft>
                <a:spcPts val="980"/>
              </a:spcAft>
            </a:pPr>
            <a:endParaRPr lang="en-US" sz="1765">
              <a:latin typeface="+mn-lt"/>
              <a:cs typeface="Segoe UI"/>
            </a:endParaRPr>
          </a:p>
          <a:p>
            <a:pPr>
              <a:spcAft>
                <a:spcPts val="1176"/>
              </a:spcAft>
            </a:pPr>
            <a:r>
              <a:rPr lang="en-US" sz="1765">
                <a:latin typeface="+mn-lt"/>
                <a:cs typeface="Segoe UI" panose="020B0502040204020203" pitchFamily="34" charset="0"/>
              </a:rPr>
              <a:t>After that, we can produce 5 good trigger phrases:</a:t>
            </a:r>
          </a:p>
        </p:txBody>
      </p:sp>
      <p:grpSp>
        <p:nvGrpSpPr>
          <p:cNvPr id="35" name="Group 34">
            <a:extLst>
              <a:ext uri="{FF2B5EF4-FFF2-40B4-BE49-F238E27FC236}">
                <a16:creationId xmlns:a16="http://schemas.microsoft.com/office/drawing/2014/main" id="{D016B81E-A773-4266-A595-493F006DA783}"/>
              </a:ext>
            </a:extLst>
          </p:cNvPr>
          <p:cNvGrpSpPr/>
          <p:nvPr/>
        </p:nvGrpSpPr>
        <p:grpSpPr>
          <a:xfrm>
            <a:off x="6309490" y="3070083"/>
            <a:ext cx="5617703" cy="3030953"/>
            <a:chOff x="579263" y="3320816"/>
            <a:chExt cx="5730350" cy="3091730"/>
          </a:xfrm>
        </p:grpSpPr>
        <p:sp>
          <p:nvSpPr>
            <p:cNvPr id="27" name="Oval 26">
              <a:extLst>
                <a:ext uri="{FF2B5EF4-FFF2-40B4-BE49-F238E27FC236}">
                  <a16:creationId xmlns:a16="http://schemas.microsoft.com/office/drawing/2014/main" id="{595CF732-C423-411A-B79F-752CB00593FC}"/>
                </a:ext>
              </a:extLst>
            </p:cNvPr>
            <p:cNvSpPr/>
            <p:nvPr/>
          </p:nvSpPr>
          <p:spPr bwMode="auto">
            <a:xfrm>
              <a:off x="579263" y="3320816"/>
              <a:ext cx="473767" cy="473439"/>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a:solidFill>
                    <a:schemeClr val="tx1"/>
                  </a:solidFill>
                  <a:latin typeface="+mj-lt"/>
                  <a:ea typeface="Segoe UI" pitchFamily="34" charset="0"/>
                  <a:cs typeface="Segoe UI" pitchFamily="34" charset="0"/>
                </a:rPr>
                <a:t>1</a:t>
              </a:r>
            </a:p>
          </p:txBody>
        </p:sp>
        <p:sp>
          <p:nvSpPr>
            <p:cNvPr id="28" name="Rectangle 27">
              <a:extLst>
                <a:ext uri="{FF2B5EF4-FFF2-40B4-BE49-F238E27FC236}">
                  <a16:creationId xmlns:a16="http://schemas.microsoft.com/office/drawing/2014/main" id="{298782B8-452A-418E-AFAB-09191BFAFDDD}"/>
                </a:ext>
              </a:extLst>
            </p:cNvPr>
            <p:cNvSpPr/>
            <p:nvPr/>
          </p:nvSpPr>
          <p:spPr>
            <a:xfrm>
              <a:off x="1053030" y="3421753"/>
              <a:ext cx="5256583" cy="271565"/>
            </a:xfrm>
            <a:prstGeom prst="rect">
              <a:avLst/>
            </a:prstGeom>
          </p:spPr>
          <p:txBody>
            <a:bodyPr wrap="none" lIns="89642" tIns="0" rIns="0" bIns="0" anchor="ctr">
              <a:spAutoFit/>
            </a:bodyPr>
            <a:lstStyle/>
            <a:p>
              <a:pPr defTabSz="448193">
                <a:spcAft>
                  <a:spcPts val="588"/>
                </a:spcAft>
              </a:pPr>
              <a:r>
                <a:rPr lang="en-US" sz="1730"/>
                <a:t>How to return </a:t>
              </a:r>
              <a:r>
                <a:rPr lang="en-US" sz="1730">
                  <a:highlight>
                    <a:srgbClr val="FFFF00"/>
                  </a:highlight>
                </a:rPr>
                <a:t>something</a:t>
              </a:r>
              <a:r>
                <a:rPr lang="en-US" sz="1730"/>
                <a:t> that I </a:t>
              </a:r>
              <a:r>
                <a:rPr lang="en-US" sz="1730">
                  <a:highlight>
                    <a:srgbClr val="FFFF00"/>
                  </a:highlight>
                </a:rPr>
                <a:t>purchased</a:t>
              </a:r>
              <a:r>
                <a:rPr lang="en-US" sz="1730"/>
                <a:t> last week</a:t>
              </a:r>
            </a:p>
          </p:txBody>
        </p:sp>
        <p:sp>
          <p:nvSpPr>
            <p:cNvPr id="25" name="Oval 24">
              <a:extLst>
                <a:ext uri="{FF2B5EF4-FFF2-40B4-BE49-F238E27FC236}">
                  <a16:creationId xmlns:a16="http://schemas.microsoft.com/office/drawing/2014/main" id="{68F76FE3-E98F-4937-B5D5-850A6F5C37BD}"/>
                </a:ext>
              </a:extLst>
            </p:cNvPr>
            <p:cNvSpPr/>
            <p:nvPr/>
          </p:nvSpPr>
          <p:spPr bwMode="auto">
            <a:xfrm>
              <a:off x="579263" y="3975389"/>
              <a:ext cx="473767" cy="473439"/>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a:solidFill>
                    <a:schemeClr val="tx1"/>
                  </a:solidFill>
                  <a:latin typeface="+mj-lt"/>
                  <a:ea typeface="Segoe UI" pitchFamily="34" charset="0"/>
                  <a:cs typeface="Segoe UI" pitchFamily="34" charset="0"/>
                </a:rPr>
                <a:t>2</a:t>
              </a:r>
            </a:p>
          </p:txBody>
        </p:sp>
        <p:sp>
          <p:nvSpPr>
            <p:cNvPr id="26" name="Rectangle 25">
              <a:extLst>
                <a:ext uri="{FF2B5EF4-FFF2-40B4-BE49-F238E27FC236}">
                  <a16:creationId xmlns:a16="http://schemas.microsoft.com/office/drawing/2014/main" id="{2CA61603-5A5E-4F65-8ECA-05C11595AD1C}"/>
                </a:ext>
              </a:extLst>
            </p:cNvPr>
            <p:cNvSpPr/>
            <p:nvPr/>
          </p:nvSpPr>
          <p:spPr>
            <a:xfrm>
              <a:off x="1053029" y="4076327"/>
              <a:ext cx="5175234" cy="271565"/>
            </a:xfrm>
            <a:prstGeom prst="rect">
              <a:avLst/>
            </a:prstGeom>
          </p:spPr>
          <p:txBody>
            <a:bodyPr wrap="square" lIns="89642" tIns="0" rIns="0" bIns="0" anchor="ctr">
              <a:spAutoFit/>
            </a:bodyPr>
            <a:lstStyle/>
            <a:p>
              <a:pPr defTabSz="448193">
                <a:spcAft>
                  <a:spcPts val="588"/>
                </a:spcAft>
              </a:pPr>
              <a:r>
                <a:rPr lang="en-US" sz="1730"/>
                <a:t>How to return </a:t>
              </a:r>
              <a:r>
                <a:rPr lang="en-US" sz="1730">
                  <a:highlight>
                    <a:srgbClr val="FFFF00"/>
                  </a:highlight>
                </a:rPr>
                <a:t>something</a:t>
              </a:r>
              <a:r>
                <a:rPr lang="en-US" sz="1730"/>
                <a:t> that I </a:t>
              </a:r>
              <a:r>
                <a:rPr lang="en-US" sz="1730">
                  <a:highlight>
                    <a:srgbClr val="FFFF00"/>
                  </a:highlight>
                </a:rPr>
                <a:t>bought</a:t>
              </a:r>
              <a:r>
                <a:rPr lang="en-US" sz="1730"/>
                <a:t> yesterday</a:t>
              </a:r>
            </a:p>
          </p:txBody>
        </p:sp>
        <p:sp>
          <p:nvSpPr>
            <p:cNvPr id="23" name="Oval 22">
              <a:extLst>
                <a:ext uri="{FF2B5EF4-FFF2-40B4-BE49-F238E27FC236}">
                  <a16:creationId xmlns:a16="http://schemas.microsoft.com/office/drawing/2014/main" id="{D4670648-AAC5-48EF-97E3-416828F18097}"/>
                </a:ext>
              </a:extLst>
            </p:cNvPr>
            <p:cNvSpPr/>
            <p:nvPr/>
          </p:nvSpPr>
          <p:spPr bwMode="auto">
            <a:xfrm>
              <a:off x="579263" y="4629962"/>
              <a:ext cx="473767" cy="473439"/>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a:solidFill>
                    <a:schemeClr val="tx1"/>
                  </a:solidFill>
                  <a:latin typeface="+mj-lt"/>
                  <a:ea typeface="Segoe UI" pitchFamily="34" charset="0"/>
                  <a:cs typeface="Segoe UI" pitchFamily="34" charset="0"/>
                </a:rPr>
                <a:t>3</a:t>
              </a:r>
            </a:p>
          </p:txBody>
        </p:sp>
        <p:sp>
          <p:nvSpPr>
            <p:cNvPr id="24" name="Rectangle 23">
              <a:extLst>
                <a:ext uri="{FF2B5EF4-FFF2-40B4-BE49-F238E27FC236}">
                  <a16:creationId xmlns:a16="http://schemas.microsoft.com/office/drawing/2014/main" id="{7E863BF0-AB5C-401F-8229-6B5F1B9E3EC3}"/>
                </a:ext>
              </a:extLst>
            </p:cNvPr>
            <p:cNvSpPr/>
            <p:nvPr/>
          </p:nvSpPr>
          <p:spPr>
            <a:xfrm>
              <a:off x="1053030" y="4730899"/>
              <a:ext cx="2423987" cy="271565"/>
            </a:xfrm>
            <a:prstGeom prst="rect">
              <a:avLst/>
            </a:prstGeom>
          </p:spPr>
          <p:txBody>
            <a:bodyPr wrap="none" lIns="89642" tIns="0" rIns="0" bIns="0" anchor="ctr">
              <a:spAutoFit/>
            </a:bodyPr>
            <a:lstStyle/>
            <a:p>
              <a:pPr defTabSz="448193">
                <a:spcAft>
                  <a:spcPts val="588"/>
                </a:spcAft>
              </a:pPr>
              <a:r>
                <a:rPr lang="en-US" sz="1730"/>
                <a:t>How to return </a:t>
              </a:r>
              <a:r>
                <a:rPr lang="en-US" sz="1730">
                  <a:highlight>
                    <a:srgbClr val="FFFF00"/>
                  </a:highlight>
                </a:rPr>
                <a:t>products</a:t>
              </a:r>
            </a:p>
          </p:txBody>
        </p:sp>
        <p:sp>
          <p:nvSpPr>
            <p:cNvPr id="21" name="Oval 20">
              <a:extLst>
                <a:ext uri="{FF2B5EF4-FFF2-40B4-BE49-F238E27FC236}">
                  <a16:creationId xmlns:a16="http://schemas.microsoft.com/office/drawing/2014/main" id="{1E4F8E7D-F462-428B-9949-BA7307516BD1}"/>
                </a:ext>
              </a:extLst>
            </p:cNvPr>
            <p:cNvSpPr/>
            <p:nvPr/>
          </p:nvSpPr>
          <p:spPr bwMode="auto">
            <a:xfrm>
              <a:off x="579263" y="5284535"/>
              <a:ext cx="473767" cy="473439"/>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a:solidFill>
                    <a:schemeClr val="tx1"/>
                  </a:solidFill>
                  <a:latin typeface="+mj-lt"/>
                  <a:ea typeface="Segoe UI" pitchFamily="34" charset="0"/>
                  <a:cs typeface="Segoe UI" pitchFamily="34" charset="0"/>
                </a:rPr>
                <a:t>4</a:t>
              </a:r>
            </a:p>
          </p:txBody>
        </p:sp>
        <p:sp>
          <p:nvSpPr>
            <p:cNvPr id="22" name="Rectangle 21">
              <a:extLst>
                <a:ext uri="{FF2B5EF4-FFF2-40B4-BE49-F238E27FC236}">
                  <a16:creationId xmlns:a16="http://schemas.microsoft.com/office/drawing/2014/main" id="{43CD83BC-92F9-484B-8747-0746D3F1F5D4}"/>
                </a:ext>
              </a:extLst>
            </p:cNvPr>
            <p:cNvSpPr/>
            <p:nvPr/>
          </p:nvSpPr>
          <p:spPr>
            <a:xfrm>
              <a:off x="1053030" y="5385473"/>
              <a:ext cx="2180284" cy="271565"/>
            </a:xfrm>
            <a:prstGeom prst="rect">
              <a:avLst/>
            </a:prstGeom>
          </p:spPr>
          <p:txBody>
            <a:bodyPr wrap="none" lIns="89642" tIns="0" rIns="0" bIns="0" anchor="ctr">
              <a:spAutoFit/>
            </a:bodyPr>
            <a:lstStyle/>
            <a:p>
              <a:pPr defTabSz="448193">
                <a:spcAft>
                  <a:spcPts val="588"/>
                </a:spcAft>
              </a:pPr>
              <a:r>
                <a:rPr lang="en-US" sz="1730"/>
                <a:t>How to return </a:t>
              </a:r>
              <a:r>
                <a:rPr lang="en-US" sz="1730">
                  <a:highlight>
                    <a:srgbClr val="FFFF00"/>
                  </a:highlight>
                </a:rPr>
                <a:t>orders</a:t>
              </a:r>
            </a:p>
          </p:txBody>
        </p:sp>
        <p:sp>
          <p:nvSpPr>
            <p:cNvPr id="19" name="Oval 18">
              <a:extLst>
                <a:ext uri="{FF2B5EF4-FFF2-40B4-BE49-F238E27FC236}">
                  <a16:creationId xmlns:a16="http://schemas.microsoft.com/office/drawing/2014/main" id="{B1BB9E8C-25B6-4845-923A-1CAADCB927B0}"/>
                </a:ext>
              </a:extLst>
            </p:cNvPr>
            <p:cNvSpPr/>
            <p:nvPr/>
          </p:nvSpPr>
          <p:spPr bwMode="auto">
            <a:xfrm>
              <a:off x="579263" y="5939107"/>
              <a:ext cx="473767" cy="473439"/>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a:solidFill>
                    <a:schemeClr val="tx1"/>
                  </a:solidFill>
                  <a:latin typeface="+mj-lt"/>
                  <a:ea typeface="Segoe UI" pitchFamily="34" charset="0"/>
                  <a:cs typeface="Segoe UI" pitchFamily="34" charset="0"/>
                </a:rPr>
                <a:t>5</a:t>
              </a:r>
            </a:p>
          </p:txBody>
        </p:sp>
        <p:sp>
          <p:nvSpPr>
            <p:cNvPr id="20" name="Rectangle 19">
              <a:extLst>
                <a:ext uri="{FF2B5EF4-FFF2-40B4-BE49-F238E27FC236}">
                  <a16:creationId xmlns:a16="http://schemas.microsoft.com/office/drawing/2014/main" id="{80FECDDD-28A0-4588-A8A6-79B6EF9F759E}"/>
                </a:ext>
              </a:extLst>
            </p:cNvPr>
            <p:cNvSpPr/>
            <p:nvPr/>
          </p:nvSpPr>
          <p:spPr>
            <a:xfrm>
              <a:off x="1053030" y="6040044"/>
              <a:ext cx="4079016" cy="271565"/>
            </a:xfrm>
            <a:prstGeom prst="rect">
              <a:avLst/>
            </a:prstGeom>
          </p:spPr>
          <p:txBody>
            <a:bodyPr wrap="none" lIns="89642" tIns="0" rIns="0" bIns="0" anchor="ctr">
              <a:spAutoFit/>
            </a:bodyPr>
            <a:lstStyle/>
            <a:p>
              <a:pPr defTabSz="448193">
                <a:spcAft>
                  <a:spcPts val="588"/>
                </a:spcAft>
              </a:pPr>
              <a:r>
                <a:rPr lang="en-US" sz="1730"/>
                <a:t>How to return </a:t>
              </a:r>
              <a:r>
                <a:rPr lang="en-US" sz="1730">
                  <a:highlight>
                    <a:srgbClr val="FFFF00"/>
                  </a:highlight>
                </a:rPr>
                <a:t>items</a:t>
              </a:r>
              <a:r>
                <a:rPr lang="en-US" sz="1730"/>
                <a:t> that I got yesterday</a:t>
              </a:r>
            </a:p>
          </p:txBody>
        </p:sp>
      </p:grpSp>
      <p:sp>
        <p:nvSpPr>
          <p:cNvPr id="38" name="Right Brace 37">
            <a:extLst>
              <a:ext uri="{FF2B5EF4-FFF2-40B4-BE49-F238E27FC236}">
                <a16:creationId xmlns:a16="http://schemas.microsoft.com/office/drawing/2014/main" id="{2460422D-0361-4BB2-9EB4-109797134E7A}"/>
              </a:ext>
            </a:extLst>
          </p:cNvPr>
          <p:cNvSpPr/>
          <p:nvPr/>
        </p:nvSpPr>
        <p:spPr>
          <a:xfrm rot="10800000">
            <a:off x="5490635" y="3302148"/>
            <a:ext cx="507319" cy="2554670"/>
          </a:xfrm>
          <a:prstGeom prst="rightBrace">
            <a:avLst>
              <a:gd name="adj1" fmla="val 0"/>
              <a:gd name="adj2" fmla="val 49372"/>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Tree>
    <p:extLst>
      <p:ext uri="{BB962C8B-B14F-4D97-AF65-F5344CB8AC3E}">
        <p14:creationId xmlns:p14="http://schemas.microsoft.com/office/powerpoint/2010/main" val="346103708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267999"/>
            <a:ext cx="11306469" cy="1107996"/>
          </a:xfrm>
        </p:spPr>
        <p:txBody>
          <a:bodyPr anchor="ctr"/>
          <a:lstStyle/>
          <a:p>
            <a:pPr>
              <a:lnSpc>
                <a:spcPct val="100000"/>
              </a:lnSpc>
            </a:pPr>
            <a:r>
              <a:rPr lang="en-US"/>
              <a:t>Q4: For the </a:t>
            </a:r>
            <a:r>
              <a:rPr lang="en-US">
                <a:solidFill>
                  <a:schemeClr val="tx2"/>
                </a:solidFill>
              </a:rPr>
              <a:t>“Return an item”</a:t>
            </a:r>
            <a:r>
              <a:rPr lang="en-US"/>
              <a:t> topic, which trigger phrases below should you include as a start?</a:t>
            </a:r>
          </a:p>
        </p:txBody>
      </p:sp>
      <p:sp>
        <p:nvSpPr>
          <p:cNvPr id="28" name="Rectangle 27">
            <a:extLst>
              <a:ext uri="{FF2B5EF4-FFF2-40B4-BE49-F238E27FC236}">
                <a16:creationId xmlns:a16="http://schemas.microsoft.com/office/drawing/2014/main" id="{B2D3925A-C3F8-4C8B-BB0C-5E3CD33620B1}"/>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0DC5FBA9-EB2D-4CBD-A99A-C55CC8526A3F}"/>
              </a:ext>
            </a:extLst>
          </p:cNvPr>
          <p:cNvSpPr/>
          <p:nvPr/>
        </p:nvSpPr>
        <p:spPr bwMode="auto">
          <a:xfrm>
            <a:off x="597174" y="1820128"/>
            <a:ext cx="7562977" cy="656387"/>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chemeClr val="tx1"/>
                </a:solidFill>
              </a:rPr>
              <a:t>1. I want to return an item</a:t>
            </a:r>
          </a:p>
        </p:txBody>
      </p:sp>
      <p:sp>
        <p:nvSpPr>
          <p:cNvPr id="30" name="Rectangle: Rounded Corners 29">
            <a:extLst>
              <a:ext uri="{FF2B5EF4-FFF2-40B4-BE49-F238E27FC236}">
                <a16:creationId xmlns:a16="http://schemas.microsoft.com/office/drawing/2014/main" id="{AAA2DDF7-3872-4925-9C8E-C2DF29745F13}"/>
              </a:ext>
            </a:extLst>
          </p:cNvPr>
          <p:cNvSpPr/>
          <p:nvPr/>
        </p:nvSpPr>
        <p:spPr bwMode="auto">
          <a:xfrm>
            <a:off x="597174" y="2662303"/>
            <a:ext cx="7562977" cy="656387"/>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2. I want to return items</a:t>
            </a:r>
          </a:p>
        </p:txBody>
      </p:sp>
      <p:sp>
        <p:nvSpPr>
          <p:cNvPr id="31" name="Rectangle: Rounded Corners 30">
            <a:extLst>
              <a:ext uri="{FF2B5EF4-FFF2-40B4-BE49-F238E27FC236}">
                <a16:creationId xmlns:a16="http://schemas.microsoft.com/office/drawing/2014/main" id="{06E14714-7E89-4ACE-8BDA-8054FE278CCA}"/>
              </a:ext>
            </a:extLst>
          </p:cNvPr>
          <p:cNvSpPr/>
          <p:nvPr/>
        </p:nvSpPr>
        <p:spPr bwMode="auto">
          <a:xfrm>
            <a:off x="597174" y="3504479"/>
            <a:ext cx="7562977" cy="656387"/>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3. I want to return two items</a:t>
            </a:r>
          </a:p>
        </p:txBody>
      </p:sp>
      <p:sp>
        <p:nvSpPr>
          <p:cNvPr id="32" name="Rectangle: Rounded Corners 31">
            <a:extLst>
              <a:ext uri="{FF2B5EF4-FFF2-40B4-BE49-F238E27FC236}">
                <a16:creationId xmlns:a16="http://schemas.microsoft.com/office/drawing/2014/main" id="{C3811CE4-B488-409C-8396-4E53AD6881F8}"/>
              </a:ext>
            </a:extLst>
          </p:cNvPr>
          <p:cNvSpPr/>
          <p:nvPr/>
        </p:nvSpPr>
        <p:spPr bwMode="auto">
          <a:xfrm>
            <a:off x="597174" y="4346654"/>
            <a:ext cx="7562977" cy="656387"/>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4. I would like to return some items</a:t>
            </a:r>
          </a:p>
        </p:txBody>
      </p:sp>
      <p:sp>
        <p:nvSpPr>
          <p:cNvPr id="33" name="Rectangle: Rounded Corners 32">
            <a:extLst>
              <a:ext uri="{FF2B5EF4-FFF2-40B4-BE49-F238E27FC236}">
                <a16:creationId xmlns:a16="http://schemas.microsoft.com/office/drawing/2014/main" id="{754770A9-4AE0-4AB2-9462-610C6E515A7E}"/>
              </a:ext>
            </a:extLst>
          </p:cNvPr>
          <p:cNvSpPr/>
          <p:nvPr/>
        </p:nvSpPr>
        <p:spPr bwMode="auto">
          <a:xfrm>
            <a:off x="597174" y="5188828"/>
            <a:ext cx="7562977" cy="656387"/>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5. I’d like to return an item</a:t>
            </a:r>
          </a:p>
        </p:txBody>
      </p:sp>
    </p:spTree>
    <p:extLst>
      <p:ext uri="{BB962C8B-B14F-4D97-AF65-F5344CB8AC3E}">
        <p14:creationId xmlns:p14="http://schemas.microsoft.com/office/powerpoint/2010/main" val="11096757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544998"/>
            <a:ext cx="11306469" cy="553998"/>
          </a:xfrm>
        </p:spPr>
        <p:txBody>
          <a:bodyPr anchor="ctr"/>
          <a:lstStyle/>
          <a:p>
            <a:pPr>
              <a:lnSpc>
                <a:spcPct val="100000"/>
              </a:lnSpc>
            </a:pPr>
            <a:r>
              <a:rPr lang="en-US">
                <a:cs typeface="Segoe UI"/>
              </a:rPr>
              <a:t>Answer: </a:t>
            </a:r>
            <a:r>
              <a:rPr lang="en-US">
                <a:solidFill>
                  <a:schemeClr val="tx2"/>
                </a:solidFill>
                <a:cs typeface="Segoe UI"/>
              </a:rPr>
              <a:t>Any ONE of those trigger phrases works</a:t>
            </a:r>
          </a:p>
        </p:txBody>
      </p:sp>
      <p:sp>
        <p:nvSpPr>
          <p:cNvPr id="28" name="Rectangle 27">
            <a:extLst>
              <a:ext uri="{FF2B5EF4-FFF2-40B4-BE49-F238E27FC236}">
                <a16:creationId xmlns:a16="http://schemas.microsoft.com/office/drawing/2014/main" id="{BA1745E4-9C7F-4D25-A781-F0B5638FC225}"/>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D07C24F0-3772-410F-86FB-3588C2659882}"/>
              </a:ext>
            </a:extLst>
          </p:cNvPr>
          <p:cNvSpPr/>
          <p:nvPr/>
        </p:nvSpPr>
        <p:spPr bwMode="auto">
          <a:xfrm>
            <a:off x="597174" y="1820128"/>
            <a:ext cx="7562977" cy="65638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chemeClr val="bg1"/>
                </a:solidFill>
              </a:rPr>
              <a:t>1. I want to return an item</a:t>
            </a:r>
          </a:p>
        </p:txBody>
      </p:sp>
      <p:sp>
        <p:nvSpPr>
          <p:cNvPr id="32" name="Rectangle: Rounded Corners 31">
            <a:extLst>
              <a:ext uri="{FF2B5EF4-FFF2-40B4-BE49-F238E27FC236}">
                <a16:creationId xmlns:a16="http://schemas.microsoft.com/office/drawing/2014/main" id="{057E9C30-F9D8-4957-910C-CD8B1455FE3E}"/>
              </a:ext>
            </a:extLst>
          </p:cNvPr>
          <p:cNvSpPr/>
          <p:nvPr/>
        </p:nvSpPr>
        <p:spPr bwMode="auto">
          <a:xfrm>
            <a:off x="597174" y="2662303"/>
            <a:ext cx="7562977" cy="65638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2. I want to return items</a:t>
            </a:r>
          </a:p>
        </p:txBody>
      </p:sp>
      <p:sp>
        <p:nvSpPr>
          <p:cNvPr id="33" name="Rectangle: Rounded Corners 32">
            <a:extLst>
              <a:ext uri="{FF2B5EF4-FFF2-40B4-BE49-F238E27FC236}">
                <a16:creationId xmlns:a16="http://schemas.microsoft.com/office/drawing/2014/main" id="{45ACA3D4-5B38-4A70-97FD-58D1067FC8C4}"/>
              </a:ext>
            </a:extLst>
          </p:cNvPr>
          <p:cNvSpPr/>
          <p:nvPr/>
        </p:nvSpPr>
        <p:spPr bwMode="auto">
          <a:xfrm>
            <a:off x="597174" y="3504479"/>
            <a:ext cx="7562977" cy="65638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3. I want to return two items</a:t>
            </a:r>
          </a:p>
        </p:txBody>
      </p:sp>
      <p:sp>
        <p:nvSpPr>
          <p:cNvPr id="34" name="Rectangle: Rounded Corners 33">
            <a:extLst>
              <a:ext uri="{FF2B5EF4-FFF2-40B4-BE49-F238E27FC236}">
                <a16:creationId xmlns:a16="http://schemas.microsoft.com/office/drawing/2014/main" id="{933F4712-D6C0-4A95-ABAF-E6F91568AE62}"/>
              </a:ext>
            </a:extLst>
          </p:cNvPr>
          <p:cNvSpPr/>
          <p:nvPr/>
        </p:nvSpPr>
        <p:spPr bwMode="auto">
          <a:xfrm>
            <a:off x="597174" y="4346654"/>
            <a:ext cx="7562977" cy="65638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4. I would like to return some items</a:t>
            </a:r>
          </a:p>
        </p:txBody>
      </p:sp>
      <p:sp>
        <p:nvSpPr>
          <p:cNvPr id="35" name="Rectangle: Rounded Corners 34">
            <a:extLst>
              <a:ext uri="{FF2B5EF4-FFF2-40B4-BE49-F238E27FC236}">
                <a16:creationId xmlns:a16="http://schemas.microsoft.com/office/drawing/2014/main" id="{8C24E032-EB9E-4DE1-AA2C-E6BBC5B25814}"/>
              </a:ext>
            </a:extLst>
          </p:cNvPr>
          <p:cNvSpPr/>
          <p:nvPr/>
        </p:nvSpPr>
        <p:spPr bwMode="auto">
          <a:xfrm>
            <a:off x="597174" y="5188828"/>
            <a:ext cx="7562977" cy="65638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5. I’d like to return an item</a:t>
            </a:r>
          </a:p>
        </p:txBody>
      </p:sp>
      <p:grpSp>
        <p:nvGrpSpPr>
          <p:cNvPr id="11" name="Group 10">
            <a:extLst>
              <a:ext uri="{FF2B5EF4-FFF2-40B4-BE49-F238E27FC236}">
                <a16:creationId xmlns:a16="http://schemas.microsoft.com/office/drawing/2014/main" id="{B8C28B11-777D-4658-8B8F-DFDC6EAB5EA5}"/>
              </a:ext>
            </a:extLst>
          </p:cNvPr>
          <p:cNvGrpSpPr/>
          <p:nvPr/>
        </p:nvGrpSpPr>
        <p:grpSpPr>
          <a:xfrm>
            <a:off x="8235700" y="1623041"/>
            <a:ext cx="3431581" cy="4346855"/>
            <a:chOff x="4392905" y="8153804"/>
            <a:chExt cx="3431581" cy="3739307"/>
          </a:xfrm>
        </p:grpSpPr>
        <p:sp>
          <p:nvSpPr>
            <p:cNvPr id="29" name="Right Brace 28">
              <a:extLst>
                <a:ext uri="{FF2B5EF4-FFF2-40B4-BE49-F238E27FC236}">
                  <a16:creationId xmlns:a16="http://schemas.microsoft.com/office/drawing/2014/main" id="{E3AA1ECE-5309-4130-A796-E856B44DCA1B}"/>
                </a:ext>
              </a:extLst>
            </p:cNvPr>
            <p:cNvSpPr/>
            <p:nvPr/>
          </p:nvSpPr>
          <p:spPr>
            <a:xfrm>
              <a:off x="4392905" y="8153804"/>
              <a:ext cx="1079002" cy="3739307"/>
            </a:xfrm>
            <a:prstGeom prst="rightBrace">
              <a:avLst>
                <a:gd name="adj1" fmla="val 0"/>
                <a:gd name="adj2" fmla="val 50286"/>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30" name="TextBox 29">
              <a:extLst>
                <a:ext uri="{FF2B5EF4-FFF2-40B4-BE49-F238E27FC236}">
                  <a16:creationId xmlns:a16="http://schemas.microsoft.com/office/drawing/2014/main" id="{1DCA65FF-700E-472F-8EEA-F939CF4897CB}"/>
                </a:ext>
              </a:extLst>
            </p:cNvPr>
            <p:cNvSpPr txBox="1"/>
            <p:nvPr/>
          </p:nvSpPr>
          <p:spPr>
            <a:xfrm>
              <a:off x="5478531" y="9295090"/>
              <a:ext cx="2345955" cy="1235434"/>
            </a:xfrm>
            <a:prstGeom prst="rect">
              <a:avLst/>
            </a:prstGeom>
            <a:solidFill>
              <a:schemeClr val="bg1"/>
            </a:solidFill>
            <a:ln w="6350">
              <a:solidFill>
                <a:schemeClr val="bg1">
                  <a:lumMod val="75000"/>
                </a:schemeClr>
              </a:solidFill>
            </a:ln>
          </p:spPr>
          <p:txBody>
            <a:bodyPr wrap="square" lIns="91440" tIns="45720" rIns="91440" bIns="45720" rtlCol="0" anchor="t">
              <a:spAutoFit/>
            </a:bodyPr>
            <a:lstStyle/>
            <a:p>
              <a:pPr>
                <a:spcAft>
                  <a:spcPts val="588"/>
                </a:spcAft>
              </a:pPr>
              <a:r>
                <a:rPr lang="en-US" sz="1372">
                  <a:latin typeface="+mj-lt"/>
                  <a:cs typeface="Segoe UI"/>
                </a:rPr>
                <a:t>Guideline</a:t>
              </a:r>
            </a:p>
            <a:p>
              <a:pPr>
                <a:spcAft>
                  <a:spcPts val="588"/>
                </a:spcAft>
              </a:pPr>
              <a:r>
                <a:rPr lang="en-US" sz="1372">
                  <a:cs typeface="Segoe UI"/>
                </a:rPr>
                <a:t>Adding</a:t>
              </a:r>
              <a:r>
                <a:rPr lang="en-US" sz="1372"/>
                <a:t> articles (an, the, etc.), capitalization, contractions, and pluralization has low chance of improving the triggering.</a:t>
              </a:r>
              <a:endParaRPr lang="en-US" sz="1372">
                <a:cs typeface="Segoe UI" panose="020B0502040204020203" pitchFamily="34" charset="0"/>
              </a:endParaRPr>
            </a:p>
          </p:txBody>
        </p:sp>
      </p:grpSp>
    </p:spTree>
    <p:extLst>
      <p:ext uri="{BB962C8B-B14F-4D97-AF65-F5344CB8AC3E}">
        <p14:creationId xmlns:p14="http://schemas.microsoft.com/office/powerpoint/2010/main" val="17668841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6" name="Freeform: Shape 75">
            <a:extLst>
              <a:ext uri="{FF2B5EF4-FFF2-40B4-BE49-F238E27FC236}">
                <a16:creationId xmlns:a16="http://schemas.microsoft.com/office/drawing/2014/main" id="{5415148C-74E4-431E-8917-D6A750FE072D}"/>
              </a:ext>
            </a:extLst>
          </p:cNvPr>
          <p:cNvSpPr/>
          <p:nvPr/>
        </p:nvSpPr>
        <p:spPr bwMode="auto">
          <a:xfrm>
            <a:off x="-1" y="2402115"/>
            <a:ext cx="5759434" cy="4455885"/>
          </a:xfrm>
          <a:custGeom>
            <a:avLst/>
            <a:gdLst>
              <a:gd name="connsiteX0" fmla="*/ 3001720 w 5759434"/>
              <a:gd name="connsiteY0" fmla="*/ 0 h 4455885"/>
              <a:gd name="connsiteX1" fmla="*/ 5759434 w 5759434"/>
              <a:gd name="connsiteY1" fmla="*/ 2757714 h 4455885"/>
              <a:gd name="connsiteX2" fmla="*/ 4061263 w 5759434"/>
              <a:gd name="connsiteY2" fmla="*/ 4455885 h 4455885"/>
              <a:gd name="connsiteX3" fmla="*/ 0 w 5759434"/>
              <a:gd name="connsiteY3" fmla="*/ 4455885 h 4455885"/>
              <a:gd name="connsiteX4" fmla="*/ 0 w 5759434"/>
              <a:gd name="connsiteY4" fmla="*/ 1681519 h 4455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9434" h="4455885">
                <a:moveTo>
                  <a:pt x="3001720" y="0"/>
                </a:moveTo>
                <a:lnTo>
                  <a:pt x="5759434" y="2757714"/>
                </a:lnTo>
                <a:lnTo>
                  <a:pt x="4061263" y="4455885"/>
                </a:lnTo>
                <a:lnTo>
                  <a:pt x="0" y="4455885"/>
                </a:lnTo>
                <a:lnTo>
                  <a:pt x="0" y="168151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51" name="Freeform: Shape 50">
            <a:extLst>
              <a:ext uri="{FF2B5EF4-FFF2-40B4-BE49-F238E27FC236}">
                <a16:creationId xmlns:a16="http://schemas.microsoft.com/office/drawing/2014/main" id="{871C47BE-1918-454F-8BB4-97897573A231}"/>
              </a:ext>
            </a:extLst>
          </p:cNvPr>
          <p:cNvSpPr/>
          <p:nvPr/>
        </p:nvSpPr>
        <p:spPr bwMode="auto">
          <a:xfrm rot="10800000">
            <a:off x="-8" y="-4"/>
            <a:ext cx="6692907" cy="6692908"/>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55995" y="620428"/>
            <a:ext cx="3856361" cy="795089"/>
          </a:xfrm>
        </p:spPr>
        <p:txBody>
          <a:bodyPr/>
          <a:lstStyle/>
          <a:p>
            <a:r>
              <a:rPr lang="en-US" sz="2000"/>
              <a:t>OUR VISION</a:t>
            </a:r>
            <a:br>
              <a:rPr lang="en-US"/>
            </a:br>
            <a:r>
              <a:rPr lang="en-US">
                <a:solidFill>
                  <a:srgbClr val="0B556A"/>
                </a:solidFill>
              </a:rPr>
              <a:t>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1750103" y="4290986"/>
            <a:ext cx="3364367" cy="1729456"/>
          </a:xfrm>
          <a:prstGeom prst="rect">
            <a:avLst/>
          </a:prstGeom>
          <a:noFill/>
        </p:spPr>
        <p:txBody>
          <a:bodyPr vert="horz"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1600">
                <a:solidFill>
                  <a:schemeClr val="bg1"/>
                </a:solidFill>
                <a:latin typeface="Segoe UI Semibold"/>
              </a:rPr>
              <a:t>Empower every</a:t>
            </a:r>
            <a:br>
              <a:rPr lang="en-US" sz="1600">
                <a:solidFill>
                  <a:schemeClr val="bg1"/>
                </a:solidFill>
                <a:latin typeface="Segoe UI Semibold"/>
              </a:rPr>
            </a:br>
            <a:r>
              <a:rPr lang="en-US" sz="1600">
                <a:solidFill>
                  <a:schemeClr val="bg1"/>
                </a:solidFill>
                <a:latin typeface="Segoe UI Semibold"/>
              </a:rPr>
              <a:t>organization to easily provide</a:t>
            </a:r>
            <a:br>
              <a:rPr lang="en-US" sz="1600">
                <a:solidFill>
                  <a:schemeClr val="bg1"/>
                </a:solidFill>
                <a:latin typeface="Segoe UI Semibold"/>
              </a:rPr>
            </a:br>
            <a:r>
              <a:rPr lang="en-US" sz="1600">
                <a:solidFill>
                  <a:schemeClr val="bg1"/>
                </a:solidFill>
                <a:latin typeface="Segoe UI Semibold"/>
              </a:rPr>
              <a:t>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7179019" y="1315481"/>
            <a:ext cx="4201215" cy="480982"/>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3200" spc="0">
                <a:solidFill>
                  <a:srgbClr val="0B556A"/>
                </a:solidFill>
                <a:latin typeface="Segoe UI Semibold"/>
              </a:rPr>
              <a:t>ENGAGE NATURALLY </a:t>
            </a:r>
          </a:p>
        </p:txBody>
      </p:sp>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7230901" y="2743175"/>
            <a:ext cx="3467948" cy="662370"/>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3200" spc="0">
                <a:solidFill>
                  <a:srgbClr val="0B556A"/>
                </a:solidFill>
                <a:latin typeface="Segoe UI Semibold"/>
              </a:rPr>
              <a:t>DEMOCRATIZE AI </a:t>
            </a:r>
          </a:p>
        </p:txBody>
      </p:sp>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7282781" y="4333192"/>
            <a:ext cx="4818427"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3200" spc="0">
                <a:solidFill>
                  <a:srgbClr val="0B556A"/>
                </a:solidFill>
                <a:latin typeface="Segoe UI Semibold"/>
              </a:rPr>
              <a:t>CONTINOUSLY Enhance</a:t>
            </a:r>
          </a:p>
        </p:txBody>
      </p:sp>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7230901" y="5779951"/>
            <a:ext cx="2744133" cy="480982"/>
          </a:xfrm>
          <a:prstGeom prst="rect">
            <a:avLst/>
          </a:prstGeom>
        </p:spPr>
        <p:txBody>
          <a:bodyPr vert="horz" lIns="0" tIns="45706" rIns="91414" bIns="45706" rtlCol="0" anchor="ctr">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3200" spc="0">
                <a:solidFill>
                  <a:srgbClr val="0B556A"/>
                </a:solidFill>
                <a:latin typeface="Segoe UI Semibold"/>
              </a:rPr>
              <a:t>TAKE ACTION</a:t>
            </a:r>
          </a:p>
        </p:txBody>
      </p:sp>
      <p:sp>
        <p:nvSpPr>
          <p:cNvPr id="52" name="target_2" title="Icon of a target with an arrow hitting the bullseye">
            <a:extLst>
              <a:ext uri="{FF2B5EF4-FFF2-40B4-BE49-F238E27FC236}">
                <a16:creationId xmlns:a16="http://schemas.microsoft.com/office/drawing/2014/main" id="{5D23173E-E42A-41E6-BBFE-636FFF1473A0}"/>
              </a:ext>
            </a:extLst>
          </p:cNvPr>
          <p:cNvSpPr>
            <a:spLocks noChangeAspect="1" noEditPoints="1"/>
          </p:cNvSpPr>
          <p:nvPr/>
        </p:nvSpPr>
        <p:spPr bwMode="auto">
          <a:xfrm>
            <a:off x="470053" y="1803463"/>
            <a:ext cx="1113510" cy="11090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16" name="Freeform 5">
            <a:extLst>
              <a:ext uri="{FF2B5EF4-FFF2-40B4-BE49-F238E27FC236}">
                <a16:creationId xmlns:a16="http://schemas.microsoft.com/office/drawing/2014/main" id="{339BAC80-07E4-4CE2-A488-98B35EE03A71}"/>
              </a:ext>
            </a:extLst>
          </p:cNvPr>
          <p:cNvSpPr>
            <a:spLocks noChangeAspect="1" noEditPoints="1"/>
          </p:cNvSpPr>
          <p:nvPr/>
        </p:nvSpPr>
        <p:spPr bwMode="auto">
          <a:xfrm>
            <a:off x="5976420" y="1165570"/>
            <a:ext cx="912297" cy="914400"/>
          </a:xfrm>
          <a:custGeom>
            <a:avLst/>
            <a:gdLst>
              <a:gd name="T0" fmla="*/ 442 w 637"/>
              <a:gd name="T1" fmla="*/ 234 h 637"/>
              <a:gd name="T2" fmla="*/ 321 w 637"/>
              <a:gd name="T3" fmla="*/ 355 h 637"/>
              <a:gd name="T4" fmla="*/ 201 w 637"/>
              <a:gd name="T5" fmla="*/ 234 h 637"/>
              <a:gd name="T6" fmla="*/ 321 w 637"/>
              <a:gd name="T7" fmla="*/ 114 h 637"/>
              <a:gd name="T8" fmla="*/ 442 w 637"/>
              <a:gd name="T9" fmla="*/ 234 h 637"/>
              <a:gd name="T10" fmla="*/ 516 w 637"/>
              <a:gd name="T11" fmla="*/ 511 h 637"/>
              <a:gd name="T12" fmla="*/ 321 w 637"/>
              <a:gd name="T13" fmla="*/ 375 h 637"/>
              <a:gd name="T14" fmla="*/ 127 w 637"/>
              <a:gd name="T15" fmla="*/ 511 h 637"/>
              <a:gd name="T16" fmla="*/ 167 w 637"/>
              <a:gd name="T17" fmla="*/ 0 h 637"/>
              <a:gd name="T18" fmla="*/ 0 w 637"/>
              <a:gd name="T19" fmla="*/ 0 h 637"/>
              <a:gd name="T20" fmla="*/ 0 w 637"/>
              <a:gd name="T21" fmla="*/ 167 h 637"/>
              <a:gd name="T22" fmla="*/ 637 w 637"/>
              <a:gd name="T23" fmla="*/ 167 h 637"/>
              <a:gd name="T24" fmla="*/ 637 w 637"/>
              <a:gd name="T25" fmla="*/ 0 h 637"/>
              <a:gd name="T26" fmla="*/ 469 w 637"/>
              <a:gd name="T27" fmla="*/ 0 h 637"/>
              <a:gd name="T28" fmla="*/ 469 w 637"/>
              <a:gd name="T29" fmla="*/ 637 h 637"/>
              <a:gd name="T30" fmla="*/ 637 w 637"/>
              <a:gd name="T31" fmla="*/ 637 h 637"/>
              <a:gd name="T32" fmla="*/ 637 w 637"/>
              <a:gd name="T33" fmla="*/ 469 h 637"/>
              <a:gd name="T34" fmla="*/ 0 w 637"/>
              <a:gd name="T35" fmla="*/ 469 h 637"/>
              <a:gd name="T36" fmla="*/ 0 w 637"/>
              <a:gd name="T37" fmla="*/ 637 h 637"/>
              <a:gd name="T38" fmla="*/ 167 w 637"/>
              <a:gd name="T39"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637">
                <a:moveTo>
                  <a:pt x="442" y="234"/>
                </a:moveTo>
                <a:cubicBezTo>
                  <a:pt x="442" y="301"/>
                  <a:pt x="388" y="355"/>
                  <a:pt x="321" y="355"/>
                </a:cubicBezTo>
                <a:cubicBezTo>
                  <a:pt x="255" y="355"/>
                  <a:pt x="201" y="301"/>
                  <a:pt x="201" y="234"/>
                </a:cubicBezTo>
                <a:cubicBezTo>
                  <a:pt x="201" y="168"/>
                  <a:pt x="255" y="114"/>
                  <a:pt x="321" y="114"/>
                </a:cubicBezTo>
                <a:cubicBezTo>
                  <a:pt x="388" y="114"/>
                  <a:pt x="442" y="168"/>
                  <a:pt x="442" y="234"/>
                </a:cubicBezTo>
                <a:close/>
                <a:moveTo>
                  <a:pt x="516" y="511"/>
                </a:moveTo>
                <a:cubicBezTo>
                  <a:pt x="487" y="432"/>
                  <a:pt x="411" y="375"/>
                  <a:pt x="321" y="375"/>
                </a:cubicBezTo>
                <a:cubicBezTo>
                  <a:pt x="232" y="375"/>
                  <a:pt x="155" y="432"/>
                  <a:pt x="127" y="511"/>
                </a:cubicBezTo>
                <a:moveTo>
                  <a:pt x="167" y="0"/>
                </a:moveTo>
                <a:cubicBezTo>
                  <a:pt x="0" y="0"/>
                  <a:pt x="0" y="0"/>
                  <a:pt x="0" y="0"/>
                </a:cubicBezTo>
                <a:cubicBezTo>
                  <a:pt x="0" y="167"/>
                  <a:pt x="0" y="167"/>
                  <a:pt x="0" y="167"/>
                </a:cubicBezTo>
                <a:moveTo>
                  <a:pt x="637" y="167"/>
                </a:moveTo>
                <a:cubicBezTo>
                  <a:pt x="637" y="0"/>
                  <a:pt x="637" y="0"/>
                  <a:pt x="637" y="0"/>
                </a:cubicBezTo>
                <a:cubicBezTo>
                  <a:pt x="469" y="0"/>
                  <a:pt x="469" y="0"/>
                  <a:pt x="469" y="0"/>
                </a:cubicBezTo>
                <a:moveTo>
                  <a:pt x="469" y="637"/>
                </a:moveTo>
                <a:cubicBezTo>
                  <a:pt x="637" y="637"/>
                  <a:pt x="637" y="637"/>
                  <a:pt x="637" y="637"/>
                </a:cubicBezTo>
                <a:cubicBezTo>
                  <a:pt x="637" y="469"/>
                  <a:pt x="637" y="469"/>
                  <a:pt x="637" y="469"/>
                </a:cubicBezTo>
                <a:moveTo>
                  <a:pt x="0" y="469"/>
                </a:moveTo>
                <a:cubicBezTo>
                  <a:pt x="0" y="637"/>
                  <a:pt x="0" y="637"/>
                  <a:pt x="0" y="637"/>
                </a:cubicBezTo>
                <a:cubicBezTo>
                  <a:pt x="167" y="637"/>
                  <a:pt x="167" y="637"/>
                  <a:pt x="167" y="637"/>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24" name="Freeform 13">
            <a:extLst>
              <a:ext uri="{FF2B5EF4-FFF2-40B4-BE49-F238E27FC236}">
                <a16:creationId xmlns:a16="http://schemas.microsoft.com/office/drawing/2014/main" id="{A86A10E2-FCE7-4FA4-9A3A-BAB72CFE8037}"/>
              </a:ext>
            </a:extLst>
          </p:cNvPr>
          <p:cNvSpPr>
            <a:spLocks noChangeAspect="1" noEditPoints="1"/>
          </p:cNvSpPr>
          <p:nvPr/>
        </p:nvSpPr>
        <p:spPr bwMode="auto">
          <a:xfrm>
            <a:off x="5973261" y="2617160"/>
            <a:ext cx="918615" cy="914400"/>
          </a:xfrm>
          <a:custGeom>
            <a:avLst/>
            <a:gdLst>
              <a:gd name="T0" fmla="*/ 320 w 640"/>
              <a:gd name="T1" fmla="*/ 297 h 636"/>
              <a:gd name="T2" fmla="*/ 320 w 640"/>
              <a:gd name="T3" fmla="*/ 125 h 636"/>
              <a:gd name="T4" fmla="*/ 458 w 640"/>
              <a:gd name="T5" fmla="*/ 408 h 636"/>
              <a:gd name="T6" fmla="*/ 181 w 640"/>
              <a:gd name="T7" fmla="*/ 408 h 636"/>
              <a:gd name="T8" fmla="*/ 320 w 640"/>
              <a:gd name="T9" fmla="*/ 505 h 636"/>
              <a:gd name="T10" fmla="*/ 320 w 640"/>
              <a:gd name="T11" fmla="*/ 636 h 636"/>
              <a:gd name="T12" fmla="*/ 42 w 640"/>
              <a:gd name="T13" fmla="*/ 201 h 636"/>
              <a:gd name="T14" fmla="*/ 107 w 640"/>
              <a:gd name="T15" fmla="*/ 89 h 636"/>
              <a:gd name="T16" fmla="*/ 42 w 640"/>
              <a:gd name="T17" fmla="*/ 201 h 636"/>
              <a:gd name="T18" fmla="*/ 509 w 640"/>
              <a:gd name="T19" fmla="*/ 178 h 636"/>
              <a:gd name="T20" fmla="*/ 622 w 640"/>
              <a:gd name="T21" fmla="*/ 112 h 636"/>
              <a:gd name="T22" fmla="*/ 240 w 640"/>
              <a:gd name="T23" fmla="*/ 559 h 636"/>
              <a:gd name="T24" fmla="*/ 185 w 640"/>
              <a:gd name="T25" fmla="*/ 536 h 636"/>
              <a:gd name="T26" fmla="*/ 136 w 640"/>
              <a:gd name="T27" fmla="*/ 503 h 636"/>
              <a:gd name="T28" fmla="*/ 95 w 640"/>
              <a:gd name="T29" fmla="*/ 459 h 636"/>
              <a:gd name="T30" fmla="*/ 63 w 640"/>
              <a:gd name="T31" fmla="*/ 408 h 636"/>
              <a:gd name="T32" fmla="*/ 44 w 640"/>
              <a:gd name="T33" fmla="*/ 353 h 636"/>
              <a:gd name="T34" fmla="*/ 36 w 640"/>
              <a:gd name="T35" fmla="*/ 294 h 636"/>
              <a:gd name="T36" fmla="*/ 41 w 640"/>
              <a:gd name="T37" fmla="*/ 235 h 636"/>
              <a:gd name="T38" fmla="*/ 48 w 640"/>
              <a:gd name="T39" fmla="*/ 205 h 636"/>
              <a:gd name="T40" fmla="*/ 121 w 640"/>
              <a:gd name="T41" fmla="*/ 79 h 636"/>
              <a:gd name="T42" fmla="*/ 168 w 640"/>
              <a:gd name="T43" fmla="*/ 42 h 636"/>
              <a:gd name="T44" fmla="*/ 222 w 640"/>
              <a:gd name="T45" fmla="*/ 16 h 636"/>
              <a:gd name="T46" fmla="*/ 280 w 640"/>
              <a:gd name="T47" fmla="*/ 3 h 636"/>
              <a:gd name="T48" fmla="*/ 339 w 640"/>
              <a:gd name="T49" fmla="*/ 1 h 636"/>
              <a:gd name="T50" fmla="*/ 398 w 640"/>
              <a:gd name="T51" fmla="*/ 12 h 636"/>
              <a:gd name="T52" fmla="*/ 452 w 640"/>
              <a:gd name="T53" fmla="*/ 35 h 636"/>
              <a:gd name="T54" fmla="*/ 501 w 640"/>
              <a:gd name="T55" fmla="*/ 68 h 636"/>
              <a:gd name="T56" fmla="*/ 523 w 640"/>
              <a:gd name="T57" fmla="*/ 90 h 636"/>
              <a:gd name="T58" fmla="*/ 596 w 640"/>
              <a:gd name="T59" fmla="*/ 215 h 636"/>
              <a:gd name="T60" fmla="*/ 604 w 640"/>
              <a:gd name="T61" fmla="*/ 275 h 636"/>
              <a:gd name="T62" fmla="*/ 600 w 640"/>
              <a:gd name="T63" fmla="*/ 334 h 636"/>
              <a:gd name="T64" fmla="*/ 583 w 640"/>
              <a:gd name="T65" fmla="*/ 391 h 636"/>
              <a:gd name="T66" fmla="*/ 554 w 640"/>
              <a:gd name="T67" fmla="*/ 444 h 636"/>
              <a:gd name="T68" fmla="*/ 516 w 640"/>
              <a:gd name="T69" fmla="*/ 489 h 636"/>
              <a:gd name="T70" fmla="*/ 469 w 640"/>
              <a:gd name="T71" fmla="*/ 525 h 636"/>
              <a:gd name="T72" fmla="*/ 415 w 640"/>
              <a:gd name="T73" fmla="*/ 550 h 636"/>
              <a:gd name="T74" fmla="*/ 385 w 640"/>
              <a:gd name="T75" fmla="*/ 5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0" h="636">
                <a:moveTo>
                  <a:pt x="406" y="211"/>
                </a:moveTo>
                <a:cubicBezTo>
                  <a:pt x="406" y="258"/>
                  <a:pt x="367" y="297"/>
                  <a:pt x="320" y="297"/>
                </a:cubicBezTo>
                <a:cubicBezTo>
                  <a:pt x="272" y="297"/>
                  <a:pt x="234" y="258"/>
                  <a:pt x="234" y="211"/>
                </a:cubicBezTo>
                <a:cubicBezTo>
                  <a:pt x="234" y="163"/>
                  <a:pt x="272" y="125"/>
                  <a:pt x="320" y="125"/>
                </a:cubicBezTo>
                <a:cubicBezTo>
                  <a:pt x="367" y="125"/>
                  <a:pt x="406" y="163"/>
                  <a:pt x="406" y="211"/>
                </a:cubicBezTo>
                <a:close/>
                <a:moveTo>
                  <a:pt x="458" y="408"/>
                </a:moveTo>
                <a:cubicBezTo>
                  <a:pt x="438" y="352"/>
                  <a:pt x="384" y="311"/>
                  <a:pt x="320" y="311"/>
                </a:cubicBezTo>
                <a:cubicBezTo>
                  <a:pt x="256" y="311"/>
                  <a:pt x="202" y="352"/>
                  <a:pt x="181" y="408"/>
                </a:cubicBezTo>
                <a:moveTo>
                  <a:pt x="385" y="571"/>
                </a:moveTo>
                <a:cubicBezTo>
                  <a:pt x="385" y="535"/>
                  <a:pt x="356" y="505"/>
                  <a:pt x="320" y="505"/>
                </a:cubicBezTo>
                <a:cubicBezTo>
                  <a:pt x="284" y="505"/>
                  <a:pt x="255" y="535"/>
                  <a:pt x="255" y="571"/>
                </a:cubicBezTo>
                <a:cubicBezTo>
                  <a:pt x="255" y="607"/>
                  <a:pt x="284" y="636"/>
                  <a:pt x="320" y="636"/>
                </a:cubicBezTo>
                <a:cubicBezTo>
                  <a:pt x="356" y="636"/>
                  <a:pt x="385" y="607"/>
                  <a:pt x="385" y="571"/>
                </a:cubicBezTo>
                <a:close/>
                <a:moveTo>
                  <a:pt x="42" y="201"/>
                </a:moveTo>
                <a:cubicBezTo>
                  <a:pt x="73" y="219"/>
                  <a:pt x="113" y="209"/>
                  <a:pt x="131" y="178"/>
                </a:cubicBezTo>
                <a:cubicBezTo>
                  <a:pt x="149" y="146"/>
                  <a:pt x="138" y="107"/>
                  <a:pt x="107" y="89"/>
                </a:cubicBezTo>
                <a:cubicBezTo>
                  <a:pt x="76" y="71"/>
                  <a:pt x="36" y="81"/>
                  <a:pt x="18" y="112"/>
                </a:cubicBezTo>
                <a:cubicBezTo>
                  <a:pt x="0" y="144"/>
                  <a:pt x="10" y="183"/>
                  <a:pt x="42" y="201"/>
                </a:cubicBezTo>
                <a:close/>
                <a:moveTo>
                  <a:pt x="533" y="89"/>
                </a:moveTo>
                <a:cubicBezTo>
                  <a:pt x="502" y="107"/>
                  <a:pt x="491" y="146"/>
                  <a:pt x="509" y="178"/>
                </a:cubicBezTo>
                <a:cubicBezTo>
                  <a:pt x="527" y="209"/>
                  <a:pt x="567" y="219"/>
                  <a:pt x="598" y="201"/>
                </a:cubicBezTo>
                <a:cubicBezTo>
                  <a:pt x="629" y="183"/>
                  <a:pt x="640" y="144"/>
                  <a:pt x="622" y="112"/>
                </a:cubicBezTo>
                <a:cubicBezTo>
                  <a:pt x="604" y="81"/>
                  <a:pt x="564" y="71"/>
                  <a:pt x="533" y="89"/>
                </a:cubicBezTo>
                <a:close/>
                <a:moveTo>
                  <a:pt x="240" y="559"/>
                </a:moveTo>
                <a:cubicBezTo>
                  <a:pt x="245" y="561"/>
                  <a:pt x="250" y="562"/>
                  <a:pt x="255" y="563"/>
                </a:cubicBezTo>
                <a:moveTo>
                  <a:pt x="185" y="536"/>
                </a:moveTo>
                <a:cubicBezTo>
                  <a:pt x="197" y="543"/>
                  <a:pt x="209" y="548"/>
                  <a:pt x="221" y="553"/>
                </a:cubicBezTo>
                <a:moveTo>
                  <a:pt x="136" y="503"/>
                </a:moveTo>
                <a:cubicBezTo>
                  <a:pt x="146" y="511"/>
                  <a:pt x="157" y="519"/>
                  <a:pt x="168" y="527"/>
                </a:cubicBezTo>
                <a:moveTo>
                  <a:pt x="95" y="459"/>
                </a:moveTo>
                <a:cubicBezTo>
                  <a:pt x="103" y="470"/>
                  <a:pt x="112" y="480"/>
                  <a:pt x="121" y="490"/>
                </a:cubicBezTo>
                <a:moveTo>
                  <a:pt x="63" y="408"/>
                </a:moveTo>
                <a:cubicBezTo>
                  <a:pt x="69" y="421"/>
                  <a:pt x="76" y="432"/>
                  <a:pt x="83" y="444"/>
                </a:cubicBezTo>
                <a:moveTo>
                  <a:pt x="44" y="353"/>
                </a:moveTo>
                <a:cubicBezTo>
                  <a:pt x="47" y="366"/>
                  <a:pt x="51" y="379"/>
                  <a:pt x="56" y="391"/>
                </a:cubicBezTo>
                <a:moveTo>
                  <a:pt x="36" y="294"/>
                </a:moveTo>
                <a:cubicBezTo>
                  <a:pt x="37" y="307"/>
                  <a:pt x="38" y="321"/>
                  <a:pt x="40" y="334"/>
                </a:cubicBezTo>
                <a:moveTo>
                  <a:pt x="41" y="235"/>
                </a:moveTo>
                <a:cubicBezTo>
                  <a:pt x="38" y="248"/>
                  <a:pt x="37" y="261"/>
                  <a:pt x="36" y="275"/>
                </a:cubicBezTo>
                <a:moveTo>
                  <a:pt x="48" y="205"/>
                </a:moveTo>
                <a:cubicBezTo>
                  <a:pt x="47" y="209"/>
                  <a:pt x="46" y="213"/>
                  <a:pt x="45" y="217"/>
                </a:cubicBezTo>
                <a:moveTo>
                  <a:pt x="121" y="79"/>
                </a:moveTo>
                <a:cubicBezTo>
                  <a:pt x="117" y="82"/>
                  <a:pt x="113" y="86"/>
                  <a:pt x="110" y="89"/>
                </a:cubicBezTo>
                <a:moveTo>
                  <a:pt x="168" y="42"/>
                </a:moveTo>
                <a:cubicBezTo>
                  <a:pt x="157" y="49"/>
                  <a:pt x="146" y="57"/>
                  <a:pt x="135" y="66"/>
                </a:cubicBezTo>
                <a:moveTo>
                  <a:pt x="222" y="16"/>
                </a:moveTo>
                <a:cubicBezTo>
                  <a:pt x="209" y="21"/>
                  <a:pt x="197" y="26"/>
                  <a:pt x="185" y="33"/>
                </a:cubicBezTo>
                <a:moveTo>
                  <a:pt x="280" y="3"/>
                </a:moveTo>
                <a:cubicBezTo>
                  <a:pt x="266" y="4"/>
                  <a:pt x="253" y="7"/>
                  <a:pt x="240" y="11"/>
                </a:cubicBezTo>
                <a:moveTo>
                  <a:pt x="339" y="1"/>
                </a:moveTo>
                <a:cubicBezTo>
                  <a:pt x="326" y="0"/>
                  <a:pt x="312" y="0"/>
                  <a:pt x="299" y="1"/>
                </a:cubicBezTo>
                <a:moveTo>
                  <a:pt x="398" y="12"/>
                </a:moveTo>
                <a:cubicBezTo>
                  <a:pt x="385" y="8"/>
                  <a:pt x="371" y="5"/>
                  <a:pt x="358" y="3"/>
                </a:cubicBezTo>
                <a:moveTo>
                  <a:pt x="452" y="35"/>
                </a:moveTo>
                <a:cubicBezTo>
                  <a:pt x="440" y="28"/>
                  <a:pt x="428" y="23"/>
                  <a:pt x="416" y="18"/>
                </a:cubicBezTo>
                <a:moveTo>
                  <a:pt x="501" y="68"/>
                </a:moveTo>
                <a:cubicBezTo>
                  <a:pt x="491" y="60"/>
                  <a:pt x="480" y="52"/>
                  <a:pt x="468" y="44"/>
                </a:cubicBezTo>
                <a:moveTo>
                  <a:pt x="523" y="90"/>
                </a:moveTo>
                <a:cubicBezTo>
                  <a:pt x="521" y="87"/>
                  <a:pt x="518" y="84"/>
                  <a:pt x="515" y="81"/>
                </a:cubicBezTo>
                <a:moveTo>
                  <a:pt x="596" y="215"/>
                </a:moveTo>
                <a:cubicBezTo>
                  <a:pt x="595" y="212"/>
                  <a:pt x="594" y="208"/>
                  <a:pt x="593" y="204"/>
                </a:cubicBezTo>
                <a:moveTo>
                  <a:pt x="604" y="275"/>
                </a:moveTo>
                <a:cubicBezTo>
                  <a:pt x="604" y="261"/>
                  <a:pt x="603" y="248"/>
                  <a:pt x="600" y="235"/>
                </a:cubicBezTo>
                <a:moveTo>
                  <a:pt x="600" y="334"/>
                </a:moveTo>
                <a:cubicBezTo>
                  <a:pt x="602" y="321"/>
                  <a:pt x="604" y="308"/>
                  <a:pt x="604" y="294"/>
                </a:cubicBezTo>
                <a:moveTo>
                  <a:pt x="583" y="391"/>
                </a:moveTo>
                <a:cubicBezTo>
                  <a:pt x="588" y="379"/>
                  <a:pt x="592" y="366"/>
                  <a:pt x="595" y="353"/>
                </a:cubicBezTo>
                <a:moveTo>
                  <a:pt x="554" y="444"/>
                </a:moveTo>
                <a:cubicBezTo>
                  <a:pt x="562" y="433"/>
                  <a:pt x="569" y="421"/>
                  <a:pt x="575" y="409"/>
                </a:cubicBezTo>
                <a:moveTo>
                  <a:pt x="516" y="489"/>
                </a:moveTo>
                <a:cubicBezTo>
                  <a:pt x="526" y="479"/>
                  <a:pt x="535" y="469"/>
                  <a:pt x="543" y="459"/>
                </a:cubicBezTo>
                <a:moveTo>
                  <a:pt x="469" y="525"/>
                </a:moveTo>
                <a:cubicBezTo>
                  <a:pt x="480" y="517"/>
                  <a:pt x="491" y="510"/>
                  <a:pt x="501" y="501"/>
                </a:cubicBezTo>
                <a:moveTo>
                  <a:pt x="415" y="550"/>
                </a:moveTo>
                <a:cubicBezTo>
                  <a:pt x="428" y="546"/>
                  <a:pt x="440" y="540"/>
                  <a:pt x="452" y="534"/>
                </a:cubicBezTo>
                <a:moveTo>
                  <a:pt x="385" y="559"/>
                </a:moveTo>
                <a:cubicBezTo>
                  <a:pt x="389" y="558"/>
                  <a:pt x="393" y="557"/>
                  <a:pt x="397" y="556"/>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28" name="Freeform 17">
            <a:extLst>
              <a:ext uri="{FF2B5EF4-FFF2-40B4-BE49-F238E27FC236}">
                <a16:creationId xmlns:a16="http://schemas.microsoft.com/office/drawing/2014/main" id="{4D65F4F8-A5AE-4D7C-B82F-BDB378206D1D}"/>
              </a:ext>
            </a:extLst>
          </p:cNvPr>
          <p:cNvSpPr>
            <a:spLocks noChangeAspect="1" noEditPoints="1"/>
          </p:cNvSpPr>
          <p:nvPr/>
        </p:nvSpPr>
        <p:spPr bwMode="auto">
          <a:xfrm>
            <a:off x="6049191" y="4068750"/>
            <a:ext cx="766755" cy="914400"/>
          </a:xfrm>
          <a:custGeom>
            <a:avLst/>
            <a:gdLst>
              <a:gd name="T0" fmla="*/ 0 w 618"/>
              <a:gd name="T1" fmla="*/ 487 h 737"/>
              <a:gd name="T2" fmla="*/ 0 w 618"/>
              <a:gd name="T3" fmla="*/ 737 h 737"/>
              <a:gd name="T4" fmla="*/ 206 w 618"/>
              <a:gd name="T5" fmla="*/ 431 h 737"/>
              <a:gd name="T6" fmla="*/ 206 w 618"/>
              <a:gd name="T7" fmla="*/ 737 h 737"/>
              <a:gd name="T8" fmla="*/ 412 w 618"/>
              <a:gd name="T9" fmla="*/ 318 h 737"/>
              <a:gd name="T10" fmla="*/ 412 w 618"/>
              <a:gd name="T11" fmla="*/ 737 h 737"/>
              <a:gd name="T12" fmla="*/ 618 w 618"/>
              <a:gd name="T13" fmla="*/ 223 h 737"/>
              <a:gd name="T14" fmla="*/ 618 w 618"/>
              <a:gd name="T15" fmla="*/ 737 h 737"/>
              <a:gd name="T16" fmla="*/ 0 w 618"/>
              <a:gd name="T17" fmla="*/ 385 h 737"/>
              <a:gd name="T18" fmla="*/ 618 w 618"/>
              <a:gd name="T19" fmla="*/ 23 h 737"/>
              <a:gd name="T20" fmla="*/ 594 w 618"/>
              <a:gd name="T21" fmla="*/ 138 h 737"/>
              <a:gd name="T22" fmla="*/ 618 w 618"/>
              <a:gd name="T23" fmla="*/ 23 h 737"/>
              <a:gd name="T24" fmla="*/ 511 w 618"/>
              <a:gd name="T25" fmla="*/ 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8" h="737">
                <a:moveTo>
                  <a:pt x="0" y="487"/>
                </a:moveTo>
                <a:lnTo>
                  <a:pt x="0" y="737"/>
                </a:lnTo>
                <a:moveTo>
                  <a:pt x="206" y="431"/>
                </a:moveTo>
                <a:lnTo>
                  <a:pt x="206" y="737"/>
                </a:lnTo>
                <a:moveTo>
                  <a:pt x="412" y="318"/>
                </a:moveTo>
                <a:lnTo>
                  <a:pt x="412" y="737"/>
                </a:lnTo>
                <a:moveTo>
                  <a:pt x="618" y="223"/>
                </a:moveTo>
                <a:lnTo>
                  <a:pt x="618" y="737"/>
                </a:lnTo>
                <a:moveTo>
                  <a:pt x="0" y="385"/>
                </a:moveTo>
                <a:lnTo>
                  <a:pt x="618" y="23"/>
                </a:lnTo>
                <a:moveTo>
                  <a:pt x="594" y="138"/>
                </a:moveTo>
                <a:lnTo>
                  <a:pt x="618" y="23"/>
                </a:lnTo>
                <a:lnTo>
                  <a:pt x="511" y="0"/>
                </a:ln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74" name="Freeform 96" title="Icon of a gear with a wrench">
            <a:extLst>
              <a:ext uri="{FF2B5EF4-FFF2-40B4-BE49-F238E27FC236}">
                <a16:creationId xmlns:a16="http://schemas.microsoft.com/office/drawing/2014/main" id="{47616426-602A-44C7-809C-2D52C97C6121}"/>
              </a:ext>
            </a:extLst>
          </p:cNvPr>
          <p:cNvSpPr>
            <a:spLocks noChangeAspect="1" noEditPoints="1"/>
          </p:cNvSpPr>
          <p:nvPr/>
        </p:nvSpPr>
        <p:spPr bwMode="auto">
          <a:xfrm>
            <a:off x="5936022" y="5520339"/>
            <a:ext cx="993093" cy="9144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US" sz="1700">
              <a:gradFill>
                <a:gsLst>
                  <a:gs pos="0">
                    <a:srgbClr val="505050"/>
                  </a:gs>
                  <a:gs pos="100000">
                    <a:srgbClr val="505050"/>
                  </a:gs>
                </a:gsLst>
              </a:gradFill>
            </a:endParaRPr>
          </a:p>
        </p:txBody>
      </p:sp>
    </p:spTree>
    <p:extLst>
      <p:ext uri="{BB962C8B-B14F-4D97-AF65-F5344CB8AC3E}">
        <p14:creationId xmlns:p14="http://schemas.microsoft.com/office/powerpoint/2010/main" val="2096698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par>
                                <p:cTn id="20" presetID="42" presetClass="path" presetSubtype="0" decel="100000" fill="hold" grpId="1" nodeType="withEffect">
                                  <p:stCondLst>
                                    <p:cond delay="0"/>
                                  </p:stCondLst>
                                  <p:childTnLst>
                                    <p:animMotion origin="layout" path="M -1.04167E-6 3.33333E-6 L -0.0345 -0.00093 " pathEditMode="relative" rAng="0" ptsTypes="AA">
                                      <p:cBhvr>
                                        <p:cTn id="21" dur="700" spd="-100000" fill="hold"/>
                                        <p:tgtEl>
                                          <p:spTgt spid="45"/>
                                        </p:tgtEl>
                                        <p:attrNameLst>
                                          <p:attrName>ppt_x</p:attrName>
                                          <p:attrName>ppt_y</p:attrName>
                                        </p:attrNameLst>
                                      </p:cBhvr>
                                      <p:rCtr x="-1732" y="-46"/>
                                    </p:animMotion>
                                  </p:childTnLst>
                                </p:cTn>
                              </p:par>
                              <p:par>
                                <p:cTn id="22" presetID="10" presetClass="entr" presetSubtype="0" fill="hold" grpId="0" nodeType="withEffect">
                                  <p:stCondLst>
                                    <p:cond delay="25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par>
                                <p:cTn id="25" presetID="42" presetClass="path" presetSubtype="0" decel="100000" fill="hold" grpId="1" nodeType="withEffect">
                                  <p:stCondLst>
                                    <p:cond delay="0"/>
                                  </p:stCondLst>
                                  <p:childTnLst>
                                    <p:animMotion origin="layout" path="M -1.04167E-6 3.33333E-6 L -0.0345 -0.00093 " pathEditMode="relative" rAng="0" ptsTypes="AA">
                                      <p:cBhvr>
                                        <p:cTn id="26" dur="700" spd="-100000" fill="hold"/>
                                        <p:tgtEl>
                                          <p:spTgt spid="121"/>
                                        </p:tgtEl>
                                        <p:attrNameLst>
                                          <p:attrName>ppt_x</p:attrName>
                                          <p:attrName>ppt_y</p:attrName>
                                        </p:attrNameLst>
                                      </p:cBhvr>
                                      <p:rCtr x="-1732" y="-46"/>
                                    </p:animMotion>
                                  </p:childTnLst>
                                </p:cTn>
                              </p:par>
                              <p:par>
                                <p:cTn id="27" presetID="10" presetClass="entr" presetSubtype="0" fill="hold" grpId="0" nodeType="withEffect">
                                  <p:stCondLst>
                                    <p:cond delay="250"/>
                                  </p:stCondLst>
                                  <p:childTnLst>
                                    <p:set>
                                      <p:cBhvr>
                                        <p:cTn id="28" dur="1" fill="hold">
                                          <p:stCondLst>
                                            <p:cond delay="0"/>
                                          </p:stCondLst>
                                        </p:cTn>
                                        <p:tgtEl>
                                          <p:spTgt spid="122"/>
                                        </p:tgtEl>
                                        <p:attrNameLst>
                                          <p:attrName>style.visibility</p:attrName>
                                        </p:attrNameLst>
                                      </p:cBhvr>
                                      <p:to>
                                        <p:strVal val="visible"/>
                                      </p:to>
                                    </p:set>
                                    <p:animEffect transition="in" filter="fade">
                                      <p:cBhvr>
                                        <p:cTn id="29" dur="500"/>
                                        <p:tgtEl>
                                          <p:spTgt spid="122"/>
                                        </p:tgtEl>
                                      </p:cBhvr>
                                    </p:animEffect>
                                  </p:childTnLst>
                                </p:cTn>
                              </p:par>
                              <p:par>
                                <p:cTn id="30" presetID="42" presetClass="path" presetSubtype="0" decel="100000" fill="hold" grpId="1" nodeType="withEffect">
                                  <p:stCondLst>
                                    <p:cond delay="0"/>
                                  </p:stCondLst>
                                  <p:childTnLst>
                                    <p:animMotion origin="layout" path="M -1.04167E-6 3.33333E-6 L -0.0345 -0.00093 " pathEditMode="relative" rAng="0" ptsTypes="AA">
                                      <p:cBhvr>
                                        <p:cTn id="31" dur="700" spd="-100000" fill="hold"/>
                                        <p:tgtEl>
                                          <p:spTgt spid="122"/>
                                        </p:tgtEl>
                                        <p:attrNameLst>
                                          <p:attrName>ppt_x</p:attrName>
                                          <p:attrName>ppt_y</p:attrName>
                                        </p:attrNameLst>
                                      </p:cBhvr>
                                      <p:rCtr x="-1732" y="-46"/>
                                    </p:animMotion>
                                  </p:childTnLst>
                                </p:cTn>
                              </p:par>
                              <p:par>
                                <p:cTn id="32" presetID="10" presetClass="entr" presetSubtype="0" fill="hold" grpId="0" nodeType="withEffect">
                                  <p:stCondLst>
                                    <p:cond delay="250"/>
                                  </p:stCondLst>
                                  <p:childTnLst>
                                    <p:set>
                                      <p:cBhvr>
                                        <p:cTn id="33" dur="1" fill="hold">
                                          <p:stCondLst>
                                            <p:cond delay="0"/>
                                          </p:stCondLst>
                                        </p:cTn>
                                        <p:tgtEl>
                                          <p:spTgt spid="120"/>
                                        </p:tgtEl>
                                        <p:attrNameLst>
                                          <p:attrName>style.visibility</p:attrName>
                                        </p:attrNameLst>
                                      </p:cBhvr>
                                      <p:to>
                                        <p:strVal val="visible"/>
                                      </p:to>
                                    </p:set>
                                    <p:animEffect transition="in" filter="fade">
                                      <p:cBhvr>
                                        <p:cTn id="34" dur="500"/>
                                        <p:tgtEl>
                                          <p:spTgt spid="120"/>
                                        </p:tgtEl>
                                      </p:cBhvr>
                                    </p:animEffect>
                                  </p:childTnLst>
                                </p:cTn>
                              </p:par>
                              <p:par>
                                <p:cTn id="35" presetID="42" presetClass="path" presetSubtype="0" decel="100000" fill="hold" grpId="1" nodeType="withEffect">
                                  <p:stCondLst>
                                    <p:cond delay="0"/>
                                  </p:stCondLst>
                                  <p:childTnLst>
                                    <p:animMotion origin="layout" path="M -1.04167E-6 3.33333E-6 L -0.0345 -0.00093 " pathEditMode="relative" rAng="0" ptsTypes="AA">
                                      <p:cBhvr>
                                        <p:cTn id="36" dur="700" spd="-100000" fill="hold"/>
                                        <p:tgtEl>
                                          <p:spTgt spid="120"/>
                                        </p:tgtEl>
                                        <p:attrNameLst>
                                          <p:attrName>ppt_x</p:attrName>
                                          <p:attrName>ppt_y</p:attrName>
                                        </p:attrNameLst>
                                      </p:cBhvr>
                                      <p:rCtr x="-1732" y="-46"/>
                                    </p:animMotion>
                                  </p:childTnLst>
                                </p:cTn>
                              </p:par>
                            </p:childTnLst>
                          </p:cTn>
                        </p:par>
                        <p:par>
                          <p:cTn id="37" fill="hold">
                            <p:stCondLst>
                              <p:cond delay="750"/>
                            </p:stCondLst>
                            <p:childTnLst>
                              <p:par>
                                <p:cTn id="38" presetID="10" presetClass="entr" presetSubtype="0" fill="hold" grpId="0" nodeType="afterEffect">
                                  <p:stCondLst>
                                    <p:cond delay="25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par>
                                <p:cTn id="41" presetID="42" presetClass="path" presetSubtype="0" decel="100000" fill="hold" grpId="1" nodeType="withEffect">
                                  <p:stCondLst>
                                    <p:cond delay="0"/>
                                  </p:stCondLst>
                                  <p:childTnLst>
                                    <p:animMotion origin="layout" path="M -1.04167E-6 3.33333E-6 L -1.04167E-6 0.03171 " pathEditMode="relative" rAng="0" ptsTypes="AA">
                                      <p:cBhvr>
                                        <p:cTn id="42" dur="700" spd="-100000" fill="hold"/>
                                        <p:tgtEl>
                                          <p:spTgt spid="77"/>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P spid="120" grpId="0"/>
      <p:bldP spid="120" grpId="1"/>
      <p:bldP spid="121" grpId="0"/>
      <p:bldP spid="121" grpId="1"/>
      <p:bldP spid="122" grpId="0"/>
      <p:bldP spid="122" grpId="1"/>
      <p:bldP spid="45" grpId="0"/>
      <p:bldP spid="45" grpId="1"/>
      <p:bldP spid="16" grpId="0" animBg="1"/>
      <p:bldP spid="24" grpId="0" animBg="1"/>
      <p:bldP spid="28" grpId="0" animBg="1"/>
      <p:bldP spid="74"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267999"/>
            <a:ext cx="11306469" cy="1107996"/>
          </a:xfrm>
        </p:spPr>
        <p:txBody>
          <a:bodyPr anchor="ctr"/>
          <a:lstStyle/>
          <a:p>
            <a:pPr>
              <a:lnSpc>
                <a:spcPct val="100000"/>
              </a:lnSpc>
            </a:pPr>
            <a:r>
              <a:rPr lang="en-US"/>
              <a:t>Q5: For the topic </a:t>
            </a:r>
            <a:r>
              <a:rPr lang="en-US">
                <a:solidFill>
                  <a:schemeClr val="tx2"/>
                </a:solidFill>
              </a:rPr>
              <a:t>“My appliance doesn’t work”, </a:t>
            </a:r>
            <a:r>
              <a:rPr lang="en-US"/>
              <a:t>please select the best trigger phrase from below:</a:t>
            </a:r>
          </a:p>
        </p:txBody>
      </p:sp>
      <p:sp>
        <p:nvSpPr>
          <p:cNvPr id="22" name="Rectangle 21">
            <a:extLst>
              <a:ext uri="{FF2B5EF4-FFF2-40B4-BE49-F238E27FC236}">
                <a16:creationId xmlns:a16="http://schemas.microsoft.com/office/drawing/2014/main" id="{2576C39B-6E51-4312-84FF-AAF75BD5A16E}"/>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a:extLst>
              <a:ext uri="{FF2B5EF4-FFF2-40B4-BE49-F238E27FC236}">
                <a16:creationId xmlns:a16="http://schemas.microsoft.com/office/drawing/2014/main" id="{825C3066-6B14-4CD1-90C5-A03280167796}"/>
              </a:ext>
            </a:extLst>
          </p:cNvPr>
          <p:cNvGrpSpPr/>
          <p:nvPr/>
        </p:nvGrpSpPr>
        <p:grpSpPr>
          <a:xfrm>
            <a:off x="597174" y="1820128"/>
            <a:ext cx="7562977" cy="3952681"/>
            <a:chOff x="7521574" y="2400300"/>
            <a:chExt cx="3927475" cy="3160193"/>
          </a:xfrm>
          <a:solidFill>
            <a:schemeClr val="bg1">
              <a:lumMod val="85000"/>
            </a:schemeClr>
          </a:solidFill>
        </p:grpSpPr>
        <p:sp>
          <p:nvSpPr>
            <p:cNvPr id="26" name="Rectangle: Rounded Corners 25">
              <a:extLst>
                <a:ext uri="{FF2B5EF4-FFF2-40B4-BE49-F238E27FC236}">
                  <a16:creationId xmlns:a16="http://schemas.microsoft.com/office/drawing/2014/main" id="{3F44D6AF-2651-4409-9AE6-279AFC39CF59}"/>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rgbClr val="3C3C41"/>
                  </a:solidFill>
                </a:rPr>
                <a:t>A. I want to buy another dishwasher.</a:t>
              </a:r>
            </a:p>
          </p:txBody>
        </p:sp>
        <p:sp>
          <p:nvSpPr>
            <p:cNvPr id="27" name="Rectangle: Rounded Corners 26">
              <a:extLst>
                <a:ext uri="{FF2B5EF4-FFF2-40B4-BE49-F238E27FC236}">
                  <a16:creationId xmlns:a16="http://schemas.microsoft.com/office/drawing/2014/main" id="{DAF2E5DF-EA25-4F46-B445-D941C13CFE14}"/>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My freezer doesn’t work.</a:t>
              </a:r>
            </a:p>
          </p:txBody>
        </p:sp>
        <p:sp>
          <p:nvSpPr>
            <p:cNvPr id="28" name="Rectangle: Rounded Corners 27">
              <a:extLst>
                <a:ext uri="{FF2B5EF4-FFF2-40B4-BE49-F238E27FC236}">
                  <a16:creationId xmlns:a16="http://schemas.microsoft.com/office/drawing/2014/main" id="{FF7D0915-46CC-4148-ADE2-577F00C038B0}"/>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C. I have a problem.</a:t>
              </a:r>
            </a:p>
          </p:txBody>
        </p:sp>
        <p:sp>
          <p:nvSpPr>
            <p:cNvPr id="29" name="Rectangle: Rounded Corners 28">
              <a:extLst>
                <a:ext uri="{FF2B5EF4-FFF2-40B4-BE49-F238E27FC236}">
                  <a16:creationId xmlns:a16="http://schemas.microsoft.com/office/drawing/2014/main" id="{188DBF6C-5C9F-4963-89FE-01ECA76877F2}"/>
                </a:ext>
              </a:extLst>
            </p:cNvPr>
            <p:cNvSpPr/>
            <p:nvPr/>
          </p:nvSpPr>
          <p:spPr bwMode="auto">
            <a:xfrm>
              <a:off x="7521574" y="4912793"/>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D. Something is wrong with my appliance.</a:t>
              </a:r>
            </a:p>
          </p:txBody>
        </p:sp>
      </p:grpSp>
    </p:spTree>
    <p:extLst>
      <p:ext uri="{BB962C8B-B14F-4D97-AF65-F5344CB8AC3E}">
        <p14:creationId xmlns:p14="http://schemas.microsoft.com/office/powerpoint/2010/main" val="271944123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D</a:t>
            </a:r>
          </a:p>
        </p:txBody>
      </p:sp>
      <p:sp>
        <p:nvSpPr>
          <p:cNvPr id="44" name="Rectangle 43">
            <a:extLst>
              <a:ext uri="{FF2B5EF4-FFF2-40B4-BE49-F238E27FC236}">
                <a16:creationId xmlns:a16="http://schemas.microsoft.com/office/drawing/2014/main" id="{6D587FD3-CBF8-4CF2-A349-FE02BEF31D99}"/>
              </a:ext>
            </a:extLst>
          </p:cNvPr>
          <p:cNvSpPr/>
          <p:nvPr/>
        </p:nvSpPr>
        <p:spPr bwMode="auto">
          <a:xfrm>
            <a:off x="0" y="1508760"/>
            <a:ext cx="12192001" cy="457541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a:extLst>
              <a:ext uri="{FF2B5EF4-FFF2-40B4-BE49-F238E27FC236}">
                <a16:creationId xmlns:a16="http://schemas.microsoft.com/office/drawing/2014/main" id="{196D1F0A-A5C8-4850-949B-8C8BCCFAC0AD}"/>
              </a:ext>
            </a:extLst>
          </p:cNvPr>
          <p:cNvGrpSpPr/>
          <p:nvPr/>
        </p:nvGrpSpPr>
        <p:grpSpPr>
          <a:xfrm>
            <a:off x="597174" y="1820128"/>
            <a:ext cx="7562977" cy="3952681"/>
            <a:chOff x="7521574" y="2400300"/>
            <a:chExt cx="3927475" cy="3160193"/>
          </a:xfrm>
          <a:solidFill>
            <a:schemeClr val="tx2"/>
          </a:solidFill>
        </p:grpSpPr>
        <p:sp>
          <p:nvSpPr>
            <p:cNvPr id="47" name="Rectangle: Rounded Corners 46">
              <a:extLst>
                <a:ext uri="{FF2B5EF4-FFF2-40B4-BE49-F238E27FC236}">
                  <a16:creationId xmlns:a16="http://schemas.microsoft.com/office/drawing/2014/main" id="{C1EED586-92B0-4729-9CD7-D5B688266144}"/>
                </a:ext>
              </a:extLst>
            </p:cNvPr>
            <p:cNvSpPr/>
            <p:nvPr/>
          </p:nvSpPr>
          <p:spPr bwMode="auto">
            <a:xfrm>
              <a:off x="7521574" y="2400300"/>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chemeClr val="tx1"/>
                  </a:solidFill>
                </a:rPr>
                <a:t>A. I want to buy another dishwasher.</a:t>
              </a:r>
            </a:p>
          </p:txBody>
        </p:sp>
        <p:sp>
          <p:nvSpPr>
            <p:cNvPr id="48" name="Rectangle: Rounded Corners 47">
              <a:extLst>
                <a:ext uri="{FF2B5EF4-FFF2-40B4-BE49-F238E27FC236}">
                  <a16:creationId xmlns:a16="http://schemas.microsoft.com/office/drawing/2014/main" id="{9FF48568-C76C-4613-A452-5A386D883D92}"/>
                </a:ext>
              </a:extLst>
            </p:cNvPr>
            <p:cNvSpPr/>
            <p:nvPr/>
          </p:nvSpPr>
          <p:spPr bwMode="auto">
            <a:xfrm>
              <a:off x="7521574" y="3233057"/>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B. My freezer doesn’t work.</a:t>
              </a:r>
            </a:p>
          </p:txBody>
        </p:sp>
        <p:sp>
          <p:nvSpPr>
            <p:cNvPr id="49" name="Rectangle: Rounded Corners 48">
              <a:extLst>
                <a:ext uri="{FF2B5EF4-FFF2-40B4-BE49-F238E27FC236}">
                  <a16:creationId xmlns:a16="http://schemas.microsoft.com/office/drawing/2014/main" id="{3DB75576-63D1-4505-8FF0-A7E2D49A352E}"/>
                </a:ext>
              </a:extLst>
            </p:cNvPr>
            <p:cNvSpPr/>
            <p:nvPr/>
          </p:nvSpPr>
          <p:spPr bwMode="auto">
            <a:xfrm>
              <a:off x="7521574" y="4065814"/>
              <a:ext cx="3927475" cy="64770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tx1"/>
                  </a:solidFill>
                </a:rPr>
                <a:t>C. I have a problem.</a:t>
              </a:r>
            </a:p>
          </p:txBody>
        </p:sp>
        <p:sp>
          <p:nvSpPr>
            <p:cNvPr id="50" name="Rectangle: Rounded Corners 49">
              <a:extLst>
                <a:ext uri="{FF2B5EF4-FFF2-40B4-BE49-F238E27FC236}">
                  <a16:creationId xmlns:a16="http://schemas.microsoft.com/office/drawing/2014/main" id="{42BE5629-A4F9-4040-974A-E448A0C8AECC}"/>
                </a:ext>
              </a:extLst>
            </p:cNvPr>
            <p:cNvSpPr/>
            <p:nvPr/>
          </p:nvSpPr>
          <p:spPr bwMode="auto">
            <a:xfrm>
              <a:off x="7521574" y="4912793"/>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D. Something is wrong with my appliance.</a:t>
              </a:r>
            </a:p>
          </p:txBody>
        </p:sp>
      </p:grpSp>
      <p:sp>
        <p:nvSpPr>
          <p:cNvPr id="51" name="Rectangle 50">
            <a:extLst>
              <a:ext uri="{FF2B5EF4-FFF2-40B4-BE49-F238E27FC236}">
                <a16:creationId xmlns:a16="http://schemas.microsoft.com/office/drawing/2014/main" id="{0B8CAB74-2FE6-4666-BFD9-2A224E5FB5E6}"/>
              </a:ext>
            </a:extLst>
          </p:cNvPr>
          <p:cNvSpPr/>
          <p:nvPr/>
        </p:nvSpPr>
        <p:spPr bwMode="auto">
          <a:xfrm>
            <a:off x="8841804" y="1756016"/>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rgbClr val="FF0000"/>
                </a:solidFill>
                <a:ea typeface="Segoe UI" pitchFamily="34" charset="0"/>
                <a:cs typeface="Segoe UI" pitchFamily="34" charset="0"/>
              </a:rPr>
              <a:t>A</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is not good because it is not related to the topic at all</a:t>
            </a:r>
          </a:p>
        </p:txBody>
      </p:sp>
      <p:sp>
        <p:nvSpPr>
          <p:cNvPr id="52" name="Rectangle 51">
            <a:extLst>
              <a:ext uri="{FF2B5EF4-FFF2-40B4-BE49-F238E27FC236}">
                <a16:creationId xmlns:a16="http://schemas.microsoft.com/office/drawing/2014/main" id="{78216771-C73F-435E-9422-06C31CFEBE3C}"/>
              </a:ext>
            </a:extLst>
          </p:cNvPr>
          <p:cNvSpPr/>
          <p:nvPr/>
        </p:nvSpPr>
        <p:spPr bwMode="auto">
          <a:xfrm>
            <a:off x="8841804" y="2803535"/>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rgbClr val="0070C0"/>
                </a:solidFill>
                <a:ea typeface="Segoe UI" pitchFamily="34" charset="0"/>
                <a:cs typeface="Segoe UI" pitchFamily="34" charset="0"/>
              </a:rPr>
              <a:t>B</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depends on your business logic. If "freezer" is out of your business scope, you should not use it</a:t>
            </a:r>
          </a:p>
        </p:txBody>
      </p:sp>
      <p:sp>
        <p:nvSpPr>
          <p:cNvPr id="53" name="Rectangle 52">
            <a:extLst>
              <a:ext uri="{FF2B5EF4-FFF2-40B4-BE49-F238E27FC236}">
                <a16:creationId xmlns:a16="http://schemas.microsoft.com/office/drawing/2014/main" id="{C974D1E6-FAEC-44AB-A0AA-F4913C3ECF0A}"/>
              </a:ext>
            </a:extLst>
          </p:cNvPr>
          <p:cNvSpPr/>
          <p:nvPr/>
        </p:nvSpPr>
        <p:spPr bwMode="auto">
          <a:xfrm>
            <a:off x="8841804" y="3851054"/>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rgbClr val="FF0000"/>
                </a:solidFill>
                <a:ea typeface="Segoe UI" pitchFamily="34" charset="0"/>
                <a:cs typeface="Segoe UI" pitchFamily="34" charset="0"/>
              </a:rPr>
              <a:t>C</a:t>
            </a:r>
            <a:r>
              <a:rPr lang="en-US" sz="1372">
                <a:solidFill>
                  <a:schemeClr val="tx1"/>
                </a:solidFill>
                <a:ea typeface="Segoe UI" pitchFamily="34" charset="0"/>
                <a:cs typeface="Segoe UI" pitchFamily="34" charset="0"/>
              </a:rPr>
              <a:t> is not good because it is too broad. You may want to use another generic topic to handle “I have a problem”</a:t>
            </a:r>
          </a:p>
        </p:txBody>
      </p:sp>
      <p:sp>
        <p:nvSpPr>
          <p:cNvPr id="54" name="Rectangle 53">
            <a:extLst>
              <a:ext uri="{FF2B5EF4-FFF2-40B4-BE49-F238E27FC236}">
                <a16:creationId xmlns:a16="http://schemas.microsoft.com/office/drawing/2014/main" id="{2012B525-E1C4-4660-908C-FDCD62D4CF26}"/>
              </a:ext>
            </a:extLst>
          </p:cNvPr>
          <p:cNvSpPr/>
          <p:nvPr/>
        </p:nvSpPr>
        <p:spPr bwMode="auto">
          <a:xfrm>
            <a:off x="8841804" y="4898572"/>
            <a:ext cx="2770632" cy="93834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1372">
                <a:solidFill>
                  <a:schemeClr val="tx2"/>
                </a:solidFill>
                <a:ea typeface="Segoe UI" pitchFamily="34" charset="0"/>
                <a:cs typeface="Segoe UI" pitchFamily="34" charset="0"/>
              </a:rPr>
              <a:t>D</a:t>
            </a:r>
            <a:r>
              <a:rPr lang="en-US" sz="1372">
                <a:solidFill>
                  <a:srgbClr val="00B050"/>
                </a:solidFill>
                <a:ea typeface="Segoe UI" pitchFamily="34" charset="0"/>
                <a:cs typeface="Segoe UI" pitchFamily="34" charset="0"/>
              </a:rPr>
              <a:t> </a:t>
            </a:r>
            <a:r>
              <a:rPr lang="en-US" sz="1372">
                <a:solidFill>
                  <a:schemeClr val="tx1"/>
                </a:solidFill>
                <a:ea typeface="Segoe UI" pitchFamily="34" charset="0"/>
                <a:cs typeface="Segoe UI" pitchFamily="34" charset="0"/>
              </a:rPr>
              <a:t>is the best because it is simple and direct</a:t>
            </a:r>
          </a:p>
        </p:txBody>
      </p:sp>
      <p:cxnSp>
        <p:nvCxnSpPr>
          <p:cNvPr id="55" name="Straight Connector 54">
            <a:extLst>
              <a:ext uri="{FF2B5EF4-FFF2-40B4-BE49-F238E27FC236}">
                <a16:creationId xmlns:a16="http://schemas.microsoft.com/office/drawing/2014/main" id="{8CFA7A4A-4380-4661-8F97-4455338E1466}"/>
              </a:ext>
            </a:extLst>
          </p:cNvPr>
          <p:cNvCxnSpPr>
            <a:cxnSpLocks/>
            <a:stCxn id="51" idx="1"/>
          </p:cNvCxnSpPr>
          <p:nvPr/>
        </p:nvCxnSpPr>
        <p:spPr>
          <a:xfrm flipH="1">
            <a:off x="8160151" y="2225190"/>
            <a:ext cx="681653" cy="1"/>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EF20944-F91C-46F4-BFA6-D48F6BA696F9}"/>
              </a:ext>
            </a:extLst>
          </p:cNvPr>
          <p:cNvCxnSpPr>
            <a:cxnSpLocks/>
            <a:stCxn id="52" idx="1"/>
          </p:cNvCxnSpPr>
          <p:nvPr/>
        </p:nvCxnSpPr>
        <p:spPr>
          <a:xfrm flipH="1" flipV="1">
            <a:off x="8160151" y="3266780"/>
            <a:ext cx="681653" cy="5929"/>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D32D7D0-B576-4AD3-9954-0ACDCA44201A}"/>
              </a:ext>
            </a:extLst>
          </p:cNvPr>
          <p:cNvCxnSpPr>
            <a:cxnSpLocks/>
            <a:stCxn id="53" idx="1"/>
          </p:cNvCxnSpPr>
          <p:nvPr/>
        </p:nvCxnSpPr>
        <p:spPr>
          <a:xfrm flipH="1" flipV="1">
            <a:off x="8160151" y="4308369"/>
            <a:ext cx="681653" cy="11859"/>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7856CB2-15B6-4B8B-A0A8-F1F6F6B7CF94}"/>
              </a:ext>
            </a:extLst>
          </p:cNvPr>
          <p:cNvCxnSpPr>
            <a:cxnSpLocks/>
            <a:stCxn id="54" idx="1"/>
          </p:cNvCxnSpPr>
          <p:nvPr/>
        </p:nvCxnSpPr>
        <p:spPr>
          <a:xfrm flipH="1">
            <a:off x="8160151" y="5367746"/>
            <a:ext cx="681653" cy="1"/>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598320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4242A63C-EE81-46A8-AB7A-A39EBC97D6A6}"/>
              </a:ext>
            </a:extLst>
          </p:cNvPr>
          <p:cNvSpPr/>
          <p:nvPr/>
        </p:nvSpPr>
        <p:spPr bwMode="auto">
          <a:xfrm>
            <a:off x="0" y="2087880"/>
            <a:ext cx="12192001" cy="417917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267999"/>
            <a:ext cx="11306469" cy="1107996"/>
          </a:xfrm>
        </p:spPr>
        <p:txBody>
          <a:bodyPr anchor="ctr"/>
          <a:lstStyle/>
          <a:p>
            <a:pPr>
              <a:lnSpc>
                <a:spcPct val="100000"/>
              </a:lnSpc>
            </a:pPr>
            <a:r>
              <a:rPr lang="en-US"/>
              <a:t>Q6: Below is a sentence from real customer chatlogs. Which topic should we add this trigger phrase to?</a:t>
            </a:r>
          </a:p>
        </p:txBody>
      </p:sp>
      <p:sp>
        <p:nvSpPr>
          <p:cNvPr id="23" name="Rectangle 22">
            <a:extLst>
              <a:ext uri="{FF2B5EF4-FFF2-40B4-BE49-F238E27FC236}">
                <a16:creationId xmlns:a16="http://schemas.microsoft.com/office/drawing/2014/main" id="{12095EE4-F516-422B-A23A-F8F17E49B350}"/>
              </a:ext>
            </a:extLst>
          </p:cNvPr>
          <p:cNvSpPr/>
          <p:nvPr/>
        </p:nvSpPr>
        <p:spPr>
          <a:xfrm>
            <a:off x="455994" y="1465422"/>
            <a:ext cx="11306469" cy="430887"/>
          </a:xfrm>
          <a:prstGeom prst="rect">
            <a:avLst/>
          </a:prstGeom>
        </p:spPr>
        <p:txBody>
          <a:bodyPr wrap="square" lIns="0" tIns="0" rIns="0" bIns="0">
            <a:spAutoFit/>
          </a:bodyPr>
          <a:lstStyle/>
          <a:p>
            <a:r>
              <a:rPr lang="en-US" sz="2800" spc="-49">
                <a:ln w="3175">
                  <a:noFill/>
                </a:ln>
                <a:solidFill>
                  <a:schemeClr val="tx2"/>
                </a:solidFill>
                <a:latin typeface="Segoe UI Semibold"/>
                <a:cs typeface="Segoe UI" pitchFamily="34" charset="0"/>
              </a:rPr>
              <a:t>Sentence: </a:t>
            </a:r>
            <a:r>
              <a:rPr lang="en-US" sz="2800" i="1" spc="-49">
                <a:ln w="3175">
                  <a:noFill/>
                </a:ln>
                <a:latin typeface="Segoe UI Semibold"/>
                <a:cs typeface="Segoe UI" pitchFamily="34" charset="0"/>
              </a:rPr>
              <a:t>"My new refrigerator stops working, so I want to return it"</a:t>
            </a:r>
          </a:p>
        </p:txBody>
      </p:sp>
      <p:grpSp>
        <p:nvGrpSpPr>
          <p:cNvPr id="28" name="Group 27">
            <a:extLst>
              <a:ext uri="{FF2B5EF4-FFF2-40B4-BE49-F238E27FC236}">
                <a16:creationId xmlns:a16="http://schemas.microsoft.com/office/drawing/2014/main" id="{E6007410-8BCE-48D7-9778-784E9214CCF1}"/>
              </a:ext>
            </a:extLst>
          </p:cNvPr>
          <p:cNvGrpSpPr/>
          <p:nvPr/>
        </p:nvGrpSpPr>
        <p:grpSpPr>
          <a:xfrm>
            <a:off x="597174" y="2296904"/>
            <a:ext cx="7562977" cy="3761129"/>
            <a:chOff x="7521574" y="2400300"/>
            <a:chExt cx="3927475" cy="3160193"/>
          </a:xfrm>
          <a:solidFill>
            <a:schemeClr val="bg1">
              <a:lumMod val="85000"/>
            </a:schemeClr>
          </a:solidFill>
        </p:grpSpPr>
        <p:sp>
          <p:nvSpPr>
            <p:cNvPr id="29" name="Rectangle: Rounded Corners 28">
              <a:extLst>
                <a:ext uri="{FF2B5EF4-FFF2-40B4-BE49-F238E27FC236}">
                  <a16:creationId xmlns:a16="http://schemas.microsoft.com/office/drawing/2014/main" id="{ECA5A20F-9402-452D-9E97-2F3A974FC2AA}"/>
                </a:ext>
              </a:extLst>
            </p:cNvPr>
            <p:cNvSpPr/>
            <p:nvPr/>
          </p:nvSpPr>
          <p:spPr bwMode="auto">
            <a:xfrm>
              <a:off x="7521574" y="2400300"/>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rgbClr val="3C3C41"/>
                  </a:solidFill>
                </a:rPr>
                <a:t>A. Add it to the </a:t>
              </a:r>
              <a:r>
                <a:rPr lang="en-US" sz="1800">
                  <a:solidFill>
                    <a:schemeClr val="tx2"/>
                  </a:solidFill>
                </a:rPr>
                <a:t>“Return item” </a:t>
              </a:r>
              <a:r>
                <a:rPr lang="en-US" sz="1800">
                  <a:solidFill>
                    <a:srgbClr val="3C3C41"/>
                  </a:solidFill>
                </a:rPr>
                <a:t>topic.</a:t>
              </a:r>
            </a:p>
          </p:txBody>
        </p:sp>
        <p:sp>
          <p:nvSpPr>
            <p:cNvPr id="30" name="Rectangle: Rounded Corners 29">
              <a:extLst>
                <a:ext uri="{FF2B5EF4-FFF2-40B4-BE49-F238E27FC236}">
                  <a16:creationId xmlns:a16="http://schemas.microsoft.com/office/drawing/2014/main" id="{38C9D073-2D8C-4D9C-A5E1-4C5B413AEE49}"/>
                </a:ext>
              </a:extLst>
            </p:cNvPr>
            <p:cNvSpPr/>
            <p:nvPr/>
          </p:nvSpPr>
          <p:spPr bwMode="auto">
            <a:xfrm>
              <a:off x="7521574" y="3233057"/>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Add it to the </a:t>
              </a:r>
              <a:r>
                <a:rPr lang="en-US" sz="1800">
                  <a:solidFill>
                    <a:schemeClr val="tx2"/>
                  </a:solidFill>
                </a:rPr>
                <a:t>“My appliance doesn’t work” </a:t>
              </a:r>
              <a:r>
                <a:rPr lang="en-US" sz="1800">
                  <a:solidFill>
                    <a:srgbClr val="3C3C41"/>
                  </a:solidFill>
                </a:rPr>
                <a:t>topic.</a:t>
              </a:r>
            </a:p>
          </p:txBody>
        </p:sp>
        <p:sp>
          <p:nvSpPr>
            <p:cNvPr id="31" name="Rectangle: Rounded Corners 30">
              <a:extLst>
                <a:ext uri="{FF2B5EF4-FFF2-40B4-BE49-F238E27FC236}">
                  <a16:creationId xmlns:a16="http://schemas.microsoft.com/office/drawing/2014/main" id="{259B0897-79B2-4D45-BE74-910051B4B0B2}"/>
                </a:ext>
              </a:extLst>
            </p:cNvPr>
            <p:cNvSpPr/>
            <p:nvPr/>
          </p:nvSpPr>
          <p:spPr bwMode="auto">
            <a:xfrm>
              <a:off x="7521574" y="4065814"/>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C. We shouldn’t add it to any of these two topics.</a:t>
              </a:r>
            </a:p>
          </p:txBody>
        </p:sp>
        <p:sp>
          <p:nvSpPr>
            <p:cNvPr id="32" name="Rectangle: Rounded Corners 31">
              <a:extLst>
                <a:ext uri="{FF2B5EF4-FFF2-40B4-BE49-F238E27FC236}">
                  <a16:creationId xmlns:a16="http://schemas.microsoft.com/office/drawing/2014/main" id="{B8D37288-86CC-4094-AAEF-97165C73FB27}"/>
                </a:ext>
              </a:extLst>
            </p:cNvPr>
            <p:cNvSpPr/>
            <p:nvPr/>
          </p:nvSpPr>
          <p:spPr bwMode="auto">
            <a:xfrm>
              <a:off x="7521574" y="4912793"/>
              <a:ext cx="3927475" cy="6477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D. We should add it to both topics.</a:t>
              </a:r>
            </a:p>
          </p:txBody>
        </p:sp>
      </p:grpSp>
    </p:spTree>
    <p:extLst>
      <p:ext uri="{BB962C8B-B14F-4D97-AF65-F5344CB8AC3E}">
        <p14:creationId xmlns:p14="http://schemas.microsoft.com/office/powerpoint/2010/main" val="220208494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C</a:t>
            </a:r>
          </a:p>
        </p:txBody>
      </p:sp>
      <p:sp>
        <p:nvSpPr>
          <p:cNvPr id="28" name="Rectangle 27">
            <a:extLst>
              <a:ext uri="{FF2B5EF4-FFF2-40B4-BE49-F238E27FC236}">
                <a16:creationId xmlns:a16="http://schemas.microsoft.com/office/drawing/2014/main" id="{D47B10AD-794A-41E3-817F-C2F1BF875E2D}"/>
              </a:ext>
            </a:extLst>
          </p:cNvPr>
          <p:cNvSpPr/>
          <p:nvPr/>
        </p:nvSpPr>
        <p:spPr bwMode="auto">
          <a:xfrm>
            <a:off x="0" y="2087880"/>
            <a:ext cx="12192001" cy="417917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6777A506-2152-405E-AC20-F2BF5D3B801A}"/>
              </a:ext>
            </a:extLst>
          </p:cNvPr>
          <p:cNvGrpSpPr/>
          <p:nvPr/>
        </p:nvGrpSpPr>
        <p:grpSpPr>
          <a:xfrm>
            <a:off x="597174" y="2296904"/>
            <a:ext cx="7562977" cy="3761129"/>
            <a:chOff x="7521574" y="2400300"/>
            <a:chExt cx="3927475" cy="3160193"/>
          </a:xfrm>
          <a:solidFill>
            <a:schemeClr val="bg1">
              <a:lumMod val="85000"/>
            </a:schemeClr>
          </a:solidFill>
        </p:grpSpPr>
        <p:sp>
          <p:nvSpPr>
            <p:cNvPr id="30" name="Rectangle: Rounded Corners 29">
              <a:extLst>
                <a:ext uri="{FF2B5EF4-FFF2-40B4-BE49-F238E27FC236}">
                  <a16:creationId xmlns:a16="http://schemas.microsoft.com/office/drawing/2014/main" id="{56DB622A-779C-4B4F-8273-EB63D3AD2E9C}"/>
                </a:ext>
              </a:extLst>
            </p:cNvPr>
            <p:cNvSpPr/>
            <p:nvPr/>
          </p:nvSpPr>
          <p:spPr bwMode="auto">
            <a:xfrm>
              <a:off x="7521574" y="2400300"/>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a:solidFill>
                    <a:srgbClr val="3C3C41"/>
                  </a:solidFill>
                </a:rPr>
                <a:t>A. Add it to the </a:t>
              </a:r>
              <a:r>
                <a:rPr lang="en-US" sz="1800">
                  <a:solidFill>
                    <a:schemeClr val="tx2"/>
                  </a:solidFill>
                </a:rPr>
                <a:t>“Return item” </a:t>
              </a:r>
              <a:r>
                <a:rPr lang="en-US" sz="1800">
                  <a:solidFill>
                    <a:srgbClr val="3C3C41"/>
                  </a:solidFill>
                </a:rPr>
                <a:t>topic.</a:t>
              </a:r>
            </a:p>
          </p:txBody>
        </p:sp>
        <p:sp>
          <p:nvSpPr>
            <p:cNvPr id="31" name="Rectangle: Rounded Corners 30">
              <a:extLst>
                <a:ext uri="{FF2B5EF4-FFF2-40B4-BE49-F238E27FC236}">
                  <a16:creationId xmlns:a16="http://schemas.microsoft.com/office/drawing/2014/main" id="{4D277232-008F-4185-AAB5-BDAA87062DA6}"/>
                </a:ext>
              </a:extLst>
            </p:cNvPr>
            <p:cNvSpPr/>
            <p:nvPr/>
          </p:nvSpPr>
          <p:spPr bwMode="auto">
            <a:xfrm>
              <a:off x="7521574" y="3233057"/>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B. Add it to the </a:t>
              </a:r>
              <a:r>
                <a:rPr lang="en-US" sz="1800">
                  <a:solidFill>
                    <a:schemeClr val="tx2"/>
                  </a:solidFill>
                </a:rPr>
                <a:t>“My appliance doesn’t work” </a:t>
              </a:r>
              <a:r>
                <a:rPr lang="en-US" sz="1800">
                  <a:solidFill>
                    <a:srgbClr val="3C3C41"/>
                  </a:solidFill>
                </a:rPr>
                <a:t>topic.</a:t>
              </a:r>
            </a:p>
          </p:txBody>
        </p:sp>
        <p:sp>
          <p:nvSpPr>
            <p:cNvPr id="32" name="Rectangle: Rounded Corners 31">
              <a:extLst>
                <a:ext uri="{FF2B5EF4-FFF2-40B4-BE49-F238E27FC236}">
                  <a16:creationId xmlns:a16="http://schemas.microsoft.com/office/drawing/2014/main" id="{F97C0F7B-5BDD-4E7B-AA56-77AF1EC9EE58}"/>
                </a:ext>
              </a:extLst>
            </p:cNvPr>
            <p:cNvSpPr/>
            <p:nvPr/>
          </p:nvSpPr>
          <p:spPr bwMode="auto">
            <a:xfrm>
              <a:off x="7521574" y="4065814"/>
              <a:ext cx="3927475" cy="6477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chemeClr val="bg1"/>
                  </a:solidFill>
                </a:rPr>
                <a:t>C. We shouldn’t add it to any of these two topics.</a:t>
              </a:r>
            </a:p>
          </p:txBody>
        </p:sp>
        <p:sp>
          <p:nvSpPr>
            <p:cNvPr id="33" name="Rectangle: Rounded Corners 32">
              <a:extLst>
                <a:ext uri="{FF2B5EF4-FFF2-40B4-BE49-F238E27FC236}">
                  <a16:creationId xmlns:a16="http://schemas.microsoft.com/office/drawing/2014/main" id="{16D66013-DED1-4EF8-8DE3-A2C63D5C7EF0}"/>
                </a:ext>
              </a:extLst>
            </p:cNvPr>
            <p:cNvSpPr/>
            <p:nvPr/>
          </p:nvSpPr>
          <p:spPr bwMode="auto">
            <a:xfrm>
              <a:off x="7521574" y="4912793"/>
              <a:ext cx="3927475" cy="6477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1800">
                  <a:solidFill>
                    <a:srgbClr val="3C3C41"/>
                  </a:solidFill>
                </a:rPr>
                <a:t>D. We should add it to both topics.</a:t>
              </a:r>
            </a:p>
          </p:txBody>
        </p:sp>
      </p:grpSp>
      <p:sp>
        <p:nvSpPr>
          <p:cNvPr id="34" name="Rectangle 33">
            <a:extLst>
              <a:ext uri="{FF2B5EF4-FFF2-40B4-BE49-F238E27FC236}">
                <a16:creationId xmlns:a16="http://schemas.microsoft.com/office/drawing/2014/main" id="{043E2ACB-979E-4224-8CB7-C79396D4227E}"/>
              </a:ext>
            </a:extLst>
          </p:cNvPr>
          <p:cNvSpPr/>
          <p:nvPr/>
        </p:nvSpPr>
        <p:spPr>
          <a:xfrm>
            <a:off x="455994" y="1465422"/>
            <a:ext cx="11306469" cy="430887"/>
          </a:xfrm>
          <a:prstGeom prst="rect">
            <a:avLst/>
          </a:prstGeom>
        </p:spPr>
        <p:txBody>
          <a:bodyPr wrap="square" lIns="0" tIns="0" rIns="0" bIns="0">
            <a:spAutoFit/>
          </a:bodyPr>
          <a:lstStyle/>
          <a:p>
            <a:r>
              <a:rPr lang="en-US" sz="2800" spc="-49">
                <a:ln w="3175">
                  <a:noFill/>
                </a:ln>
                <a:solidFill>
                  <a:schemeClr val="tx2"/>
                </a:solidFill>
                <a:latin typeface="Segoe UI Semibold"/>
                <a:cs typeface="Segoe UI" pitchFamily="34" charset="0"/>
              </a:rPr>
              <a:t>Sentence: </a:t>
            </a:r>
            <a:r>
              <a:rPr lang="en-US" sz="2800" i="1" spc="-49">
                <a:ln w="3175">
                  <a:noFill/>
                </a:ln>
                <a:latin typeface="Segoe UI Semibold"/>
                <a:cs typeface="Segoe UI" pitchFamily="34" charset="0"/>
              </a:rPr>
              <a:t>"My new refrigerator stops working, so I want to return it"</a:t>
            </a:r>
          </a:p>
        </p:txBody>
      </p:sp>
      <p:sp>
        <p:nvSpPr>
          <p:cNvPr id="37" name="Rectangle 36">
            <a:extLst>
              <a:ext uri="{FF2B5EF4-FFF2-40B4-BE49-F238E27FC236}">
                <a16:creationId xmlns:a16="http://schemas.microsoft.com/office/drawing/2014/main" id="{50C51468-A3D5-4ABF-B756-EAE0CC71E77D}"/>
              </a:ext>
            </a:extLst>
          </p:cNvPr>
          <p:cNvSpPr/>
          <p:nvPr/>
        </p:nvSpPr>
        <p:spPr bwMode="auto">
          <a:xfrm>
            <a:off x="8841804" y="3391382"/>
            <a:ext cx="2770632" cy="2621620"/>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1350">
                <a:solidFill>
                  <a:schemeClr val="tx2"/>
                </a:solidFill>
                <a:ea typeface="Segoe UI" pitchFamily="34" charset="0"/>
                <a:cs typeface="Segoe UI"/>
              </a:rPr>
              <a:t>Answer: C</a:t>
            </a:r>
          </a:p>
          <a:p>
            <a:pPr marL="228600" indent="-228600" defTabSz="914102" fontAlgn="base">
              <a:spcBef>
                <a:spcPct val="0"/>
              </a:spcBef>
              <a:spcAft>
                <a:spcPts val="588"/>
              </a:spcAft>
              <a:buFont typeface="+mj-lt"/>
              <a:buAutoNum type="arabicPeriod"/>
            </a:pPr>
            <a:r>
              <a:rPr lang="en-US" sz="1350">
                <a:solidFill>
                  <a:schemeClr val="tx1"/>
                </a:solidFill>
                <a:ea typeface="Segoe UI" pitchFamily="34" charset="0"/>
                <a:cs typeface="Segoe UI"/>
              </a:rPr>
              <a:t>This is a bad trigger phrase because it's too ambiguous. To avoid confusion, do not add this sentence to either of the 2 topics</a:t>
            </a:r>
          </a:p>
          <a:p>
            <a:pPr marL="228600" indent="-228600" defTabSz="914102" fontAlgn="base">
              <a:spcBef>
                <a:spcPct val="0"/>
              </a:spcBef>
              <a:spcAft>
                <a:spcPct val="0"/>
              </a:spcAft>
              <a:buFont typeface="+mj-lt"/>
              <a:buAutoNum type="arabicPeriod"/>
            </a:pPr>
            <a:r>
              <a:rPr lang="en-US" sz="1350">
                <a:solidFill>
                  <a:schemeClr val="tx1"/>
                </a:solidFill>
                <a:ea typeface="Segoe UI" pitchFamily="34" charset="0"/>
                <a:cs typeface="Segoe UI"/>
              </a:rPr>
              <a:t>The AI model DYM (do you mean) will further clarify with customers and ask them to choose a topic</a:t>
            </a:r>
          </a:p>
        </p:txBody>
      </p:sp>
      <p:cxnSp>
        <p:nvCxnSpPr>
          <p:cNvPr id="38" name="Straight Connector 37">
            <a:extLst>
              <a:ext uri="{FF2B5EF4-FFF2-40B4-BE49-F238E27FC236}">
                <a16:creationId xmlns:a16="http://schemas.microsoft.com/office/drawing/2014/main" id="{E3404353-011B-41D0-B80E-3A057FC3069C}"/>
              </a:ext>
            </a:extLst>
          </p:cNvPr>
          <p:cNvCxnSpPr>
            <a:cxnSpLocks/>
            <a:stCxn id="37" idx="1"/>
          </p:cNvCxnSpPr>
          <p:nvPr/>
        </p:nvCxnSpPr>
        <p:spPr>
          <a:xfrm flipH="1" flipV="1">
            <a:off x="8160152" y="4690334"/>
            <a:ext cx="681652" cy="11858"/>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71094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p:cNvSpPr>
            <a:spLocks noGrp="1"/>
          </p:cNvSpPr>
          <p:nvPr>
            <p:ph type="title"/>
          </p:nvPr>
        </p:nvSpPr>
        <p:spPr/>
        <p:txBody>
          <a:bodyPr/>
          <a:lstStyle/>
          <a:p>
            <a:r>
              <a:rPr lang="en-US" sz="4400"/>
              <a:t>Virtual Agent conversation styles</a:t>
            </a:r>
          </a:p>
        </p:txBody>
      </p:sp>
    </p:spTree>
    <p:extLst>
      <p:ext uri="{BB962C8B-B14F-4D97-AF65-F5344CB8AC3E}">
        <p14:creationId xmlns:p14="http://schemas.microsoft.com/office/powerpoint/2010/main" val="365719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990DBDB5-9930-467E-BB02-6EEAE153D857}"/>
              </a:ext>
            </a:extLst>
          </p:cNvPr>
          <p:cNvGraphicFramePr>
            <a:graphicFrameLocks noGrp="1"/>
          </p:cNvGraphicFramePr>
          <p:nvPr>
            <p:extLst>
              <p:ext uri="{D42A27DB-BD31-4B8C-83A1-F6EECF244321}">
                <p14:modId xmlns:p14="http://schemas.microsoft.com/office/powerpoint/2010/main" val="4205616047"/>
              </p:ext>
            </p:extLst>
          </p:nvPr>
        </p:nvGraphicFramePr>
        <p:xfrm>
          <a:off x="593294" y="1231665"/>
          <a:ext cx="10819654" cy="4894810"/>
        </p:xfrm>
        <a:graphic>
          <a:graphicData uri="http://schemas.openxmlformats.org/drawingml/2006/table">
            <a:tbl>
              <a:tblPr firstRow="1" bandRow="1">
                <a:tableStyleId>{BC89EF96-8CEA-46FF-86C4-4CE0E7609802}</a:tableStyleId>
              </a:tblPr>
              <a:tblGrid>
                <a:gridCol w="2272724">
                  <a:extLst>
                    <a:ext uri="{9D8B030D-6E8A-4147-A177-3AD203B41FA5}">
                      <a16:colId xmlns:a16="http://schemas.microsoft.com/office/drawing/2014/main" val="556834979"/>
                    </a:ext>
                  </a:extLst>
                </a:gridCol>
                <a:gridCol w="718836">
                  <a:extLst>
                    <a:ext uri="{9D8B030D-6E8A-4147-A177-3AD203B41FA5}">
                      <a16:colId xmlns:a16="http://schemas.microsoft.com/office/drawing/2014/main" val="2307703135"/>
                    </a:ext>
                  </a:extLst>
                </a:gridCol>
                <a:gridCol w="5450588">
                  <a:extLst>
                    <a:ext uri="{9D8B030D-6E8A-4147-A177-3AD203B41FA5}">
                      <a16:colId xmlns:a16="http://schemas.microsoft.com/office/drawing/2014/main" val="41497132"/>
                    </a:ext>
                  </a:extLst>
                </a:gridCol>
                <a:gridCol w="2377506">
                  <a:extLst>
                    <a:ext uri="{9D8B030D-6E8A-4147-A177-3AD203B41FA5}">
                      <a16:colId xmlns:a16="http://schemas.microsoft.com/office/drawing/2014/main" val="529555573"/>
                    </a:ext>
                  </a:extLst>
                </a:gridCol>
              </a:tblGrid>
              <a:tr h="477108">
                <a:tc>
                  <a:txBody>
                    <a:bodyPr/>
                    <a:lstStyle/>
                    <a:p>
                      <a:pPr algn="ctr"/>
                      <a:r>
                        <a:rPr lang="en-US" sz="1100"/>
                        <a:t>Module</a:t>
                      </a:r>
                      <a:endParaRPr lang="en-US" sz="1100" b="1" i="0">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a:t>ID</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Name</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Length</a:t>
                      </a:r>
                      <a:endParaRPr lang="en-US" sz="1100" b="1">
                        <a:solidFill>
                          <a:srgbClr val="FFFFFF"/>
                        </a:solidFill>
                      </a:endParaRPr>
                    </a:p>
                  </a:txBody>
                  <a:tcPr marL="18180" marR="10908" marT="10908" marB="10908"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1329184"/>
                  </a:ext>
                </a:extLst>
              </a:tr>
              <a:tr h="544104">
                <a:tc>
                  <a:txBody>
                    <a:bodyPr/>
                    <a:lstStyle/>
                    <a:p>
                      <a:pPr marL="0" indent="0" algn="ctr">
                        <a:buNone/>
                      </a:pPr>
                      <a:r>
                        <a:rPr lang="en-US" altLang="zh-CN" sz="1100" kern="1200"/>
                        <a:t>Overview &amp; Setup</a:t>
                      </a:r>
                      <a:endParaRPr lang="en-US" sz="1100" b="1" kern="1200">
                        <a:solidFill>
                          <a:schemeClr val="tx1"/>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tcPr>
                </a:tc>
                <a:tc>
                  <a:txBody>
                    <a:bodyPr/>
                    <a:lstStyle/>
                    <a:p>
                      <a:pPr algn="ctr"/>
                      <a:r>
                        <a:rPr lang="en-US" sz="1100" b="0" kern="1200">
                          <a:solidFill>
                            <a:schemeClr val="tx1">
                              <a:lumMod val="50000"/>
                            </a:schemeClr>
                          </a:solidFill>
                        </a:rPr>
                        <a:t>1</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b="0" kern="1200">
                          <a:solidFill>
                            <a:schemeClr val="tx1">
                              <a:lumMod val="50000"/>
                            </a:schemeClr>
                          </a:solidFill>
                        </a:rPr>
                        <a:t>Introductions and pre-requisite</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tc>
                  <a:txBody>
                    <a:bodyPr/>
                    <a:lstStyle/>
                    <a:p>
                      <a:r>
                        <a:rPr lang="en-US" sz="1100" b="0" kern="1200">
                          <a:solidFill>
                            <a:schemeClr val="tx1">
                              <a:lumMod val="50000"/>
                            </a:schemeClr>
                          </a:solidFill>
                        </a:rPr>
                        <a:t>60 minutes</a:t>
                      </a:r>
                      <a:endParaRPr lang="en-US" sz="1100" b="0" kern="1200">
                        <a:solidFill>
                          <a:schemeClr val="tx1">
                            <a:lumMod val="50000"/>
                          </a:schemeClr>
                        </a:solidFill>
                        <a:latin typeface="+mn-lt"/>
                        <a:ea typeface="+mn-ea"/>
                        <a:cs typeface="+mn-cs"/>
                      </a:endParaRPr>
                    </a:p>
                  </a:txBody>
                  <a:tcPr marL="18180" marR="10908" marT="10908" marB="10908" anchor="ctr">
                    <a:lnT w="12700" cap="flat" cmpd="sng" algn="ctr">
                      <a:solidFill>
                        <a:schemeClr val="tx2"/>
                      </a:solidFill>
                      <a:prstDash val="solid"/>
                      <a:round/>
                      <a:headEnd type="none" w="med" len="med"/>
                      <a:tailEnd type="none" w="med" len="med"/>
                    </a:lnT>
                    <a:solidFill>
                      <a:srgbClr val="FBFBFB"/>
                    </a:solidFill>
                  </a:tcPr>
                </a:tc>
                <a:extLst>
                  <a:ext uri="{0D108BD9-81ED-4DB2-BD59-A6C34878D82A}">
                    <a16:rowId xmlns:a16="http://schemas.microsoft.com/office/drawing/2014/main" val="2880453228"/>
                  </a:ext>
                </a:extLst>
              </a:tr>
              <a:tr h="458356">
                <a:tc rowSpan="3">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a:t>Power Virtual Agent</a:t>
                      </a:r>
                    </a:p>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a:solidFill>
                          <a:schemeClr val="tx1"/>
                        </a:solidFill>
                      </a:endParaRPr>
                    </a:p>
                  </a:txBody>
                  <a:tcPr marL="18180" marR="10908" marT="10908" marB="10908" anchor="ctr"/>
                </a:tc>
                <a:tc>
                  <a:txBody>
                    <a:bodyPr/>
                    <a:lstStyle/>
                    <a:p>
                      <a:pPr algn="ctr"/>
                      <a:r>
                        <a:rPr lang="en-US" sz="1100"/>
                        <a:t>2</a:t>
                      </a:r>
                    </a:p>
                  </a:txBody>
                  <a:tcPr marL="18180" marR="10908" marT="10908" marB="10908" anchor="ctr"/>
                </a:tc>
                <a:tc>
                  <a:txBody>
                    <a:bodyPr/>
                    <a:lstStyle/>
                    <a:p>
                      <a:r>
                        <a:rPr lang="en-US" sz="1100"/>
                        <a:t>Build your first virtual agent </a:t>
                      </a:r>
                    </a:p>
                  </a:txBody>
                  <a:tcPr marL="18180" marR="10908" marT="10908" marB="10908" anchor="ctr"/>
                </a:tc>
                <a:tc>
                  <a:txBody>
                    <a:bodyPr/>
                    <a:lstStyle/>
                    <a:p>
                      <a:r>
                        <a:rPr lang="en-US" sz="1100"/>
                        <a:t>45 minutes</a:t>
                      </a:r>
                    </a:p>
                  </a:txBody>
                  <a:tcPr marL="18180" marR="10908" marT="10908" marB="10908" anchor="ctr"/>
                </a:tc>
                <a:extLst>
                  <a:ext uri="{0D108BD9-81ED-4DB2-BD59-A6C34878D82A}">
                    <a16:rowId xmlns:a16="http://schemas.microsoft.com/office/drawing/2014/main" val="2501213358"/>
                  </a:ext>
                </a:extLst>
              </a:tr>
              <a:tr h="368763">
                <a:tc vMerge="1">
                  <a:txBody>
                    <a:bodyPr/>
                    <a:lstStyle/>
                    <a:p>
                      <a:endParaRPr lang="en-US"/>
                    </a:p>
                  </a:txBody>
                  <a:tcPr/>
                </a:tc>
                <a:tc>
                  <a:txBody>
                    <a:bodyPr/>
                    <a:lstStyle/>
                    <a:p>
                      <a:pPr algn="ctr"/>
                      <a:r>
                        <a:rPr lang="en-US" sz="1100"/>
                        <a:t>3</a:t>
                      </a:r>
                      <a:endParaRPr lang="en-US" sz="1100">
                        <a:solidFill>
                          <a:schemeClr val="tx1">
                            <a:lumMod val="85000"/>
                            <a:lumOff val="15000"/>
                          </a:schemeClr>
                        </a:solidFill>
                      </a:endParaRPr>
                    </a:p>
                  </a:txBody>
                  <a:tcPr marL="18180" marR="10908" marT="10908" marB="10908" anchor="ctr"/>
                </a:tc>
                <a:tc>
                  <a:txBody>
                    <a:bodyPr/>
                    <a:lstStyle/>
                    <a:p>
                      <a:r>
                        <a:rPr lang="en-US" sz="1100"/>
                        <a:t>Create topics from existing webpages</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93841304"/>
                  </a:ext>
                </a:extLst>
              </a:tr>
              <a:tr h="368763">
                <a:tc vMerge="1">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chemeClr val="tx1">
                              <a:lumMod val="50000"/>
                            </a:schemeClr>
                          </a:solidFill>
                        </a:rPr>
                        <a:t>4</a:t>
                      </a:r>
                    </a:p>
                  </a:txBody>
                  <a:tcPr marL="18180" marR="10908" marT="10908" marB="10908" anchor="ctr">
                    <a:solidFill>
                      <a:srgbClr val="FFFFFF"/>
                    </a:solidFill>
                  </a:tcPr>
                </a:tc>
                <a:tc>
                  <a:txBody>
                    <a:bodyPr/>
                    <a:lstStyle/>
                    <a:p>
                      <a:r>
                        <a:rPr lang="en-US" sz="1100" b="0">
                          <a:solidFill>
                            <a:schemeClr val="tx1">
                              <a:lumMod val="50000"/>
                            </a:schemeClr>
                          </a:solidFill>
                        </a:rPr>
                        <a:t>Improve your virtual agent using entities, variables and topic redirects</a:t>
                      </a:r>
                    </a:p>
                  </a:txBody>
                  <a:tcPr marL="18180" marR="10908" marT="10908" marB="10908" anchor="ctr">
                    <a:solidFill>
                      <a:srgbClr val="FFFFFF"/>
                    </a:solidFill>
                  </a:tcPr>
                </a:tc>
                <a:tc>
                  <a:txBody>
                    <a:bodyPr/>
                    <a:lstStyle/>
                    <a:p>
                      <a:r>
                        <a:rPr lang="en-US" sz="1100" b="0">
                          <a:solidFill>
                            <a:schemeClr val="tx1">
                              <a:lumMod val="50000"/>
                            </a:schemeClr>
                          </a:solidFill>
                        </a:rPr>
                        <a:t>45 minutes</a:t>
                      </a:r>
                    </a:p>
                  </a:txBody>
                  <a:tcPr marL="18180" marR="10908" marT="10908" marB="10908" anchor="ctr">
                    <a:solidFill>
                      <a:srgbClr val="FFFFFF"/>
                    </a:solidFill>
                  </a:tcPr>
                </a:tc>
                <a:extLst>
                  <a:ext uri="{0D108BD9-81ED-4DB2-BD59-A6C34878D82A}">
                    <a16:rowId xmlns:a16="http://schemas.microsoft.com/office/drawing/2014/main" val="1050065397"/>
                  </a:ext>
                </a:extLst>
              </a:tr>
              <a:tr h="488537">
                <a:tc rowSpan="3">
                  <a:txBody>
                    <a:bodyPr/>
                    <a:lstStyle/>
                    <a:p>
                      <a:pPr algn="ctr"/>
                      <a:r>
                        <a:rPr lang="en-US" sz="1100"/>
                        <a:t>Module 2</a:t>
                      </a:r>
                    </a:p>
                    <a:p>
                      <a:pPr algn="ctr"/>
                      <a:r>
                        <a:rPr lang="en-US" sz="1100"/>
                        <a:t>Power Automate</a:t>
                      </a:r>
                    </a:p>
                    <a:p>
                      <a:pPr algn="ctr"/>
                      <a:r>
                        <a:rPr lang="en-US" sz="1100"/>
                        <a:t>&amp; other integrations</a:t>
                      </a:r>
                      <a:endParaRPr lang="en-US" sz="1100" b="1" i="0">
                        <a:solidFill>
                          <a:schemeClr val="tx1"/>
                        </a:solidFill>
                      </a:endParaRPr>
                    </a:p>
                  </a:txBody>
                  <a:tcPr marL="18180" marR="10908" marT="10908" marB="10908" anchor="ctr"/>
                </a:tc>
                <a:tc>
                  <a:txBody>
                    <a:bodyPr/>
                    <a:lstStyle/>
                    <a:p>
                      <a:pPr algn="ctr"/>
                      <a:r>
                        <a:rPr lang="en-US" sz="1100" b="0">
                          <a:solidFill>
                            <a:schemeClr val="tx1">
                              <a:lumMod val="50000"/>
                            </a:schemeClr>
                          </a:solidFill>
                        </a:rPr>
                        <a:t>5</a:t>
                      </a:r>
                    </a:p>
                  </a:txBody>
                  <a:tcPr marL="18180" marR="10908" marT="10908" marB="10908" anchor="ctr">
                    <a:solidFill>
                      <a:srgbClr val="FBFB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a:solidFill>
                            <a:schemeClr val="tx1">
                              <a:lumMod val="50000"/>
                            </a:schemeClr>
                          </a:solidFill>
                        </a:rPr>
                        <a:t>Integrate with prebuilt Power Automate flows</a:t>
                      </a:r>
                    </a:p>
                  </a:txBody>
                  <a:tcPr marL="18180" marR="10908" marT="10908" marB="10908" anchor="ctr">
                    <a:solidFill>
                      <a:srgbClr val="FBFBFB"/>
                    </a:solidFill>
                  </a:tcPr>
                </a:tc>
                <a:tc>
                  <a:txBody>
                    <a:bodyPr/>
                    <a:lstStyle/>
                    <a:p>
                      <a:r>
                        <a:rPr lang="en-US" sz="1100" b="0">
                          <a:solidFill>
                            <a:schemeClr val="tx1">
                              <a:lumMod val="50000"/>
                            </a:schemeClr>
                          </a:solidFill>
                        </a:rPr>
                        <a:t>30 minutes</a:t>
                      </a:r>
                    </a:p>
                  </a:txBody>
                  <a:tcPr marL="18180" marR="10908" marT="10908" marB="10908" anchor="ctr">
                    <a:solidFill>
                      <a:srgbClr val="FBFBFB"/>
                    </a:solidFill>
                  </a:tcPr>
                </a:tc>
                <a:extLst>
                  <a:ext uri="{0D108BD9-81ED-4DB2-BD59-A6C34878D82A}">
                    <a16:rowId xmlns:a16="http://schemas.microsoft.com/office/drawing/2014/main" val="1056184762"/>
                  </a:ext>
                </a:extLst>
              </a:tr>
              <a:tr h="364757">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6</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Authentication – no lab </a:t>
                      </a:r>
                      <a:endParaRPr lang="en-US" sz="1100" dirty="0">
                        <a:solidFill>
                          <a:schemeClr val="tx1">
                            <a:lumMod val="85000"/>
                            <a:lumOff val="15000"/>
                          </a:schemeClr>
                        </a:solidFill>
                      </a:endParaRPr>
                    </a:p>
                  </a:txBody>
                  <a:tcPr marL="18180" marR="10908" marT="10908" marB="10908" anchor="ctr"/>
                </a:tc>
                <a:tc>
                  <a:txBody>
                    <a:bodyPr/>
                    <a:lstStyle/>
                    <a:p>
                      <a:r>
                        <a:rPr lang="en-US" sz="1100"/>
                        <a:t>3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157402565"/>
                  </a:ext>
                </a:extLst>
              </a:tr>
              <a:tr h="280293">
                <a:tc vMerge="1">
                  <a:txBody>
                    <a:bodyPr/>
                    <a:lstStyle/>
                    <a:p>
                      <a:pPr algn="ctr"/>
                      <a:endParaRPr lang="en-US" sz="1100" b="1" i="0">
                        <a:solidFill>
                          <a:schemeClr val="tx1"/>
                        </a:solidFill>
                      </a:endParaRPr>
                    </a:p>
                  </a:txBody>
                  <a:tcPr marL="18180" marR="10908" marT="10908" marB="10908" anchor="ctr"/>
                </a:tc>
                <a:tc>
                  <a:txBody>
                    <a:bodyPr/>
                    <a:lstStyle/>
                    <a:p>
                      <a:pPr algn="ctr"/>
                      <a:r>
                        <a:rPr lang="en-US" altLang="zh-CN" sz="1100"/>
                        <a:t>7</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nd off to support agent– no lab</a:t>
                      </a:r>
                      <a:endParaRPr lang="en-US" sz="1100" dirty="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773338150"/>
                  </a:ext>
                </a:extLst>
              </a:tr>
              <a:tr h="330839">
                <a:tc rowSpan="5">
                  <a:txBody>
                    <a:bodyPr/>
                    <a:lstStyle/>
                    <a:p>
                      <a:pPr algn="ctr"/>
                      <a:r>
                        <a:rPr lang="en-US" sz="1100"/>
                        <a:t>Module </a:t>
                      </a:r>
                      <a:r>
                        <a:rPr lang="en-US" altLang="zh-CN" sz="1100"/>
                        <a:t>3</a:t>
                      </a:r>
                      <a:endParaRPr lang="en-US" sz="1100"/>
                    </a:p>
                    <a:p>
                      <a:pPr algn="ctr"/>
                      <a:r>
                        <a:rPr lang="en-US" sz="1100"/>
                        <a:t>Optimization </a:t>
                      </a:r>
                      <a:endParaRPr lang="en-US" sz="1100" b="1" i="0">
                        <a:solidFill>
                          <a:schemeClr val="tx1"/>
                        </a:solidFill>
                      </a:endParaRPr>
                    </a:p>
                  </a:txBody>
                  <a:tcPr marL="18180" marR="10908" marT="10908" marB="10908" anchor="ctr"/>
                </a:tc>
                <a:tc>
                  <a:txBody>
                    <a:bodyPr/>
                    <a:lstStyle/>
                    <a:p>
                      <a:pPr algn="ctr"/>
                      <a:r>
                        <a:rPr lang="en-US" sz="1100"/>
                        <a:t>8</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Virtual agent topic design</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45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1999376635"/>
                  </a:ext>
                </a:extLst>
              </a:tr>
              <a:tr h="321648">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a:solidFill>
                            <a:schemeClr val="tx1">
                              <a:lumMod val="50000"/>
                            </a:schemeClr>
                          </a:solidFill>
                        </a:rPr>
                        <a:t>9</a:t>
                      </a:r>
                    </a:p>
                  </a:txBody>
                  <a:tcPr marL="18180" marR="10908" marT="10908" marB="10908" anchor="ctr">
                    <a:solidFill>
                      <a:srgbClr val="FBFBFB"/>
                    </a:solidFill>
                  </a:tcPr>
                </a:tc>
                <a:tc>
                  <a:txBody>
                    <a:bodyPr/>
                    <a:lstStyle/>
                    <a:p>
                      <a:r>
                        <a:rPr lang="en-US" sz="1100" b="0">
                          <a:solidFill>
                            <a:schemeClr val="tx1">
                              <a:lumMod val="50000"/>
                            </a:schemeClr>
                          </a:solidFill>
                        </a:rPr>
                        <a:t>Best practices for writing topic trigger phrases</a:t>
                      </a:r>
                    </a:p>
                  </a:txBody>
                  <a:tcPr marL="18180" marR="10908" marT="10908" marB="10908" anchor="ctr">
                    <a:solidFill>
                      <a:srgbClr val="FBFBFB"/>
                    </a:solidFill>
                  </a:tcPr>
                </a:tc>
                <a:tc>
                  <a:txBody>
                    <a:bodyPr/>
                    <a:lstStyle/>
                    <a:p>
                      <a:r>
                        <a:rPr lang="en-US" sz="1100" b="0">
                          <a:solidFill>
                            <a:schemeClr val="tx1">
                              <a:lumMod val="50000"/>
                            </a:schemeClr>
                          </a:solidFill>
                        </a:rPr>
                        <a:t>20 minutes</a:t>
                      </a:r>
                    </a:p>
                  </a:txBody>
                  <a:tcPr marL="18180" marR="10908" marT="10908" marB="10908" anchor="ctr">
                    <a:solidFill>
                      <a:srgbClr val="FBFBFB"/>
                    </a:solidFill>
                  </a:tcPr>
                </a:tc>
                <a:extLst>
                  <a:ext uri="{0D108BD9-81ED-4DB2-BD59-A6C34878D82A}">
                    <a16:rowId xmlns:a16="http://schemas.microsoft.com/office/drawing/2014/main" val="364936603"/>
                  </a:ext>
                </a:extLst>
              </a:tr>
              <a:tr h="346586">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a:solidFill>
                            <a:schemeClr val="bg1"/>
                          </a:solidFill>
                        </a:rPr>
                        <a:t>10</a:t>
                      </a:r>
                    </a:p>
                  </a:txBody>
                  <a:tcPr marL="18180" marR="10908" marT="10908" marB="10908" anchor="ctr">
                    <a:solidFill>
                      <a:srgbClr val="0B556A"/>
                    </a:solidFill>
                  </a:tcPr>
                </a:tc>
                <a:tc>
                  <a:txBody>
                    <a:bodyPr/>
                    <a:lstStyle/>
                    <a:p>
                      <a:r>
                        <a:rPr lang="en-US" sz="1100" b="1">
                          <a:solidFill>
                            <a:schemeClr val="bg1"/>
                          </a:solidFill>
                        </a:rPr>
                        <a:t>Virtual agent conversation style</a:t>
                      </a:r>
                    </a:p>
                  </a:txBody>
                  <a:tcPr marL="18180" marR="10908" marT="10908" marB="10908" anchor="ctr">
                    <a:solidFill>
                      <a:srgbClr val="0B556A"/>
                    </a:solidFill>
                  </a:tcPr>
                </a:tc>
                <a:tc>
                  <a:txBody>
                    <a:bodyPr/>
                    <a:lstStyle/>
                    <a:p>
                      <a:r>
                        <a:rPr lang="en-US" sz="1100" b="1">
                          <a:solidFill>
                            <a:schemeClr val="bg1"/>
                          </a:solidFill>
                        </a:rPr>
                        <a:t>20 minutes</a:t>
                      </a:r>
                    </a:p>
                  </a:txBody>
                  <a:tcPr marL="18180" marR="10908" marT="10908" marB="10908" anchor="ctr">
                    <a:solidFill>
                      <a:srgbClr val="0B556A"/>
                    </a:solidFill>
                  </a:tcPr>
                </a:tc>
                <a:extLst>
                  <a:ext uri="{0D108BD9-81ED-4DB2-BD59-A6C34878D82A}">
                    <a16:rowId xmlns:a16="http://schemas.microsoft.com/office/drawing/2014/main" val="1484092132"/>
                  </a:ext>
                </a:extLst>
              </a:tr>
              <a:tr h="355600">
                <a:tc vMerge="1">
                  <a:txBody>
                    <a:bodyPr/>
                    <a:lstStyle/>
                    <a:p>
                      <a:pPr algn="ctr"/>
                      <a:endParaRPr lang="en-US" sz="900" b="1" i="0">
                        <a:solidFill>
                          <a:schemeClr val="tx1"/>
                        </a:solidFill>
                      </a:endParaRPr>
                    </a:p>
                  </a:txBody>
                  <a:tcPr marL="18180" marR="10908" marT="10908" marB="10908"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t>11</a:t>
                      </a:r>
                      <a:endParaRPr lang="en-US" sz="1100">
                        <a:solidFill>
                          <a:schemeClr val="tx1">
                            <a:lumMod val="85000"/>
                            <a:lumOff val="15000"/>
                          </a:schemeClr>
                        </a:solidFill>
                      </a:endParaRP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Analytics, monitoring and VA performance improvement</a:t>
                      </a:r>
                      <a:endParaRPr lang="en-US" sz="1100">
                        <a:solidFill>
                          <a:schemeClr val="tx1">
                            <a:lumMod val="85000"/>
                            <a:lumOff val="15000"/>
                          </a:schemeClr>
                        </a:solidFill>
                      </a:endParaRPr>
                    </a:p>
                  </a:txBody>
                  <a:tcPr marL="18180" marR="10908" marT="10908" marB="10908" anchor="ctr"/>
                </a:tc>
                <a:tc>
                  <a:txBody>
                    <a:bodyPr/>
                    <a:lstStyle/>
                    <a:p>
                      <a:r>
                        <a:rPr lang="en-US" sz="1100"/>
                        <a:t>20 minutes</a:t>
                      </a:r>
                      <a:endParaRPr lang="en-US" sz="1100">
                        <a:solidFill>
                          <a:schemeClr val="tx1">
                            <a:lumMod val="85000"/>
                            <a:lumOff val="15000"/>
                          </a:schemeClr>
                        </a:solidFill>
                      </a:endParaRPr>
                    </a:p>
                  </a:txBody>
                  <a:tcPr marL="18180" marR="10908" marT="10908" marB="10908" anchor="ctr"/>
                </a:tc>
                <a:extLst>
                  <a:ext uri="{0D108BD9-81ED-4DB2-BD59-A6C34878D82A}">
                    <a16:rowId xmlns:a16="http://schemas.microsoft.com/office/drawing/2014/main" val="3801022512"/>
                  </a:ext>
                </a:extLst>
              </a:tr>
              <a:tr h="125065">
                <a:tc vMerge="1">
                  <a:txBody>
                    <a:bodyPr/>
                    <a:lstStyle/>
                    <a:p>
                      <a:endParaRPr lang="en-US"/>
                    </a:p>
                  </a:txBody>
                  <a:tcPr/>
                </a:tc>
                <a:tc>
                  <a:txBody>
                    <a:bodyPr/>
                    <a:lstStyle/>
                    <a:p>
                      <a:pPr algn="ctr"/>
                      <a:r>
                        <a:rPr lang="en-US" sz="1100">
                          <a:solidFill>
                            <a:schemeClr val="tx1">
                              <a:lumMod val="85000"/>
                              <a:lumOff val="15000"/>
                            </a:schemeClr>
                          </a:solidFill>
                        </a:rPr>
                        <a:t>12</a:t>
                      </a:r>
                    </a:p>
                  </a:txBody>
                  <a:tcPr marL="18180" marR="10908" marT="10908" marB="109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lumMod val="85000"/>
                              <a:lumOff val="15000"/>
                            </a:schemeClr>
                          </a:solidFill>
                        </a:rPr>
                        <a:t>Closing</a:t>
                      </a:r>
                    </a:p>
                  </a:txBody>
                  <a:tcPr marL="18180" marR="10908" marT="10908" marB="10908" anchor="ctr"/>
                </a:tc>
                <a:tc>
                  <a:txBody>
                    <a:bodyPr/>
                    <a:lstStyle/>
                    <a:p>
                      <a:r>
                        <a:rPr lang="en-US" sz="1100" dirty="0">
                          <a:solidFill>
                            <a:schemeClr val="tx1">
                              <a:lumMod val="85000"/>
                              <a:lumOff val="15000"/>
                            </a:schemeClr>
                          </a:solidFill>
                        </a:rPr>
                        <a:t>10 minutes</a:t>
                      </a:r>
                    </a:p>
                  </a:txBody>
                  <a:tcPr marL="18180" marR="10908" marT="10908" marB="10908" anchor="ctr"/>
                </a:tc>
                <a:extLst>
                  <a:ext uri="{0D108BD9-81ED-4DB2-BD59-A6C34878D82A}">
                    <a16:rowId xmlns:a16="http://schemas.microsoft.com/office/drawing/2014/main" val="2443824134"/>
                  </a:ext>
                </a:extLst>
              </a:tr>
            </a:tbl>
          </a:graphicData>
        </a:graphic>
      </p:graphicFrame>
      <p:sp>
        <p:nvSpPr>
          <p:cNvPr id="8" name="Title 16">
            <a:extLst>
              <a:ext uri="{FF2B5EF4-FFF2-40B4-BE49-F238E27FC236}">
                <a16:creationId xmlns:a16="http://schemas.microsoft.com/office/drawing/2014/main" id="{65A8198C-304D-4840-A578-AA8E0C5ED695}"/>
              </a:ext>
            </a:extLst>
          </p:cNvPr>
          <p:cNvSpPr>
            <a:spLocks noGrp="1"/>
          </p:cNvSpPr>
          <p:nvPr>
            <p:ph type="title"/>
          </p:nvPr>
        </p:nvSpPr>
        <p:spPr>
          <a:xfrm>
            <a:off x="443368" y="650245"/>
            <a:ext cx="11306469" cy="403137"/>
          </a:xfrm>
        </p:spPr>
        <p:txBody>
          <a:bodyPr/>
          <a:lstStyle/>
          <a:p>
            <a:r>
              <a:rPr lang="en-US"/>
              <a:t>Agenda</a:t>
            </a:r>
          </a:p>
        </p:txBody>
      </p:sp>
    </p:spTree>
    <p:extLst>
      <p:ext uri="{BB962C8B-B14F-4D97-AF65-F5344CB8AC3E}">
        <p14:creationId xmlns:p14="http://schemas.microsoft.com/office/powerpoint/2010/main" val="276584195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412D3-3AA0-4260-84B6-47EA7E523390}"/>
              </a:ext>
            </a:extLst>
          </p:cNvPr>
          <p:cNvSpPr>
            <a:spLocks noGrp="1"/>
          </p:cNvSpPr>
          <p:nvPr>
            <p:ph type="title"/>
          </p:nvPr>
        </p:nvSpPr>
        <p:spPr/>
        <p:txBody>
          <a:bodyPr/>
          <a:lstStyle/>
          <a:p>
            <a:r>
              <a:rPr lang="en-US"/>
              <a:t>Qualities of a good conversation</a:t>
            </a:r>
            <a:endParaRPr lang="en-IN"/>
          </a:p>
        </p:txBody>
      </p:sp>
      <p:sp>
        <p:nvSpPr>
          <p:cNvPr id="8" name="TextBox 3">
            <a:extLst>
              <a:ext uri="{FF2B5EF4-FFF2-40B4-BE49-F238E27FC236}">
                <a16:creationId xmlns:a16="http://schemas.microsoft.com/office/drawing/2014/main" id="{1979381F-D94A-40B7-B0E6-4F2ED353CAB3}"/>
              </a:ext>
            </a:extLst>
          </p:cNvPr>
          <p:cNvSpPr txBox="1"/>
          <p:nvPr/>
        </p:nvSpPr>
        <p:spPr>
          <a:xfrm rot="10800000" flipV="1">
            <a:off x="3902218" y="5779270"/>
            <a:ext cx="4387566" cy="276999"/>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latin typeface="+mj-lt"/>
                <a:cs typeface="Segoe UI" panose="020B0502040204020203" pitchFamily="34" charset="0"/>
              </a:rPr>
              <a:t>Source: Erika Hall, Conversational Design</a:t>
            </a:r>
          </a:p>
        </p:txBody>
      </p:sp>
      <p:sp>
        <p:nvSpPr>
          <p:cNvPr id="11" name="TextBox 6">
            <a:extLst>
              <a:ext uri="{FF2B5EF4-FFF2-40B4-BE49-F238E27FC236}">
                <a16:creationId xmlns:a16="http://schemas.microsoft.com/office/drawing/2014/main" id="{30C892B2-6F43-491C-9F5B-D2EE26E2E724}"/>
              </a:ext>
            </a:extLst>
          </p:cNvPr>
          <p:cNvSpPr txBox="1"/>
          <p:nvPr/>
        </p:nvSpPr>
        <p:spPr>
          <a:xfrm>
            <a:off x="496245" y="4273372"/>
            <a:ext cx="1478021" cy="282792"/>
          </a:xfrm>
          <a:prstGeom prst="rect">
            <a:avLst/>
          </a:prstGeom>
          <a:noFill/>
        </p:spPr>
        <p:txBody>
          <a:bodyPr wrap="square" lIns="0" tIns="0" rIns="0" bIns="0" rtlCol="0" anchor="ctr">
            <a:noAutofit/>
          </a:bodyPr>
          <a:lstStyle/>
          <a:p>
            <a:pPr algn="ctr">
              <a:spcAft>
                <a:spcPts val="600"/>
              </a:spcAft>
            </a:pPr>
            <a:r>
              <a:rPr lang="en-IN" sz="2000"/>
              <a:t>Cooperative</a:t>
            </a:r>
          </a:p>
        </p:txBody>
      </p:sp>
      <p:grpSp>
        <p:nvGrpSpPr>
          <p:cNvPr id="26" name="Group 25">
            <a:extLst>
              <a:ext uri="{FF2B5EF4-FFF2-40B4-BE49-F238E27FC236}">
                <a16:creationId xmlns:a16="http://schemas.microsoft.com/office/drawing/2014/main" id="{FCBDD7E3-0B5F-4805-8B46-DF6E6D6C0238}"/>
              </a:ext>
            </a:extLst>
          </p:cNvPr>
          <p:cNvGrpSpPr/>
          <p:nvPr/>
        </p:nvGrpSpPr>
        <p:grpSpPr>
          <a:xfrm>
            <a:off x="731632" y="2531428"/>
            <a:ext cx="1007246" cy="1492311"/>
            <a:chOff x="2998563" y="3863657"/>
            <a:chExt cx="1007246" cy="1492311"/>
          </a:xfrm>
        </p:grpSpPr>
        <p:sp>
          <p:nvSpPr>
            <p:cNvPr id="10" name="Oval 39">
              <a:extLst>
                <a:ext uri="{FF2B5EF4-FFF2-40B4-BE49-F238E27FC236}">
                  <a16:creationId xmlns:a16="http://schemas.microsoft.com/office/drawing/2014/main" id="{000339D2-B8BF-4344-B053-B243CC3B5DDC}"/>
                </a:ext>
              </a:extLst>
            </p:cNvPr>
            <p:cNvSpPr/>
            <p:nvPr/>
          </p:nvSpPr>
          <p:spPr bwMode="auto">
            <a:xfrm>
              <a:off x="3042531" y="3976053"/>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30">
              <a:extLst>
                <a:ext uri="{FF2B5EF4-FFF2-40B4-BE49-F238E27FC236}">
                  <a16:creationId xmlns:a16="http://schemas.microsoft.com/office/drawing/2014/main" id="{9027C8FE-C60B-4AFC-968B-519B7A4560EB}"/>
                </a:ext>
              </a:extLst>
            </p:cNvPr>
            <p:cNvGrpSpPr/>
            <p:nvPr/>
          </p:nvGrpSpPr>
          <p:grpSpPr>
            <a:xfrm>
              <a:off x="3148632" y="4209431"/>
              <a:ext cx="638699" cy="384144"/>
              <a:chOff x="6180411" y="4684918"/>
              <a:chExt cx="1634112" cy="982835"/>
            </a:xfrm>
          </p:grpSpPr>
          <p:sp>
            <p:nvSpPr>
              <p:cNvPr id="13" name="Freeform: Shape 12">
                <a:extLst>
                  <a:ext uri="{FF2B5EF4-FFF2-40B4-BE49-F238E27FC236}">
                    <a16:creationId xmlns:a16="http://schemas.microsoft.com/office/drawing/2014/main" id="{7F274DF9-6D8E-4EE0-BEC7-B253827D2C8C}"/>
                  </a:ext>
                </a:extLst>
              </p:cNvPr>
              <p:cNvSpPr/>
              <p:nvPr/>
            </p:nvSpPr>
            <p:spPr>
              <a:xfrm>
                <a:off x="7385604" y="4684918"/>
                <a:ext cx="428919" cy="503513"/>
              </a:xfrm>
              <a:custGeom>
                <a:avLst/>
                <a:gdLst>
                  <a:gd name="connsiteX0" fmla="*/ 398078 w 428918"/>
                  <a:gd name="connsiteY0" fmla="*/ 371969 h 503512"/>
                  <a:gd name="connsiteX1" fmla="*/ 191078 w 428918"/>
                  <a:gd name="connsiteY1" fmla="*/ 45618 h 503512"/>
                  <a:gd name="connsiteX2" fmla="*/ 136997 w 428918"/>
                  <a:gd name="connsiteY2" fmla="*/ 34429 h 503512"/>
                  <a:gd name="connsiteX3" fmla="*/ 45618 w 428918"/>
                  <a:gd name="connsiteY3" fmla="*/ 92240 h 503512"/>
                  <a:gd name="connsiteX4" fmla="*/ 34429 w 428918"/>
                  <a:gd name="connsiteY4" fmla="*/ 146321 h 503512"/>
                  <a:gd name="connsiteX5" fmla="*/ 241429 w 428918"/>
                  <a:gd name="connsiteY5" fmla="*/ 472672 h 503512"/>
                  <a:gd name="connsiteX6" fmla="*/ 295510 w 428918"/>
                  <a:gd name="connsiteY6" fmla="*/ 483861 h 503512"/>
                  <a:gd name="connsiteX7" fmla="*/ 386888 w 428918"/>
                  <a:gd name="connsiteY7" fmla="*/ 426050 h 503512"/>
                  <a:gd name="connsiteX8" fmla="*/ 398078 w 428918"/>
                  <a:gd name="connsiteY8" fmla="*/ 371969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918" h="503512">
                    <a:moveTo>
                      <a:pt x="398078" y="371969"/>
                    </a:moveTo>
                    <a:lnTo>
                      <a:pt x="191078" y="45618"/>
                    </a:lnTo>
                    <a:cubicBezTo>
                      <a:pt x="179889" y="26970"/>
                      <a:pt x="155645" y="21375"/>
                      <a:pt x="136997" y="34429"/>
                    </a:cubicBezTo>
                    <a:lnTo>
                      <a:pt x="45618" y="92240"/>
                    </a:lnTo>
                    <a:cubicBezTo>
                      <a:pt x="26970" y="103429"/>
                      <a:pt x="21375" y="127672"/>
                      <a:pt x="34429" y="146321"/>
                    </a:cubicBezTo>
                    <a:lnTo>
                      <a:pt x="241429" y="472672"/>
                    </a:lnTo>
                    <a:cubicBezTo>
                      <a:pt x="252618" y="491321"/>
                      <a:pt x="276861" y="496915"/>
                      <a:pt x="295510" y="483861"/>
                    </a:cubicBezTo>
                    <a:lnTo>
                      <a:pt x="386888" y="426050"/>
                    </a:lnTo>
                    <a:cubicBezTo>
                      <a:pt x="403672" y="414861"/>
                      <a:pt x="409267" y="390618"/>
                      <a:pt x="398078" y="371969"/>
                    </a:cubicBez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6B60CF8F-639B-4B41-A48B-E0243C56ACD9}"/>
                  </a:ext>
                </a:extLst>
              </p:cNvPr>
              <p:cNvSpPr/>
              <p:nvPr/>
            </p:nvSpPr>
            <p:spPr>
              <a:xfrm>
                <a:off x="6542185" y="5286924"/>
                <a:ext cx="242432" cy="298378"/>
              </a:xfrm>
              <a:custGeom>
                <a:avLst/>
                <a:gdLst>
                  <a:gd name="connsiteX0" fmla="*/ 204632 w 242432"/>
                  <a:gd name="connsiteY0" fmla="*/ 118693 h 298378"/>
                  <a:gd name="connsiteX1" fmla="*/ 219551 w 242432"/>
                  <a:gd name="connsiteY1" fmla="*/ 96315 h 298378"/>
                  <a:gd name="connsiteX2" fmla="*/ 227011 w 242432"/>
                  <a:gd name="connsiteY2" fmla="*/ 62747 h 298378"/>
                  <a:gd name="connsiteX3" fmla="*/ 208362 w 242432"/>
                  <a:gd name="connsiteY3" fmla="*/ 34774 h 298378"/>
                  <a:gd name="connsiteX4" fmla="*/ 184119 w 242432"/>
                  <a:gd name="connsiteY4" fmla="*/ 27315 h 298378"/>
                  <a:gd name="connsiteX5" fmla="*/ 146821 w 242432"/>
                  <a:gd name="connsiteY5" fmla="*/ 45963 h 298378"/>
                  <a:gd name="connsiteX6" fmla="*/ 102065 w 242432"/>
                  <a:gd name="connsiteY6" fmla="*/ 111234 h 298378"/>
                  <a:gd name="connsiteX7" fmla="*/ 100200 w 242432"/>
                  <a:gd name="connsiteY7" fmla="*/ 113098 h 298378"/>
                  <a:gd name="connsiteX8" fmla="*/ 47984 w 242432"/>
                  <a:gd name="connsiteY8" fmla="*/ 189558 h 298378"/>
                  <a:gd name="connsiteX9" fmla="*/ 46119 w 242432"/>
                  <a:gd name="connsiteY9" fmla="*/ 193288 h 298378"/>
                  <a:gd name="connsiteX10" fmla="*/ 34930 w 242432"/>
                  <a:gd name="connsiteY10" fmla="*/ 210071 h 298378"/>
                  <a:gd name="connsiteX11" fmla="*/ 46119 w 242432"/>
                  <a:gd name="connsiteY11" fmla="*/ 271612 h 298378"/>
                  <a:gd name="connsiteX12" fmla="*/ 79686 w 242432"/>
                  <a:gd name="connsiteY12" fmla="*/ 279071 h 298378"/>
                  <a:gd name="connsiteX13" fmla="*/ 107659 w 242432"/>
                  <a:gd name="connsiteY13" fmla="*/ 260423 h 298378"/>
                  <a:gd name="connsiteX14" fmla="*/ 115119 w 242432"/>
                  <a:gd name="connsiteY14" fmla="*/ 249233 h 298378"/>
                  <a:gd name="connsiteX15" fmla="*/ 118848 w 242432"/>
                  <a:gd name="connsiteY15" fmla="*/ 241774 h 298378"/>
                  <a:gd name="connsiteX16" fmla="*/ 204632 w 242432"/>
                  <a:gd name="connsiteY16" fmla="*/ 118693 h 298378"/>
                  <a:gd name="connsiteX17" fmla="*/ 204632 w 242432"/>
                  <a:gd name="connsiteY17" fmla="*/ 118693 h 2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432" h="298378">
                    <a:moveTo>
                      <a:pt x="204632" y="118693"/>
                    </a:moveTo>
                    <a:lnTo>
                      <a:pt x="219551" y="96315"/>
                    </a:lnTo>
                    <a:cubicBezTo>
                      <a:pt x="227011" y="86990"/>
                      <a:pt x="228875" y="73936"/>
                      <a:pt x="227011" y="62747"/>
                    </a:cubicBezTo>
                    <a:cubicBezTo>
                      <a:pt x="225146" y="51558"/>
                      <a:pt x="217686" y="40369"/>
                      <a:pt x="208362" y="34774"/>
                    </a:cubicBezTo>
                    <a:cubicBezTo>
                      <a:pt x="200903" y="29180"/>
                      <a:pt x="193443" y="27315"/>
                      <a:pt x="184119" y="27315"/>
                    </a:cubicBezTo>
                    <a:cubicBezTo>
                      <a:pt x="169200" y="27315"/>
                      <a:pt x="156146" y="34774"/>
                      <a:pt x="146821" y="45963"/>
                    </a:cubicBezTo>
                    <a:lnTo>
                      <a:pt x="102065" y="111234"/>
                    </a:lnTo>
                    <a:cubicBezTo>
                      <a:pt x="102065" y="111234"/>
                      <a:pt x="102065" y="113098"/>
                      <a:pt x="100200" y="113098"/>
                    </a:cubicBezTo>
                    <a:cubicBezTo>
                      <a:pt x="83416" y="137342"/>
                      <a:pt x="64767" y="165315"/>
                      <a:pt x="47984" y="189558"/>
                    </a:cubicBezTo>
                    <a:cubicBezTo>
                      <a:pt x="47984" y="191423"/>
                      <a:pt x="46119" y="191423"/>
                      <a:pt x="46119" y="193288"/>
                    </a:cubicBezTo>
                    <a:lnTo>
                      <a:pt x="34930" y="210071"/>
                    </a:lnTo>
                    <a:cubicBezTo>
                      <a:pt x="21876" y="230585"/>
                      <a:pt x="25605" y="256693"/>
                      <a:pt x="46119" y="271612"/>
                    </a:cubicBezTo>
                    <a:cubicBezTo>
                      <a:pt x="55443" y="279071"/>
                      <a:pt x="68497" y="280936"/>
                      <a:pt x="79686" y="279071"/>
                    </a:cubicBezTo>
                    <a:cubicBezTo>
                      <a:pt x="90876" y="277206"/>
                      <a:pt x="102065" y="269747"/>
                      <a:pt x="107659" y="260423"/>
                    </a:cubicBezTo>
                    <a:lnTo>
                      <a:pt x="115119" y="249233"/>
                    </a:lnTo>
                    <a:cubicBezTo>
                      <a:pt x="116984" y="247369"/>
                      <a:pt x="116984" y="243639"/>
                      <a:pt x="118848" y="241774"/>
                    </a:cubicBezTo>
                    <a:lnTo>
                      <a:pt x="204632" y="118693"/>
                    </a:lnTo>
                    <a:cubicBezTo>
                      <a:pt x="202767" y="120558"/>
                      <a:pt x="202767" y="120558"/>
                      <a:pt x="204632" y="118693"/>
                    </a:cubicBez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07719801-8901-4FD7-B251-6F9C772F169A}"/>
                  </a:ext>
                </a:extLst>
              </p:cNvPr>
              <p:cNvSpPr/>
              <p:nvPr/>
            </p:nvSpPr>
            <p:spPr>
              <a:xfrm>
                <a:off x="6677776" y="4831185"/>
                <a:ext cx="932432" cy="484864"/>
              </a:xfrm>
              <a:custGeom>
                <a:avLst/>
                <a:gdLst>
                  <a:gd name="connsiteX0" fmla="*/ 734797 w 932431"/>
                  <a:gd name="connsiteY0" fmla="*/ 56000 h 484864"/>
                  <a:gd name="connsiteX1" fmla="*/ 703095 w 932431"/>
                  <a:gd name="connsiteY1" fmla="*/ 44811 h 484864"/>
                  <a:gd name="connsiteX2" fmla="*/ 667662 w 932431"/>
                  <a:gd name="connsiteY2" fmla="*/ 59730 h 484864"/>
                  <a:gd name="connsiteX3" fmla="*/ 628500 w 932431"/>
                  <a:gd name="connsiteY3" fmla="*/ 63460 h 484864"/>
                  <a:gd name="connsiteX4" fmla="*/ 509149 w 932431"/>
                  <a:gd name="connsiteY4" fmla="*/ 37352 h 484864"/>
                  <a:gd name="connsiteX5" fmla="*/ 317068 w 932431"/>
                  <a:gd name="connsiteY5" fmla="*/ 35487 h 484864"/>
                  <a:gd name="connsiteX6" fmla="*/ 203311 w 932431"/>
                  <a:gd name="connsiteY6" fmla="*/ 56000 h 484864"/>
                  <a:gd name="connsiteX7" fmla="*/ 130582 w 932431"/>
                  <a:gd name="connsiteY7" fmla="*/ 100757 h 484864"/>
                  <a:gd name="connsiteX8" fmla="*/ 33609 w 932431"/>
                  <a:gd name="connsiteY8" fmla="*/ 225703 h 484864"/>
                  <a:gd name="connsiteX9" fmla="*/ 28014 w 932431"/>
                  <a:gd name="connsiteY9" fmla="*/ 248081 h 484864"/>
                  <a:gd name="connsiteX10" fmla="*/ 39203 w 932431"/>
                  <a:gd name="connsiteY10" fmla="*/ 268595 h 484864"/>
                  <a:gd name="connsiteX11" fmla="*/ 70906 w 932431"/>
                  <a:gd name="connsiteY11" fmla="*/ 270460 h 484864"/>
                  <a:gd name="connsiteX12" fmla="*/ 276041 w 932431"/>
                  <a:gd name="connsiteY12" fmla="*/ 164163 h 484864"/>
                  <a:gd name="connsiteX13" fmla="*/ 343176 w 932431"/>
                  <a:gd name="connsiteY13" fmla="*/ 167892 h 484864"/>
                  <a:gd name="connsiteX14" fmla="*/ 783284 w 932431"/>
                  <a:gd name="connsiteY14" fmla="*/ 453216 h 484864"/>
                  <a:gd name="connsiteX15" fmla="*/ 796338 w 932431"/>
                  <a:gd name="connsiteY15" fmla="*/ 464405 h 484864"/>
                  <a:gd name="connsiteX16" fmla="*/ 900770 w 932431"/>
                  <a:gd name="connsiteY16" fmla="*/ 365568 h 484864"/>
                  <a:gd name="connsiteX17" fmla="*/ 904500 w 932431"/>
                  <a:gd name="connsiteY17" fmla="*/ 332000 h 484864"/>
                  <a:gd name="connsiteX18" fmla="*/ 734797 w 932431"/>
                  <a:gd name="connsiteY18" fmla="*/ 56000 h 48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431" h="484864">
                    <a:moveTo>
                      <a:pt x="734797" y="56000"/>
                    </a:moveTo>
                    <a:cubicBezTo>
                      <a:pt x="727338" y="44811"/>
                      <a:pt x="714284" y="41082"/>
                      <a:pt x="703095" y="44811"/>
                    </a:cubicBezTo>
                    <a:lnTo>
                      <a:pt x="667662" y="59730"/>
                    </a:lnTo>
                    <a:cubicBezTo>
                      <a:pt x="654608" y="65325"/>
                      <a:pt x="641554" y="65325"/>
                      <a:pt x="628500" y="63460"/>
                    </a:cubicBezTo>
                    <a:lnTo>
                      <a:pt x="509149" y="37352"/>
                    </a:lnTo>
                    <a:cubicBezTo>
                      <a:pt x="445743" y="24298"/>
                      <a:pt x="380473" y="24298"/>
                      <a:pt x="317068" y="35487"/>
                    </a:cubicBezTo>
                    <a:lnTo>
                      <a:pt x="203311" y="56000"/>
                    </a:lnTo>
                    <a:cubicBezTo>
                      <a:pt x="175338" y="61595"/>
                      <a:pt x="149230" y="76514"/>
                      <a:pt x="130582" y="100757"/>
                    </a:cubicBezTo>
                    <a:lnTo>
                      <a:pt x="33609" y="225703"/>
                    </a:lnTo>
                    <a:cubicBezTo>
                      <a:pt x="28014" y="231298"/>
                      <a:pt x="26149" y="240622"/>
                      <a:pt x="28014" y="248081"/>
                    </a:cubicBezTo>
                    <a:cubicBezTo>
                      <a:pt x="29879" y="255541"/>
                      <a:pt x="33609" y="263000"/>
                      <a:pt x="39203" y="268595"/>
                    </a:cubicBezTo>
                    <a:cubicBezTo>
                      <a:pt x="48528" y="276054"/>
                      <a:pt x="61582" y="276054"/>
                      <a:pt x="70906" y="270460"/>
                    </a:cubicBezTo>
                    <a:lnTo>
                      <a:pt x="276041" y="164163"/>
                    </a:lnTo>
                    <a:cubicBezTo>
                      <a:pt x="296554" y="152973"/>
                      <a:pt x="322663" y="154838"/>
                      <a:pt x="343176" y="167892"/>
                    </a:cubicBezTo>
                    <a:lnTo>
                      <a:pt x="783284" y="453216"/>
                    </a:lnTo>
                    <a:cubicBezTo>
                      <a:pt x="788878" y="456946"/>
                      <a:pt x="792608" y="460676"/>
                      <a:pt x="796338" y="464405"/>
                    </a:cubicBezTo>
                    <a:lnTo>
                      <a:pt x="900770" y="365568"/>
                    </a:lnTo>
                    <a:cubicBezTo>
                      <a:pt x="910095" y="356243"/>
                      <a:pt x="911959" y="343189"/>
                      <a:pt x="904500" y="332000"/>
                    </a:cubicBezTo>
                    <a:lnTo>
                      <a:pt x="734797" y="56000"/>
                    </a:ln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665A447-A759-4D4D-998E-B3FED1DEE232}"/>
                  </a:ext>
                </a:extLst>
              </p:cNvPr>
              <p:cNvSpPr/>
              <p:nvPr/>
            </p:nvSpPr>
            <p:spPr>
              <a:xfrm>
                <a:off x="6776089" y="5497653"/>
                <a:ext cx="167838" cy="167838"/>
              </a:xfrm>
              <a:custGeom>
                <a:avLst/>
                <a:gdLst>
                  <a:gd name="connsiteX0" fmla="*/ 127377 w 167837"/>
                  <a:gd name="connsiteY0" fmla="*/ 34774 h 167837"/>
                  <a:gd name="connsiteX1" fmla="*/ 104999 w 167837"/>
                  <a:gd name="connsiteY1" fmla="*/ 27315 h 167837"/>
                  <a:gd name="connsiteX2" fmla="*/ 99405 w 167837"/>
                  <a:gd name="connsiteY2" fmla="*/ 27315 h 167837"/>
                  <a:gd name="connsiteX3" fmla="*/ 77026 w 167837"/>
                  <a:gd name="connsiteY3" fmla="*/ 40369 h 167837"/>
                  <a:gd name="connsiteX4" fmla="*/ 30405 w 167837"/>
                  <a:gd name="connsiteY4" fmla="*/ 107504 h 167837"/>
                  <a:gd name="connsiteX5" fmla="*/ 28540 w 167837"/>
                  <a:gd name="connsiteY5" fmla="*/ 131747 h 167837"/>
                  <a:gd name="connsiteX6" fmla="*/ 49053 w 167837"/>
                  <a:gd name="connsiteY6" fmla="*/ 154125 h 167837"/>
                  <a:gd name="connsiteX7" fmla="*/ 91945 w 167837"/>
                  <a:gd name="connsiteY7" fmla="*/ 141071 h 167837"/>
                  <a:gd name="connsiteX8" fmla="*/ 132972 w 167837"/>
                  <a:gd name="connsiteY8" fmla="*/ 81396 h 167837"/>
                  <a:gd name="connsiteX9" fmla="*/ 127377 w 167837"/>
                  <a:gd name="connsiteY9" fmla="*/ 34774 h 16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37" h="167837">
                    <a:moveTo>
                      <a:pt x="127377" y="34774"/>
                    </a:moveTo>
                    <a:cubicBezTo>
                      <a:pt x="119918" y="29180"/>
                      <a:pt x="112459" y="27315"/>
                      <a:pt x="104999" y="27315"/>
                    </a:cubicBezTo>
                    <a:cubicBezTo>
                      <a:pt x="103134" y="27315"/>
                      <a:pt x="101269" y="27315"/>
                      <a:pt x="99405" y="27315"/>
                    </a:cubicBezTo>
                    <a:cubicBezTo>
                      <a:pt x="90080" y="29180"/>
                      <a:pt x="82621" y="32909"/>
                      <a:pt x="77026" y="40369"/>
                    </a:cubicBezTo>
                    <a:lnTo>
                      <a:pt x="30405" y="107504"/>
                    </a:lnTo>
                    <a:cubicBezTo>
                      <a:pt x="26675" y="114963"/>
                      <a:pt x="26675" y="124288"/>
                      <a:pt x="28540" y="131747"/>
                    </a:cubicBezTo>
                    <a:cubicBezTo>
                      <a:pt x="32269" y="142936"/>
                      <a:pt x="39729" y="150396"/>
                      <a:pt x="49053" y="154125"/>
                    </a:cubicBezTo>
                    <a:cubicBezTo>
                      <a:pt x="63972" y="159720"/>
                      <a:pt x="82621" y="155990"/>
                      <a:pt x="91945" y="141071"/>
                    </a:cubicBezTo>
                    <a:lnTo>
                      <a:pt x="132972" y="81396"/>
                    </a:lnTo>
                    <a:cubicBezTo>
                      <a:pt x="146026" y="68342"/>
                      <a:pt x="142296" y="45963"/>
                      <a:pt x="127377" y="34774"/>
                    </a:cubicBez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355DF42-A142-47A0-AF28-AAE4FF9950F6}"/>
                  </a:ext>
                </a:extLst>
              </p:cNvPr>
              <p:cNvSpPr/>
              <p:nvPr/>
            </p:nvSpPr>
            <p:spPr>
              <a:xfrm>
                <a:off x="6655929" y="5382032"/>
                <a:ext cx="223784" cy="261081"/>
              </a:xfrm>
              <a:custGeom>
                <a:avLst/>
                <a:gdLst>
                  <a:gd name="connsiteX0" fmla="*/ 167348 w 223783"/>
                  <a:gd name="connsiteY0" fmla="*/ 133612 h 261080"/>
                  <a:gd name="connsiteX1" fmla="*/ 193456 w 223783"/>
                  <a:gd name="connsiteY1" fmla="*/ 96315 h 261080"/>
                  <a:gd name="connsiteX2" fmla="*/ 184131 w 223783"/>
                  <a:gd name="connsiteY2" fmla="*/ 36639 h 261080"/>
                  <a:gd name="connsiteX3" fmla="*/ 156159 w 223783"/>
                  <a:gd name="connsiteY3" fmla="*/ 27315 h 261080"/>
                  <a:gd name="connsiteX4" fmla="*/ 150564 w 223783"/>
                  <a:gd name="connsiteY4" fmla="*/ 27315 h 261080"/>
                  <a:gd name="connsiteX5" fmla="*/ 120726 w 223783"/>
                  <a:gd name="connsiteY5" fmla="*/ 44098 h 261080"/>
                  <a:gd name="connsiteX6" fmla="*/ 31213 w 223783"/>
                  <a:gd name="connsiteY6" fmla="*/ 174639 h 261080"/>
                  <a:gd name="connsiteX7" fmla="*/ 29348 w 223783"/>
                  <a:gd name="connsiteY7" fmla="*/ 202612 h 261080"/>
                  <a:gd name="connsiteX8" fmla="*/ 51726 w 223783"/>
                  <a:gd name="connsiteY8" fmla="*/ 230585 h 261080"/>
                  <a:gd name="connsiteX9" fmla="*/ 109537 w 223783"/>
                  <a:gd name="connsiteY9" fmla="*/ 217531 h 261080"/>
                  <a:gd name="connsiteX10" fmla="*/ 122591 w 223783"/>
                  <a:gd name="connsiteY10" fmla="*/ 198882 h 261080"/>
                  <a:gd name="connsiteX11" fmla="*/ 126321 w 223783"/>
                  <a:gd name="connsiteY11" fmla="*/ 193288 h 261080"/>
                  <a:gd name="connsiteX12" fmla="*/ 167348 w 223783"/>
                  <a:gd name="connsiteY12" fmla="*/ 133612 h 261080"/>
                  <a:gd name="connsiteX13" fmla="*/ 167348 w 223783"/>
                  <a:gd name="connsiteY13" fmla="*/ 133612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783" h="261080">
                    <a:moveTo>
                      <a:pt x="167348" y="133612"/>
                    </a:moveTo>
                    <a:lnTo>
                      <a:pt x="193456" y="96315"/>
                    </a:lnTo>
                    <a:cubicBezTo>
                      <a:pt x="206510" y="77666"/>
                      <a:pt x="202780" y="51558"/>
                      <a:pt x="184131" y="36639"/>
                    </a:cubicBezTo>
                    <a:cubicBezTo>
                      <a:pt x="176672" y="31044"/>
                      <a:pt x="167348" y="27315"/>
                      <a:pt x="156159" y="27315"/>
                    </a:cubicBezTo>
                    <a:cubicBezTo>
                      <a:pt x="154294" y="27315"/>
                      <a:pt x="152429" y="27315"/>
                      <a:pt x="150564" y="27315"/>
                    </a:cubicBezTo>
                    <a:cubicBezTo>
                      <a:pt x="139375" y="29180"/>
                      <a:pt x="128186" y="34774"/>
                      <a:pt x="120726" y="44098"/>
                    </a:cubicBezTo>
                    <a:lnTo>
                      <a:pt x="31213" y="174639"/>
                    </a:lnTo>
                    <a:cubicBezTo>
                      <a:pt x="27483" y="183963"/>
                      <a:pt x="25618" y="193288"/>
                      <a:pt x="29348" y="202612"/>
                    </a:cubicBezTo>
                    <a:cubicBezTo>
                      <a:pt x="33078" y="215666"/>
                      <a:pt x="40537" y="224990"/>
                      <a:pt x="51726" y="230585"/>
                    </a:cubicBezTo>
                    <a:cubicBezTo>
                      <a:pt x="72240" y="241774"/>
                      <a:pt x="96483" y="236179"/>
                      <a:pt x="109537" y="217531"/>
                    </a:cubicBezTo>
                    <a:lnTo>
                      <a:pt x="122591" y="198882"/>
                    </a:lnTo>
                    <a:cubicBezTo>
                      <a:pt x="124456" y="197017"/>
                      <a:pt x="124456" y="195152"/>
                      <a:pt x="126321" y="193288"/>
                    </a:cubicBezTo>
                    <a:lnTo>
                      <a:pt x="167348" y="133612"/>
                    </a:lnTo>
                    <a:cubicBezTo>
                      <a:pt x="165483" y="135477"/>
                      <a:pt x="167348" y="135477"/>
                      <a:pt x="167348" y="133612"/>
                    </a:cubicBez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FA39D56F-719B-4A0A-89F2-EA724DD63DAC}"/>
                  </a:ext>
                </a:extLst>
              </p:cNvPr>
              <p:cNvSpPr/>
              <p:nvPr/>
            </p:nvSpPr>
            <p:spPr>
              <a:xfrm>
                <a:off x="6394959" y="4865862"/>
                <a:ext cx="1100269" cy="801891"/>
              </a:xfrm>
              <a:custGeom>
                <a:avLst/>
                <a:gdLst>
                  <a:gd name="connsiteX0" fmla="*/ 1047453 w 1100269"/>
                  <a:gd name="connsiteY0" fmla="*/ 448377 h 801890"/>
                  <a:gd name="connsiteX1" fmla="*/ 607345 w 1100269"/>
                  <a:gd name="connsiteY1" fmla="*/ 163053 h 801890"/>
                  <a:gd name="connsiteX2" fmla="*/ 577508 w 1100269"/>
                  <a:gd name="connsiteY2" fmla="*/ 161188 h 801890"/>
                  <a:gd name="connsiteX3" fmla="*/ 376102 w 1100269"/>
                  <a:gd name="connsiteY3" fmla="*/ 267485 h 801890"/>
                  <a:gd name="connsiteX4" fmla="*/ 305237 w 1100269"/>
                  <a:gd name="connsiteY4" fmla="*/ 265620 h 801890"/>
                  <a:gd name="connsiteX5" fmla="*/ 275400 w 1100269"/>
                  <a:gd name="connsiteY5" fmla="*/ 205944 h 801890"/>
                  <a:gd name="connsiteX6" fmla="*/ 290319 w 1100269"/>
                  <a:gd name="connsiteY6" fmla="*/ 168647 h 801890"/>
                  <a:gd name="connsiteX7" fmla="*/ 372373 w 1100269"/>
                  <a:gd name="connsiteY7" fmla="*/ 62350 h 801890"/>
                  <a:gd name="connsiteX8" fmla="*/ 284724 w 1100269"/>
                  <a:gd name="connsiteY8" fmla="*/ 49296 h 801890"/>
                  <a:gd name="connsiteX9" fmla="*/ 264210 w 1100269"/>
                  <a:gd name="connsiteY9" fmla="*/ 41836 h 801890"/>
                  <a:gd name="connsiteX10" fmla="*/ 245562 w 1100269"/>
                  <a:gd name="connsiteY10" fmla="*/ 32512 h 801890"/>
                  <a:gd name="connsiteX11" fmla="*/ 180292 w 1100269"/>
                  <a:gd name="connsiteY11" fmla="*/ 49296 h 801890"/>
                  <a:gd name="connsiteX12" fmla="*/ 34832 w 1100269"/>
                  <a:gd name="connsiteY12" fmla="*/ 278674 h 801890"/>
                  <a:gd name="connsiteX13" fmla="*/ 36697 w 1100269"/>
                  <a:gd name="connsiteY13" fmla="*/ 334620 h 801890"/>
                  <a:gd name="connsiteX14" fmla="*/ 113157 w 1100269"/>
                  <a:gd name="connsiteY14" fmla="*/ 435323 h 801890"/>
                  <a:gd name="connsiteX15" fmla="*/ 122481 w 1100269"/>
                  <a:gd name="connsiteY15" fmla="*/ 435323 h 801890"/>
                  <a:gd name="connsiteX16" fmla="*/ 223183 w 1100269"/>
                  <a:gd name="connsiteY16" fmla="*/ 422268 h 801890"/>
                  <a:gd name="connsiteX17" fmla="*/ 251156 w 1100269"/>
                  <a:gd name="connsiteY17" fmla="*/ 450241 h 801890"/>
                  <a:gd name="connsiteX18" fmla="*/ 260481 w 1100269"/>
                  <a:gd name="connsiteY18" fmla="*/ 450241 h 801890"/>
                  <a:gd name="connsiteX19" fmla="*/ 260481 w 1100269"/>
                  <a:gd name="connsiteY19" fmla="*/ 450241 h 801890"/>
                  <a:gd name="connsiteX20" fmla="*/ 366778 w 1100269"/>
                  <a:gd name="connsiteY20" fmla="*/ 420404 h 801890"/>
                  <a:gd name="connsiteX21" fmla="*/ 409670 w 1100269"/>
                  <a:gd name="connsiteY21" fmla="*/ 476349 h 801890"/>
                  <a:gd name="connsiteX22" fmla="*/ 411535 w 1100269"/>
                  <a:gd name="connsiteY22" fmla="*/ 500593 h 801890"/>
                  <a:gd name="connsiteX23" fmla="*/ 417129 w 1100269"/>
                  <a:gd name="connsiteY23" fmla="*/ 506187 h 801890"/>
                  <a:gd name="connsiteX24" fmla="*/ 469345 w 1100269"/>
                  <a:gd name="connsiteY24" fmla="*/ 524836 h 801890"/>
                  <a:gd name="connsiteX25" fmla="*/ 495454 w 1100269"/>
                  <a:gd name="connsiteY25" fmla="*/ 614349 h 801890"/>
                  <a:gd name="connsiteX26" fmla="*/ 499183 w 1100269"/>
                  <a:gd name="connsiteY26" fmla="*/ 621809 h 801890"/>
                  <a:gd name="connsiteX27" fmla="*/ 556994 w 1100269"/>
                  <a:gd name="connsiteY27" fmla="*/ 672160 h 801890"/>
                  <a:gd name="connsiteX28" fmla="*/ 545805 w 1100269"/>
                  <a:gd name="connsiteY28" fmla="*/ 737430 h 801890"/>
                  <a:gd name="connsiteX29" fmla="*/ 536481 w 1100269"/>
                  <a:gd name="connsiteY29" fmla="*/ 750484 h 801890"/>
                  <a:gd name="connsiteX30" fmla="*/ 540210 w 1100269"/>
                  <a:gd name="connsiteY30" fmla="*/ 759809 h 801890"/>
                  <a:gd name="connsiteX31" fmla="*/ 653967 w 1100269"/>
                  <a:gd name="connsiteY31" fmla="*/ 776592 h 801890"/>
                  <a:gd name="connsiteX32" fmla="*/ 726697 w 1100269"/>
                  <a:gd name="connsiteY32" fmla="*/ 767268 h 801890"/>
                  <a:gd name="connsiteX33" fmla="*/ 726697 w 1100269"/>
                  <a:gd name="connsiteY33" fmla="*/ 733701 h 801890"/>
                  <a:gd name="connsiteX34" fmla="*/ 624129 w 1100269"/>
                  <a:gd name="connsiteY34" fmla="*/ 681484 h 801890"/>
                  <a:gd name="connsiteX35" fmla="*/ 616670 w 1100269"/>
                  <a:gd name="connsiteY35" fmla="*/ 657241 h 801890"/>
                  <a:gd name="connsiteX36" fmla="*/ 640913 w 1100269"/>
                  <a:gd name="connsiteY36" fmla="*/ 649782 h 801890"/>
                  <a:gd name="connsiteX37" fmla="*/ 782643 w 1100269"/>
                  <a:gd name="connsiteY37" fmla="*/ 722511 h 801890"/>
                  <a:gd name="connsiteX38" fmla="*/ 853507 w 1100269"/>
                  <a:gd name="connsiteY38" fmla="*/ 703863 h 801890"/>
                  <a:gd name="connsiteX39" fmla="*/ 860967 w 1100269"/>
                  <a:gd name="connsiteY39" fmla="*/ 675890 h 801890"/>
                  <a:gd name="connsiteX40" fmla="*/ 844183 w 1100269"/>
                  <a:gd name="connsiteY40" fmla="*/ 653511 h 801890"/>
                  <a:gd name="connsiteX41" fmla="*/ 810615 w 1100269"/>
                  <a:gd name="connsiteY41" fmla="*/ 632998 h 801890"/>
                  <a:gd name="connsiteX42" fmla="*/ 676345 w 1100269"/>
                  <a:gd name="connsiteY42" fmla="*/ 560268 h 801890"/>
                  <a:gd name="connsiteX43" fmla="*/ 668886 w 1100269"/>
                  <a:gd name="connsiteY43" fmla="*/ 534160 h 801890"/>
                  <a:gd name="connsiteX44" fmla="*/ 694994 w 1100269"/>
                  <a:gd name="connsiteY44" fmla="*/ 526701 h 801890"/>
                  <a:gd name="connsiteX45" fmla="*/ 881480 w 1100269"/>
                  <a:gd name="connsiteY45" fmla="*/ 627403 h 801890"/>
                  <a:gd name="connsiteX46" fmla="*/ 959805 w 1100269"/>
                  <a:gd name="connsiteY46" fmla="*/ 606890 h 801890"/>
                  <a:gd name="connsiteX47" fmla="*/ 965399 w 1100269"/>
                  <a:gd name="connsiteY47" fmla="*/ 578917 h 801890"/>
                  <a:gd name="connsiteX48" fmla="*/ 948615 w 1100269"/>
                  <a:gd name="connsiteY48" fmla="*/ 554674 h 801890"/>
                  <a:gd name="connsiteX49" fmla="*/ 935561 w 1100269"/>
                  <a:gd name="connsiteY49" fmla="*/ 547214 h 801890"/>
                  <a:gd name="connsiteX50" fmla="*/ 736021 w 1100269"/>
                  <a:gd name="connsiteY50" fmla="*/ 427863 h 801890"/>
                  <a:gd name="connsiteX51" fmla="*/ 730426 w 1100269"/>
                  <a:gd name="connsiteY51" fmla="*/ 401755 h 801890"/>
                  <a:gd name="connsiteX52" fmla="*/ 756534 w 1100269"/>
                  <a:gd name="connsiteY52" fmla="*/ 396160 h 801890"/>
                  <a:gd name="connsiteX53" fmla="*/ 946751 w 1100269"/>
                  <a:gd name="connsiteY53" fmla="*/ 509917 h 801890"/>
                  <a:gd name="connsiteX54" fmla="*/ 946751 w 1100269"/>
                  <a:gd name="connsiteY54" fmla="*/ 509917 h 801890"/>
                  <a:gd name="connsiteX55" fmla="*/ 956075 w 1100269"/>
                  <a:gd name="connsiteY55" fmla="*/ 515512 h 801890"/>
                  <a:gd name="connsiteX56" fmla="*/ 991507 w 1100269"/>
                  <a:gd name="connsiteY56" fmla="*/ 536025 h 801890"/>
                  <a:gd name="connsiteX57" fmla="*/ 1066102 w 1100269"/>
                  <a:gd name="connsiteY57" fmla="*/ 519241 h 801890"/>
                  <a:gd name="connsiteX58" fmla="*/ 1071696 w 1100269"/>
                  <a:gd name="connsiteY58" fmla="*/ 481944 h 801890"/>
                  <a:gd name="connsiteX59" fmla="*/ 1047453 w 1100269"/>
                  <a:gd name="connsiteY59" fmla="*/ 448377 h 80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00269" h="801890">
                    <a:moveTo>
                      <a:pt x="1047453" y="448377"/>
                    </a:moveTo>
                    <a:lnTo>
                      <a:pt x="607345" y="163053"/>
                    </a:lnTo>
                    <a:cubicBezTo>
                      <a:pt x="598021" y="157458"/>
                      <a:pt x="586832" y="157458"/>
                      <a:pt x="577508" y="161188"/>
                    </a:cubicBezTo>
                    <a:lnTo>
                      <a:pt x="376102" y="267485"/>
                    </a:lnTo>
                    <a:cubicBezTo>
                      <a:pt x="353724" y="278674"/>
                      <a:pt x="325751" y="278674"/>
                      <a:pt x="305237" y="265620"/>
                    </a:cubicBezTo>
                    <a:cubicBezTo>
                      <a:pt x="284724" y="252566"/>
                      <a:pt x="273535" y="230188"/>
                      <a:pt x="275400" y="205944"/>
                    </a:cubicBezTo>
                    <a:cubicBezTo>
                      <a:pt x="275400" y="192890"/>
                      <a:pt x="282859" y="177971"/>
                      <a:pt x="290319" y="168647"/>
                    </a:cubicBezTo>
                    <a:lnTo>
                      <a:pt x="372373" y="62350"/>
                    </a:lnTo>
                    <a:lnTo>
                      <a:pt x="284724" y="49296"/>
                    </a:lnTo>
                    <a:cubicBezTo>
                      <a:pt x="277265" y="47431"/>
                      <a:pt x="271670" y="45566"/>
                      <a:pt x="264210" y="41836"/>
                    </a:cubicBezTo>
                    <a:lnTo>
                      <a:pt x="245562" y="32512"/>
                    </a:lnTo>
                    <a:cubicBezTo>
                      <a:pt x="223183" y="21323"/>
                      <a:pt x="195211" y="28782"/>
                      <a:pt x="180292" y="49296"/>
                    </a:cubicBezTo>
                    <a:lnTo>
                      <a:pt x="34832" y="278674"/>
                    </a:lnTo>
                    <a:cubicBezTo>
                      <a:pt x="23643" y="295458"/>
                      <a:pt x="25508" y="319701"/>
                      <a:pt x="36697" y="334620"/>
                    </a:cubicBezTo>
                    <a:lnTo>
                      <a:pt x="113157" y="435323"/>
                    </a:lnTo>
                    <a:cubicBezTo>
                      <a:pt x="115021" y="439052"/>
                      <a:pt x="118751" y="439052"/>
                      <a:pt x="122481" y="435323"/>
                    </a:cubicBezTo>
                    <a:cubicBezTo>
                      <a:pt x="148589" y="407350"/>
                      <a:pt x="189616" y="401755"/>
                      <a:pt x="223183" y="422268"/>
                    </a:cubicBezTo>
                    <a:cubicBezTo>
                      <a:pt x="234373" y="429728"/>
                      <a:pt x="243697" y="439052"/>
                      <a:pt x="251156" y="450241"/>
                    </a:cubicBezTo>
                    <a:cubicBezTo>
                      <a:pt x="253021" y="453971"/>
                      <a:pt x="258616" y="453971"/>
                      <a:pt x="260481" y="450241"/>
                    </a:cubicBezTo>
                    <a:lnTo>
                      <a:pt x="260481" y="450241"/>
                    </a:lnTo>
                    <a:cubicBezTo>
                      <a:pt x="284724" y="416674"/>
                      <a:pt x="329481" y="401755"/>
                      <a:pt x="366778" y="420404"/>
                    </a:cubicBezTo>
                    <a:cubicBezTo>
                      <a:pt x="389156" y="431593"/>
                      <a:pt x="404075" y="452106"/>
                      <a:pt x="409670" y="476349"/>
                    </a:cubicBezTo>
                    <a:cubicBezTo>
                      <a:pt x="411535" y="483809"/>
                      <a:pt x="411535" y="491268"/>
                      <a:pt x="411535" y="500593"/>
                    </a:cubicBezTo>
                    <a:cubicBezTo>
                      <a:pt x="411535" y="504322"/>
                      <a:pt x="413400" y="506187"/>
                      <a:pt x="417129" y="506187"/>
                    </a:cubicBezTo>
                    <a:cubicBezTo>
                      <a:pt x="435778" y="506187"/>
                      <a:pt x="454427" y="511782"/>
                      <a:pt x="469345" y="524836"/>
                    </a:cubicBezTo>
                    <a:cubicBezTo>
                      <a:pt x="495454" y="547214"/>
                      <a:pt x="506643" y="582647"/>
                      <a:pt x="495454" y="614349"/>
                    </a:cubicBezTo>
                    <a:cubicBezTo>
                      <a:pt x="493589" y="618079"/>
                      <a:pt x="495454" y="621809"/>
                      <a:pt x="499183" y="621809"/>
                    </a:cubicBezTo>
                    <a:cubicBezTo>
                      <a:pt x="525291" y="625539"/>
                      <a:pt x="547670" y="644187"/>
                      <a:pt x="556994" y="672160"/>
                    </a:cubicBezTo>
                    <a:cubicBezTo>
                      <a:pt x="564453" y="694538"/>
                      <a:pt x="558859" y="718782"/>
                      <a:pt x="545805" y="737430"/>
                    </a:cubicBezTo>
                    <a:lnTo>
                      <a:pt x="536481" y="750484"/>
                    </a:lnTo>
                    <a:cubicBezTo>
                      <a:pt x="534616" y="754214"/>
                      <a:pt x="536481" y="759809"/>
                      <a:pt x="540210" y="759809"/>
                    </a:cubicBezTo>
                    <a:lnTo>
                      <a:pt x="653967" y="776592"/>
                    </a:lnTo>
                    <a:cubicBezTo>
                      <a:pt x="678210" y="780322"/>
                      <a:pt x="704318" y="776592"/>
                      <a:pt x="726697" y="767268"/>
                    </a:cubicBezTo>
                    <a:cubicBezTo>
                      <a:pt x="741616" y="761674"/>
                      <a:pt x="741616" y="741160"/>
                      <a:pt x="726697" y="733701"/>
                    </a:cubicBezTo>
                    <a:lnTo>
                      <a:pt x="624129" y="681484"/>
                    </a:lnTo>
                    <a:cubicBezTo>
                      <a:pt x="614805" y="675890"/>
                      <a:pt x="611075" y="664701"/>
                      <a:pt x="616670" y="657241"/>
                    </a:cubicBezTo>
                    <a:cubicBezTo>
                      <a:pt x="622264" y="647917"/>
                      <a:pt x="633453" y="644187"/>
                      <a:pt x="640913" y="649782"/>
                    </a:cubicBezTo>
                    <a:lnTo>
                      <a:pt x="782643" y="722511"/>
                    </a:lnTo>
                    <a:cubicBezTo>
                      <a:pt x="808751" y="735565"/>
                      <a:pt x="838588" y="726241"/>
                      <a:pt x="853507" y="703863"/>
                    </a:cubicBezTo>
                    <a:cubicBezTo>
                      <a:pt x="860967" y="694538"/>
                      <a:pt x="862832" y="685214"/>
                      <a:pt x="860967" y="675890"/>
                    </a:cubicBezTo>
                    <a:cubicBezTo>
                      <a:pt x="859102" y="666566"/>
                      <a:pt x="853507" y="657241"/>
                      <a:pt x="844183" y="653511"/>
                    </a:cubicBezTo>
                    <a:lnTo>
                      <a:pt x="810615" y="632998"/>
                    </a:lnTo>
                    <a:lnTo>
                      <a:pt x="676345" y="560268"/>
                    </a:lnTo>
                    <a:cubicBezTo>
                      <a:pt x="667021" y="554674"/>
                      <a:pt x="663291" y="543485"/>
                      <a:pt x="668886" y="534160"/>
                    </a:cubicBezTo>
                    <a:cubicBezTo>
                      <a:pt x="674480" y="524836"/>
                      <a:pt x="685670" y="521106"/>
                      <a:pt x="694994" y="526701"/>
                    </a:cubicBezTo>
                    <a:lnTo>
                      <a:pt x="881480" y="627403"/>
                    </a:lnTo>
                    <a:cubicBezTo>
                      <a:pt x="909453" y="642322"/>
                      <a:pt x="943021" y="632998"/>
                      <a:pt x="959805" y="606890"/>
                    </a:cubicBezTo>
                    <a:cubicBezTo>
                      <a:pt x="965399" y="597566"/>
                      <a:pt x="967264" y="588241"/>
                      <a:pt x="965399" y="578917"/>
                    </a:cubicBezTo>
                    <a:cubicBezTo>
                      <a:pt x="963534" y="569593"/>
                      <a:pt x="957940" y="560268"/>
                      <a:pt x="948615" y="554674"/>
                    </a:cubicBezTo>
                    <a:lnTo>
                      <a:pt x="935561" y="547214"/>
                    </a:lnTo>
                    <a:lnTo>
                      <a:pt x="736021" y="427863"/>
                    </a:lnTo>
                    <a:cubicBezTo>
                      <a:pt x="726697" y="422268"/>
                      <a:pt x="724832" y="411079"/>
                      <a:pt x="730426" y="401755"/>
                    </a:cubicBezTo>
                    <a:cubicBezTo>
                      <a:pt x="736021" y="392431"/>
                      <a:pt x="747210" y="390566"/>
                      <a:pt x="756534" y="396160"/>
                    </a:cubicBezTo>
                    <a:lnTo>
                      <a:pt x="946751" y="509917"/>
                    </a:lnTo>
                    <a:cubicBezTo>
                      <a:pt x="946751" y="509917"/>
                      <a:pt x="946751" y="509917"/>
                      <a:pt x="946751" y="509917"/>
                    </a:cubicBezTo>
                    <a:lnTo>
                      <a:pt x="956075" y="515512"/>
                    </a:lnTo>
                    <a:lnTo>
                      <a:pt x="991507" y="536025"/>
                    </a:lnTo>
                    <a:cubicBezTo>
                      <a:pt x="1015750" y="550944"/>
                      <a:pt x="1051183" y="543485"/>
                      <a:pt x="1066102" y="519241"/>
                    </a:cubicBezTo>
                    <a:cubicBezTo>
                      <a:pt x="1073561" y="508052"/>
                      <a:pt x="1075426" y="494998"/>
                      <a:pt x="1071696" y="481944"/>
                    </a:cubicBezTo>
                    <a:cubicBezTo>
                      <a:pt x="1067967" y="468890"/>
                      <a:pt x="1060507" y="455836"/>
                      <a:pt x="1047453" y="448377"/>
                    </a:cubicBezTo>
                    <a:close/>
                  </a:path>
                </a:pathLst>
              </a:custGeom>
              <a:solidFill>
                <a:srgbClr val="00E7CF"/>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062C5EAB-2FE7-4F5D-BD24-A3DF8DF77FA6}"/>
                  </a:ext>
                </a:extLst>
              </p:cNvPr>
              <p:cNvSpPr/>
              <p:nvPr/>
            </p:nvSpPr>
            <p:spPr>
              <a:xfrm>
                <a:off x="6448942" y="5285059"/>
                <a:ext cx="186486" cy="205135"/>
              </a:xfrm>
              <a:custGeom>
                <a:avLst/>
                <a:gdLst>
                  <a:gd name="connsiteX0" fmla="*/ 169200 w 186486"/>
                  <a:gd name="connsiteY0" fmla="*/ 62747 h 205134"/>
                  <a:gd name="connsiteX1" fmla="*/ 148686 w 186486"/>
                  <a:gd name="connsiteY1" fmla="*/ 34774 h 205134"/>
                  <a:gd name="connsiteX2" fmla="*/ 124443 w 186486"/>
                  <a:gd name="connsiteY2" fmla="*/ 27315 h 205134"/>
                  <a:gd name="connsiteX3" fmla="*/ 89011 w 186486"/>
                  <a:gd name="connsiteY3" fmla="*/ 45963 h 205134"/>
                  <a:gd name="connsiteX4" fmla="*/ 34930 w 186486"/>
                  <a:gd name="connsiteY4" fmla="*/ 122423 h 205134"/>
                  <a:gd name="connsiteX5" fmla="*/ 46119 w 186486"/>
                  <a:gd name="connsiteY5" fmla="*/ 182098 h 205134"/>
                  <a:gd name="connsiteX6" fmla="*/ 47984 w 186486"/>
                  <a:gd name="connsiteY6" fmla="*/ 183963 h 205134"/>
                  <a:gd name="connsiteX7" fmla="*/ 79686 w 186486"/>
                  <a:gd name="connsiteY7" fmla="*/ 191423 h 205134"/>
                  <a:gd name="connsiteX8" fmla="*/ 105794 w 186486"/>
                  <a:gd name="connsiteY8" fmla="*/ 176504 h 205134"/>
                  <a:gd name="connsiteX9" fmla="*/ 161740 w 186486"/>
                  <a:gd name="connsiteY9" fmla="*/ 94450 h 205134"/>
                  <a:gd name="connsiteX10" fmla="*/ 169200 w 186486"/>
                  <a:gd name="connsiteY10" fmla="*/ 62747 h 20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86" h="205134">
                    <a:moveTo>
                      <a:pt x="169200" y="62747"/>
                    </a:moveTo>
                    <a:cubicBezTo>
                      <a:pt x="167335" y="51558"/>
                      <a:pt x="159875" y="40369"/>
                      <a:pt x="148686" y="34774"/>
                    </a:cubicBezTo>
                    <a:cubicBezTo>
                      <a:pt x="141227" y="31044"/>
                      <a:pt x="133767" y="27315"/>
                      <a:pt x="124443" y="27315"/>
                    </a:cubicBezTo>
                    <a:cubicBezTo>
                      <a:pt x="111389" y="27315"/>
                      <a:pt x="98335" y="32909"/>
                      <a:pt x="89011" y="45963"/>
                    </a:cubicBezTo>
                    <a:lnTo>
                      <a:pt x="34930" y="122423"/>
                    </a:lnTo>
                    <a:cubicBezTo>
                      <a:pt x="21876" y="141071"/>
                      <a:pt x="25605" y="169044"/>
                      <a:pt x="46119" y="182098"/>
                    </a:cubicBezTo>
                    <a:lnTo>
                      <a:pt x="47984" y="183963"/>
                    </a:lnTo>
                    <a:cubicBezTo>
                      <a:pt x="57308" y="191423"/>
                      <a:pt x="68497" y="193288"/>
                      <a:pt x="79686" y="191423"/>
                    </a:cubicBezTo>
                    <a:cubicBezTo>
                      <a:pt x="89011" y="189558"/>
                      <a:pt x="98335" y="183963"/>
                      <a:pt x="105794" y="176504"/>
                    </a:cubicBezTo>
                    <a:lnTo>
                      <a:pt x="161740" y="94450"/>
                    </a:lnTo>
                    <a:cubicBezTo>
                      <a:pt x="169200" y="83261"/>
                      <a:pt x="171065" y="73936"/>
                      <a:pt x="169200" y="62747"/>
                    </a:cubicBezTo>
                    <a:close/>
                  </a:path>
                </a:pathLst>
              </a:custGeom>
              <a:solidFill>
                <a:srgbClr val="3D3D40"/>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29D80C57-BC2C-46A4-840C-8918C4F1A7EA}"/>
                  </a:ext>
                </a:extLst>
              </p:cNvPr>
              <p:cNvSpPr/>
              <p:nvPr/>
            </p:nvSpPr>
            <p:spPr>
              <a:xfrm>
                <a:off x="6180411" y="4699346"/>
                <a:ext cx="410270" cy="503513"/>
              </a:xfrm>
              <a:custGeom>
                <a:avLst/>
                <a:gdLst>
                  <a:gd name="connsiteX0" fmla="*/ 383650 w 410269"/>
                  <a:gd name="connsiteY0" fmla="*/ 89002 h 503512"/>
                  <a:gd name="connsiteX1" fmla="*/ 294137 w 410269"/>
                  <a:gd name="connsiteY1" fmla="*/ 33056 h 503512"/>
                  <a:gd name="connsiteX2" fmla="*/ 240056 w 410269"/>
                  <a:gd name="connsiteY2" fmla="*/ 46110 h 503512"/>
                  <a:gd name="connsiteX3" fmla="*/ 33056 w 410269"/>
                  <a:gd name="connsiteY3" fmla="*/ 372461 h 503512"/>
                  <a:gd name="connsiteX4" fmla="*/ 46110 w 410269"/>
                  <a:gd name="connsiteY4" fmla="*/ 426542 h 503512"/>
                  <a:gd name="connsiteX5" fmla="*/ 135623 w 410269"/>
                  <a:gd name="connsiteY5" fmla="*/ 482488 h 503512"/>
                  <a:gd name="connsiteX6" fmla="*/ 189704 w 410269"/>
                  <a:gd name="connsiteY6" fmla="*/ 469434 h 503512"/>
                  <a:gd name="connsiteX7" fmla="*/ 394839 w 410269"/>
                  <a:gd name="connsiteY7" fmla="*/ 143083 h 503512"/>
                  <a:gd name="connsiteX8" fmla="*/ 383650 w 410269"/>
                  <a:gd name="connsiteY8" fmla="*/ 89002 h 5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269" h="503512">
                    <a:moveTo>
                      <a:pt x="383650" y="89002"/>
                    </a:moveTo>
                    <a:lnTo>
                      <a:pt x="294137" y="33056"/>
                    </a:lnTo>
                    <a:cubicBezTo>
                      <a:pt x="275488" y="21867"/>
                      <a:pt x="251245" y="27461"/>
                      <a:pt x="240056" y="46110"/>
                    </a:cubicBezTo>
                    <a:lnTo>
                      <a:pt x="33056" y="372461"/>
                    </a:lnTo>
                    <a:cubicBezTo>
                      <a:pt x="21867" y="391109"/>
                      <a:pt x="27461" y="415353"/>
                      <a:pt x="46110" y="426542"/>
                    </a:cubicBezTo>
                    <a:lnTo>
                      <a:pt x="135623" y="482488"/>
                    </a:lnTo>
                    <a:cubicBezTo>
                      <a:pt x="154272" y="493677"/>
                      <a:pt x="178515" y="488082"/>
                      <a:pt x="189704" y="469434"/>
                    </a:cubicBezTo>
                    <a:lnTo>
                      <a:pt x="394839" y="143083"/>
                    </a:lnTo>
                    <a:cubicBezTo>
                      <a:pt x="406029" y="124434"/>
                      <a:pt x="400434" y="100191"/>
                      <a:pt x="383650" y="89002"/>
                    </a:cubicBezTo>
                    <a:close/>
                  </a:path>
                </a:pathLst>
              </a:custGeom>
              <a:solidFill>
                <a:srgbClr val="00E7CF"/>
              </a:solidFill>
              <a:ln w="1860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F7CFCA31-3009-4FFC-A1F1-A28CE01F5604}"/>
                </a:ext>
              </a:extLst>
            </p:cNvPr>
            <p:cNvGrpSpPr/>
            <p:nvPr/>
          </p:nvGrpSpPr>
          <p:grpSpPr>
            <a:xfrm>
              <a:off x="2998563" y="3863657"/>
              <a:ext cx="1007246" cy="1492311"/>
              <a:chOff x="2998563" y="3863657"/>
              <a:chExt cx="1007246" cy="1492311"/>
            </a:xfrm>
          </p:grpSpPr>
          <p:sp>
            <p:nvSpPr>
              <p:cNvPr id="21" name="Partial Circle 20">
                <a:extLst>
                  <a:ext uri="{FF2B5EF4-FFF2-40B4-BE49-F238E27FC236}">
                    <a16:creationId xmlns:a16="http://schemas.microsoft.com/office/drawing/2014/main" id="{9CC07F7E-5214-41C3-9BCF-8396AA65480D}"/>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8DF6B25F-DA03-4ACA-A5CA-270D5849E509}"/>
                  </a:ext>
                </a:extLst>
              </p:cNvPr>
              <p:cNvCxnSpPr>
                <a:cxnSpLocks/>
                <a:stCxn id="21"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97" name="TextBox 6">
            <a:extLst>
              <a:ext uri="{FF2B5EF4-FFF2-40B4-BE49-F238E27FC236}">
                <a16:creationId xmlns:a16="http://schemas.microsoft.com/office/drawing/2014/main" id="{C50E6DEC-D0ED-49D7-AB64-F29269AF5534}"/>
              </a:ext>
            </a:extLst>
          </p:cNvPr>
          <p:cNvSpPr txBox="1"/>
          <p:nvPr/>
        </p:nvSpPr>
        <p:spPr>
          <a:xfrm>
            <a:off x="2321887" y="4273372"/>
            <a:ext cx="1646921" cy="282792"/>
          </a:xfrm>
          <a:prstGeom prst="rect">
            <a:avLst/>
          </a:prstGeom>
          <a:noFill/>
        </p:spPr>
        <p:txBody>
          <a:bodyPr wrap="square" lIns="0" tIns="0" rIns="0" bIns="0" rtlCol="0" anchor="ctr">
            <a:noAutofit/>
          </a:bodyPr>
          <a:lstStyle/>
          <a:p>
            <a:pPr algn="ctr">
              <a:spcAft>
                <a:spcPts val="600"/>
              </a:spcAft>
            </a:pPr>
            <a:r>
              <a:rPr lang="en-IN" sz="2000"/>
              <a:t>Goal-oriented</a:t>
            </a:r>
          </a:p>
        </p:txBody>
      </p:sp>
      <p:sp>
        <p:nvSpPr>
          <p:cNvPr id="98" name="TextBox 6">
            <a:extLst>
              <a:ext uri="{FF2B5EF4-FFF2-40B4-BE49-F238E27FC236}">
                <a16:creationId xmlns:a16="http://schemas.microsoft.com/office/drawing/2014/main" id="{FDB32CB2-692A-4B88-B5C0-5A954469889E}"/>
              </a:ext>
            </a:extLst>
          </p:cNvPr>
          <p:cNvSpPr txBox="1"/>
          <p:nvPr/>
        </p:nvSpPr>
        <p:spPr>
          <a:xfrm>
            <a:off x="4540424" y="4273372"/>
            <a:ext cx="1102646" cy="282792"/>
          </a:xfrm>
          <a:prstGeom prst="rect">
            <a:avLst/>
          </a:prstGeom>
          <a:noFill/>
        </p:spPr>
        <p:txBody>
          <a:bodyPr wrap="square" lIns="0" tIns="0" rIns="0" bIns="0" rtlCol="0" anchor="ctr">
            <a:noAutofit/>
          </a:bodyPr>
          <a:lstStyle/>
          <a:p>
            <a:pPr algn="ctr">
              <a:spcAft>
                <a:spcPts val="600"/>
              </a:spcAft>
            </a:pPr>
            <a:r>
              <a:rPr lang="en-IN" sz="2000"/>
              <a:t>Fast</a:t>
            </a:r>
          </a:p>
        </p:txBody>
      </p:sp>
      <p:sp>
        <p:nvSpPr>
          <p:cNvPr id="99" name="TextBox 6">
            <a:extLst>
              <a:ext uri="{FF2B5EF4-FFF2-40B4-BE49-F238E27FC236}">
                <a16:creationId xmlns:a16="http://schemas.microsoft.com/office/drawing/2014/main" id="{2CDC936B-65DD-4117-BC7A-89EB4CE9389C}"/>
              </a:ext>
            </a:extLst>
          </p:cNvPr>
          <p:cNvSpPr txBox="1"/>
          <p:nvPr/>
        </p:nvSpPr>
        <p:spPr>
          <a:xfrm>
            <a:off x="6397859" y="4273372"/>
            <a:ext cx="1340579" cy="282792"/>
          </a:xfrm>
          <a:prstGeom prst="rect">
            <a:avLst/>
          </a:prstGeom>
          <a:noFill/>
        </p:spPr>
        <p:txBody>
          <a:bodyPr wrap="square" lIns="0" tIns="0" rIns="0" bIns="0" rtlCol="0" anchor="ctr">
            <a:noAutofit/>
          </a:bodyPr>
          <a:lstStyle/>
          <a:p>
            <a:pPr algn="ctr">
              <a:spcAft>
                <a:spcPts val="600"/>
              </a:spcAft>
            </a:pPr>
            <a:r>
              <a:rPr lang="en-IN" sz="2000"/>
              <a:t>Turn-based</a:t>
            </a:r>
          </a:p>
        </p:txBody>
      </p:sp>
      <p:sp>
        <p:nvSpPr>
          <p:cNvPr id="100" name="TextBox 6">
            <a:extLst>
              <a:ext uri="{FF2B5EF4-FFF2-40B4-BE49-F238E27FC236}">
                <a16:creationId xmlns:a16="http://schemas.microsoft.com/office/drawing/2014/main" id="{B187C5F6-6644-4DBE-89E7-FFF1C561545E}"/>
              </a:ext>
            </a:extLst>
          </p:cNvPr>
          <p:cNvSpPr txBox="1"/>
          <p:nvPr/>
        </p:nvSpPr>
        <p:spPr>
          <a:xfrm>
            <a:off x="8461124" y="4273372"/>
            <a:ext cx="1102646" cy="282792"/>
          </a:xfrm>
          <a:prstGeom prst="rect">
            <a:avLst/>
          </a:prstGeom>
          <a:noFill/>
        </p:spPr>
        <p:txBody>
          <a:bodyPr wrap="square" lIns="0" tIns="0" rIns="0" bIns="0" rtlCol="0" anchor="ctr">
            <a:noAutofit/>
          </a:bodyPr>
          <a:lstStyle/>
          <a:p>
            <a:pPr algn="ctr">
              <a:spcAft>
                <a:spcPts val="600"/>
              </a:spcAft>
            </a:pPr>
            <a:r>
              <a:rPr lang="en-IN" sz="2000"/>
              <a:t>Truthful</a:t>
            </a:r>
          </a:p>
        </p:txBody>
      </p:sp>
      <p:sp>
        <p:nvSpPr>
          <p:cNvPr id="101" name="TextBox 6">
            <a:extLst>
              <a:ext uri="{FF2B5EF4-FFF2-40B4-BE49-F238E27FC236}">
                <a16:creationId xmlns:a16="http://schemas.microsoft.com/office/drawing/2014/main" id="{26A8DD1C-347F-45B8-A9AA-3A7A06B0E8A6}"/>
              </a:ext>
            </a:extLst>
          </p:cNvPr>
          <p:cNvSpPr txBox="1"/>
          <p:nvPr/>
        </p:nvSpPr>
        <p:spPr>
          <a:xfrm>
            <a:off x="10405422" y="4273372"/>
            <a:ext cx="1102646" cy="282792"/>
          </a:xfrm>
          <a:prstGeom prst="rect">
            <a:avLst/>
          </a:prstGeom>
          <a:noFill/>
        </p:spPr>
        <p:txBody>
          <a:bodyPr wrap="square" lIns="0" tIns="0" rIns="0" bIns="0" rtlCol="0" anchor="ctr">
            <a:noAutofit/>
          </a:bodyPr>
          <a:lstStyle/>
          <a:p>
            <a:pPr algn="ctr">
              <a:spcAft>
                <a:spcPts val="600"/>
              </a:spcAft>
            </a:pPr>
            <a:r>
              <a:rPr lang="en-IN" sz="2000"/>
              <a:t>Polite </a:t>
            </a:r>
          </a:p>
        </p:txBody>
      </p:sp>
      <p:grpSp>
        <p:nvGrpSpPr>
          <p:cNvPr id="107" name="Group 106">
            <a:extLst>
              <a:ext uri="{FF2B5EF4-FFF2-40B4-BE49-F238E27FC236}">
                <a16:creationId xmlns:a16="http://schemas.microsoft.com/office/drawing/2014/main" id="{BC9EE753-B3E1-4B40-8276-EE13843B2089}"/>
              </a:ext>
            </a:extLst>
          </p:cNvPr>
          <p:cNvGrpSpPr/>
          <p:nvPr/>
        </p:nvGrpSpPr>
        <p:grpSpPr>
          <a:xfrm>
            <a:off x="2675930" y="2531428"/>
            <a:ext cx="1007246" cy="1492311"/>
            <a:chOff x="2566036" y="2157352"/>
            <a:chExt cx="1007246" cy="1492311"/>
          </a:xfrm>
        </p:grpSpPr>
        <p:sp>
          <p:nvSpPr>
            <p:cNvPr id="28" name="Oval 39">
              <a:extLst>
                <a:ext uri="{FF2B5EF4-FFF2-40B4-BE49-F238E27FC236}">
                  <a16:creationId xmlns:a16="http://schemas.microsoft.com/office/drawing/2014/main" id="{43AECA95-175A-4D27-8A31-82FC87F3FC85}"/>
                </a:ext>
              </a:extLst>
            </p:cNvPr>
            <p:cNvSpPr/>
            <p:nvPr/>
          </p:nvSpPr>
          <p:spPr bwMode="auto">
            <a:xfrm>
              <a:off x="2610004" y="2269748"/>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a:extLst>
                <a:ext uri="{FF2B5EF4-FFF2-40B4-BE49-F238E27FC236}">
                  <a16:creationId xmlns:a16="http://schemas.microsoft.com/office/drawing/2014/main" id="{C4016E2E-CB70-4F71-B758-D9A78CC3F5F9}"/>
                </a:ext>
              </a:extLst>
            </p:cNvPr>
            <p:cNvGrpSpPr/>
            <p:nvPr/>
          </p:nvGrpSpPr>
          <p:grpSpPr>
            <a:xfrm>
              <a:off x="2566036" y="2157352"/>
              <a:ext cx="1007246" cy="1492311"/>
              <a:chOff x="2998563" y="3863657"/>
              <a:chExt cx="1007246" cy="1492311"/>
            </a:xfrm>
          </p:grpSpPr>
          <p:sp>
            <p:nvSpPr>
              <p:cNvPr id="31" name="Partial Circle 20">
                <a:extLst>
                  <a:ext uri="{FF2B5EF4-FFF2-40B4-BE49-F238E27FC236}">
                    <a16:creationId xmlns:a16="http://schemas.microsoft.com/office/drawing/2014/main" id="{F5A5989E-E674-46E0-B37D-1174A2C84B68}"/>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F7D934EB-65C0-4029-A61F-21DE1E6C5949}"/>
                  </a:ext>
                </a:extLst>
              </p:cNvPr>
              <p:cNvCxnSpPr>
                <a:cxnSpLocks/>
                <a:stCxn id="31"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nvGrpSpPr>
            <p:cNvPr id="102" name="Graphic 98">
              <a:extLst>
                <a:ext uri="{FF2B5EF4-FFF2-40B4-BE49-F238E27FC236}">
                  <a16:creationId xmlns:a16="http://schemas.microsoft.com/office/drawing/2014/main" id="{9D0A9113-0813-4F2C-BCC4-9AB6D17B7003}"/>
                </a:ext>
              </a:extLst>
            </p:cNvPr>
            <p:cNvGrpSpPr/>
            <p:nvPr/>
          </p:nvGrpSpPr>
          <p:grpSpPr>
            <a:xfrm>
              <a:off x="2736613" y="2400677"/>
              <a:ext cx="597683" cy="589043"/>
              <a:chOff x="7813657" y="5433495"/>
              <a:chExt cx="686255" cy="676336"/>
            </a:xfrm>
          </p:grpSpPr>
          <p:sp>
            <p:nvSpPr>
              <p:cNvPr id="103" name="Freeform: Shape 102">
                <a:extLst>
                  <a:ext uri="{FF2B5EF4-FFF2-40B4-BE49-F238E27FC236}">
                    <a16:creationId xmlns:a16="http://schemas.microsoft.com/office/drawing/2014/main" id="{9D55AB73-96DF-4914-8CB8-44940BBB4BD6}"/>
                  </a:ext>
                </a:extLst>
              </p:cNvPr>
              <p:cNvSpPr/>
              <p:nvPr/>
            </p:nvSpPr>
            <p:spPr>
              <a:xfrm>
                <a:off x="7974312" y="5732987"/>
                <a:ext cx="218173" cy="218173"/>
              </a:xfrm>
              <a:custGeom>
                <a:avLst/>
                <a:gdLst>
                  <a:gd name="connsiteX0" fmla="*/ 139767 w 218173"/>
                  <a:gd name="connsiteY0" fmla="*/ 131833 h 218172"/>
                  <a:gd name="connsiteX1" fmla="*/ 115967 w 218173"/>
                  <a:gd name="connsiteY1" fmla="*/ 141750 h 218172"/>
                  <a:gd name="connsiteX2" fmla="*/ 92166 w 218173"/>
                  <a:gd name="connsiteY2" fmla="*/ 131833 h 218172"/>
                  <a:gd name="connsiteX3" fmla="*/ 92166 w 218173"/>
                  <a:gd name="connsiteY3" fmla="*/ 86215 h 218172"/>
                  <a:gd name="connsiteX4" fmla="*/ 141751 w 218173"/>
                  <a:gd name="connsiteY4" fmla="*/ 36631 h 218172"/>
                  <a:gd name="connsiteX5" fmla="*/ 113983 w 218173"/>
                  <a:gd name="connsiteY5" fmla="*/ 30681 h 218172"/>
                  <a:gd name="connsiteX6" fmla="*/ 30681 w 218173"/>
                  <a:gd name="connsiteY6" fmla="*/ 111999 h 218172"/>
                  <a:gd name="connsiteX7" fmla="*/ 113983 w 218173"/>
                  <a:gd name="connsiteY7" fmla="*/ 193318 h 218172"/>
                  <a:gd name="connsiteX8" fmla="*/ 197286 w 218173"/>
                  <a:gd name="connsiteY8" fmla="*/ 111999 h 218172"/>
                  <a:gd name="connsiteX9" fmla="*/ 191336 w 218173"/>
                  <a:gd name="connsiteY9" fmla="*/ 80265 h 218172"/>
                  <a:gd name="connsiteX10" fmla="*/ 139767 w 218173"/>
                  <a:gd name="connsiteY10" fmla="*/ 131833 h 218172"/>
                  <a:gd name="connsiteX11" fmla="*/ 139767 w 218173"/>
                  <a:gd name="connsiteY11" fmla="*/ 131833 h 218172"/>
                  <a:gd name="connsiteX12" fmla="*/ 139767 w 218173"/>
                  <a:gd name="connsiteY12" fmla="*/ 131833 h 21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173" h="218172">
                    <a:moveTo>
                      <a:pt x="139767" y="131833"/>
                    </a:moveTo>
                    <a:cubicBezTo>
                      <a:pt x="133817" y="137783"/>
                      <a:pt x="125884" y="141750"/>
                      <a:pt x="115967" y="141750"/>
                    </a:cubicBezTo>
                    <a:cubicBezTo>
                      <a:pt x="108033" y="141750"/>
                      <a:pt x="98116" y="137783"/>
                      <a:pt x="92166" y="131833"/>
                    </a:cubicBezTo>
                    <a:cubicBezTo>
                      <a:pt x="80265" y="119933"/>
                      <a:pt x="80265" y="98116"/>
                      <a:pt x="92166" y="86215"/>
                    </a:cubicBezTo>
                    <a:lnTo>
                      <a:pt x="141751" y="36631"/>
                    </a:lnTo>
                    <a:cubicBezTo>
                      <a:pt x="133817" y="32664"/>
                      <a:pt x="123900" y="30681"/>
                      <a:pt x="113983" y="30681"/>
                    </a:cubicBezTo>
                    <a:cubicBezTo>
                      <a:pt x="68365" y="30681"/>
                      <a:pt x="30681" y="66381"/>
                      <a:pt x="30681" y="111999"/>
                    </a:cubicBezTo>
                    <a:cubicBezTo>
                      <a:pt x="30681" y="157617"/>
                      <a:pt x="68365" y="193318"/>
                      <a:pt x="113983" y="193318"/>
                    </a:cubicBezTo>
                    <a:cubicBezTo>
                      <a:pt x="159601" y="193318"/>
                      <a:pt x="197286" y="157617"/>
                      <a:pt x="197286" y="111999"/>
                    </a:cubicBezTo>
                    <a:cubicBezTo>
                      <a:pt x="197286" y="100099"/>
                      <a:pt x="195302" y="90182"/>
                      <a:pt x="191336" y="80265"/>
                    </a:cubicBezTo>
                    <a:lnTo>
                      <a:pt x="139767" y="131833"/>
                    </a:lnTo>
                    <a:lnTo>
                      <a:pt x="139767" y="131833"/>
                    </a:lnTo>
                    <a:lnTo>
                      <a:pt x="139767" y="131833"/>
                    </a:lnTo>
                    <a:close/>
                  </a:path>
                </a:pathLst>
              </a:custGeom>
              <a:solidFill>
                <a:sysClr val="window" lastClr="FFFFFF"/>
              </a:solidFill>
              <a:ln w="196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0E006CE-95EF-4953-A4C5-90B15AD47DE9}"/>
                  </a:ext>
                </a:extLst>
              </p:cNvPr>
              <p:cNvSpPr/>
              <p:nvPr/>
            </p:nvSpPr>
            <p:spPr>
              <a:xfrm>
                <a:off x="8043731" y="5433495"/>
                <a:ext cx="456181" cy="436345"/>
              </a:xfrm>
              <a:custGeom>
                <a:avLst/>
                <a:gdLst>
                  <a:gd name="connsiteX0" fmla="*/ 326206 w 456180"/>
                  <a:gd name="connsiteY0" fmla="*/ 30681 h 436345"/>
                  <a:gd name="connsiteX1" fmla="*/ 240920 w 456180"/>
                  <a:gd name="connsiteY1" fmla="*/ 113983 h 436345"/>
                  <a:gd name="connsiteX2" fmla="*/ 254804 w 456180"/>
                  <a:gd name="connsiteY2" fmla="*/ 179435 h 436345"/>
                  <a:gd name="connsiteX3" fmla="*/ 36631 w 456180"/>
                  <a:gd name="connsiteY3" fmla="*/ 393640 h 436345"/>
                  <a:gd name="connsiteX4" fmla="*/ 36631 w 456180"/>
                  <a:gd name="connsiteY4" fmla="*/ 419424 h 436345"/>
                  <a:gd name="connsiteX5" fmla="*/ 62415 w 456180"/>
                  <a:gd name="connsiteY5" fmla="*/ 419424 h 436345"/>
                  <a:gd name="connsiteX6" fmla="*/ 280588 w 456180"/>
                  <a:gd name="connsiteY6" fmla="*/ 205219 h 436345"/>
                  <a:gd name="connsiteX7" fmla="*/ 348024 w 456180"/>
                  <a:gd name="connsiteY7" fmla="*/ 219102 h 436345"/>
                  <a:gd name="connsiteX8" fmla="*/ 433310 w 456180"/>
                  <a:gd name="connsiteY8" fmla="*/ 133817 h 436345"/>
                  <a:gd name="connsiteX9" fmla="*/ 346040 w 456180"/>
                  <a:gd name="connsiteY9" fmla="*/ 115966 h 436345"/>
                  <a:gd name="connsiteX10" fmla="*/ 326206 w 456180"/>
                  <a:gd name="connsiteY10" fmla="*/ 30681 h 436345"/>
                  <a:gd name="connsiteX11" fmla="*/ 326206 w 456180"/>
                  <a:gd name="connsiteY11" fmla="*/ 30681 h 436345"/>
                  <a:gd name="connsiteX12" fmla="*/ 326206 w 456180"/>
                  <a:gd name="connsiteY12" fmla="*/ 30681 h 43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180" h="436345">
                    <a:moveTo>
                      <a:pt x="326206" y="30681"/>
                    </a:moveTo>
                    <a:lnTo>
                      <a:pt x="240920" y="113983"/>
                    </a:lnTo>
                    <a:lnTo>
                      <a:pt x="254804" y="179435"/>
                    </a:lnTo>
                    <a:lnTo>
                      <a:pt x="36631" y="393640"/>
                    </a:lnTo>
                    <a:cubicBezTo>
                      <a:pt x="28697" y="399591"/>
                      <a:pt x="28697" y="411491"/>
                      <a:pt x="36631" y="419424"/>
                    </a:cubicBezTo>
                    <a:cubicBezTo>
                      <a:pt x="44564" y="425375"/>
                      <a:pt x="54481" y="425375"/>
                      <a:pt x="62415" y="419424"/>
                    </a:cubicBezTo>
                    <a:lnTo>
                      <a:pt x="280588" y="205219"/>
                    </a:lnTo>
                    <a:lnTo>
                      <a:pt x="348024" y="219102"/>
                    </a:lnTo>
                    <a:lnTo>
                      <a:pt x="433310" y="133817"/>
                    </a:lnTo>
                    <a:lnTo>
                      <a:pt x="346040" y="115966"/>
                    </a:lnTo>
                    <a:lnTo>
                      <a:pt x="326206" y="30681"/>
                    </a:lnTo>
                    <a:lnTo>
                      <a:pt x="326206" y="30681"/>
                    </a:lnTo>
                    <a:lnTo>
                      <a:pt x="326206" y="30681"/>
                    </a:lnTo>
                    <a:close/>
                  </a:path>
                </a:pathLst>
              </a:custGeom>
              <a:solidFill>
                <a:srgbClr val="30E5D0"/>
              </a:solidFill>
              <a:ln w="196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B78AB7A9-1C52-4005-882D-36833BDE016F}"/>
                  </a:ext>
                </a:extLst>
              </p:cNvPr>
              <p:cNvSpPr/>
              <p:nvPr/>
            </p:nvSpPr>
            <p:spPr>
              <a:xfrm>
                <a:off x="7813657" y="5574316"/>
                <a:ext cx="535516" cy="535515"/>
              </a:xfrm>
              <a:custGeom>
                <a:avLst/>
                <a:gdLst>
                  <a:gd name="connsiteX0" fmla="*/ 276621 w 535516"/>
                  <a:gd name="connsiteY0" fmla="*/ 30681 h 535514"/>
                  <a:gd name="connsiteX1" fmla="*/ 30681 w 535516"/>
                  <a:gd name="connsiteY1" fmla="*/ 270670 h 535514"/>
                  <a:gd name="connsiteX2" fmla="*/ 276621 w 535516"/>
                  <a:gd name="connsiteY2" fmla="*/ 512644 h 535514"/>
                  <a:gd name="connsiteX3" fmla="*/ 522562 w 535516"/>
                  <a:gd name="connsiteY3" fmla="*/ 270670 h 535514"/>
                  <a:gd name="connsiteX4" fmla="*/ 470994 w 535516"/>
                  <a:gd name="connsiteY4" fmla="*/ 121916 h 535514"/>
                  <a:gd name="connsiteX5" fmla="*/ 443227 w 535516"/>
                  <a:gd name="connsiteY5" fmla="*/ 149684 h 535514"/>
                  <a:gd name="connsiteX6" fmla="*/ 484878 w 535516"/>
                  <a:gd name="connsiteY6" fmla="*/ 270670 h 535514"/>
                  <a:gd name="connsiteX7" fmla="*/ 276621 w 535516"/>
                  <a:gd name="connsiteY7" fmla="*/ 474959 h 535514"/>
                  <a:gd name="connsiteX8" fmla="*/ 68365 w 535516"/>
                  <a:gd name="connsiteY8" fmla="*/ 270670 h 535514"/>
                  <a:gd name="connsiteX9" fmla="*/ 276621 w 535516"/>
                  <a:gd name="connsiteY9" fmla="*/ 66381 h 535514"/>
                  <a:gd name="connsiteX10" fmla="*/ 397608 w 535516"/>
                  <a:gd name="connsiteY10" fmla="*/ 104066 h 535514"/>
                  <a:gd name="connsiteX11" fmla="*/ 425376 w 535516"/>
                  <a:gd name="connsiteY11" fmla="*/ 76298 h 535514"/>
                  <a:gd name="connsiteX12" fmla="*/ 276621 w 535516"/>
                  <a:gd name="connsiteY12" fmla="*/ 30681 h 535514"/>
                  <a:gd name="connsiteX13" fmla="*/ 276621 w 535516"/>
                  <a:gd name="connsiteY13" fmla="*/ 30681 h 53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5516" h="535514">
                    <a:moveTo>
                      <a:pt x="276621" y="30681"/>
                    </a:moveTo>
                    <a:cubicBezTo>
                      <a:pt x="141751" y="30681"/>
                      <a:pt x="30681" y="137783"/>
                      <a:pt x="30681" y="270670"/>
                    </a:cubicBezTo>
                    <a:cubicBezTo>
                      <a:pt x="30681" y="403557"/>
                      <a:pt x="141751" y="512644"/>
                      <a:pt x="276621" y="512644"/>
                    </a:cubicBezTo>
                    <a:cubicBezTo>
                      <a:pt x="413476" y="512644"/>
                      <a:pt x="522562" y="405541"/>
                      <a:pt x="522562" y="270670"/>
                    </a:cubicBezTo>
                    <a:cubicBezTo>
                      <a:pt x="522562" y="215136"/>
                      <a:pt x="502728" y="163567"/>
                      <a:pt x="470994" y="121916"/>
                    </a:cubicBezTo>
                    <a:lnTo>
                      <a:pt x="443227" y="149684"/>
                    </a:lnTo>
                    <a:cubicBezTo>
                      <a:pt x="469011" y="183401"/>
                      <a:pt x="484878" y="225052"/>
                      <a:pt x="484878" y="270670"/>
                    </a:cubicBezTo>
                    <a:cubicBezTo>
                      <a:pt x="484878" y="383723"/>
                      <a:pt x="391658" y="474959"/>
                      <a:pt x="276621" y="474959"/>
                    </a:cubicBezTo>
                    <a:cubicBezTo>
                      <a:pt x="161585" y="474959"/>
                      <a:pt x="68365" y="383723"/>
                      <a:pt x="68365" y="270670"/>
                    </a:cubicBezTo>
                    <a:cubicBezTo>
                      <a:pt x="68365" y="157617"/>
                      <a:pt x="161585" y="66381"/>
                      <a:pt x="276621" y="66381"/>
                    </a:cubicBezTo>
                    <a:cubicBezTo>
                      <a:pt x="322240" y="66381"/>
                      <a:pt x="361907" y="80265"/>
                      <a:pt x="397608" y="104066"/>
                    </a:cubicBezTo>
                    <a:lnTo>
                      <a:pt x="425376" y="76298"/>
                    </a:lnTo>
                    <a:cubicBezTo>
                      <a:pt x="383725" y="48531"/>
                      <a:pt x="332156" y="30681"/>
                      <a:pt x="276621" y="30681"/>
                    </a:cubicBezTo>
                    <a:lnTo>
                      <a:pt x="276621" y="30681"/>
                    </a:lnTo>
                    <a:close/>
                  </a:path>
                </a:pathLst>
              </a:custGeom>
              <a:solidFill>
                <a:sysClr val="window" lastClr="FFFFFF"/>
              </a:solidFill>
              <a:ln w="196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DF38B742-FCF6-4BD9-9735-0E1D6654AF8E}"/>
                  </a:ext>
                </a:extLst>
              </p:cNvPr>
              <p:cNvSpPr/>
              <p:nvPr/>
            </p:nvSpPr>
            <p:spPr>
              <a:xfrm>
                <a:off x="7889026" y="5647701"/>
                <a:ext cx="396679" cy="376844"/>
              </a:xfrm>
              <a:custGeom>
                <a:avLst/>
                <a:gdLst>
                  <a:gd name="connsiteX0" fmla="*/ 201252 w 396678"/>
                  <a:gd name="connsiteY0" fmla="*/ 30681 h 376843"/>
                  <a:gd name="connsiteX1" fmla="*/ 30681 w 396678"/>
                  <a:gd name="connsiteY1" fmla="*/ 197285 h 376843"/>
                  <a:gd name="connsiteX2" fmla="*/ 201252 w 396678"/>
                  <a:gd name="connsiteY2" fmla="*/ 363890 h 376843"/>
                  <a:gd name="connsiteX3" fmla="*/ 371824 w 396678"/>
                  <a:gd name="connsiteY3" fmla="*/ 197285 h 376843"/>
                  <a:gd name="connsiteX4" fmla="*/ 342073 w 396678"/>
                  <a:gd name="connsiteY4" fmla="*/ 102082 h 376843"/>
                  <a:gd name="connsiteX5" fmla="*/ 312323 w 396678"/>
                  <a:gd name="connsiteY5" fmla="*/ 129850 h 376843"/>
                  <a:gd name="connsiteX6" fmla="*/ 332156 w 396678"/>
                  <a:gd name="connsiteY6" fmla="*/ 197285 h 376843"/>
                  <a:gd name="connsiteX7" fmla="*/ 201252 w 396678"/>
                  <a:gd name="connsiteY7" fmla="*/ 326205 h 376843"/>
                  <a:gd name="connsiteX8" fmla="*/ 70349 w 396678"/>
                  <a:gd name="connsiteY8" fmla="*/ 197285 h 376843"/>
                  <a:gd name="connsiteX9" fmla="*/ 201252 w 396678"/>
                  <a:gd name="connsiteY9" fmla="*/ 68365 h 376843"/>
                  <a:gd name="connsiteX10" fmla="*/ 266704 w 396678"/>
                  <a:gd name="connsiteY10" fmla="*/ 86215 h 376843"/>
                  <a:gd name="connsiteX11" fmla="*/ 294472 w 396678"/>
                  <a:gd name="connsiteY11" fmla="*/ 58448 h 376843"/>
                  <a:gd name="connsiteX12" fmla="*/ 201252 w 396678"/>
                  <a:gd name="connsiteY12" fmla="*/ 30681 h 376843"/>
                  <a:gd name="connsiteX13" fmla="*/ 201252 w 396678"/>
                  <a:gd name="connsiteY13" fmla="*/ 30681 h 37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678" h="376843">
                    <a:moveTo>
                      <a:pt x="201252" y="30681"/>
                    </a:moveTo>
                    <a:cubicBezTo>
                      <a:pt x="108033" y="30681"/>
                      <a:pt x="30681" y="106049"/>
                      <a:pt x="30681" y="197285"/>
                    </a:cubicBezTo>
                    <a:cubicBezTo>
                      <a:pt x="30681" y="288521"/>
                      <a:pt x="106050" y="363890"/>
                      <a:pt x="201252" y="363890"/>
                    </a:cubicBezTo>
                    <a:cubicBezTo>
                      <a:pt x="296455" y="363890"/>
                      <a:pt x="371824" y="288521"/>
                      <a:pt x="371824" y="197285"/>
                    </a:cubicBezTo>
                    <a:cubicBezTo>
                      <a:pt x="371824" y="161584"/>
                      <a:pt x="359924" y="129850"/>
                      <a:pt x="342073" y="102082"/>
                    </a:cubicBezTo>
                    <a:lnTo>
                      <a:pt x="312323" y="129850"/>
                    </a:lnTo>
                    <a:cubicBezTo>
                      <a:pt x="324223" y="149684"/>
                      <a:pt x="332156" y="171501"/>
                      <a:pt x="332156" y="197285"/>
                    </a:cubicBezTo>
                    <a:cubicBezTo>
                      <a:pt x="332156" y="268687"/>
                      <a:pt x="272655" y="326205"/>
                      <a:pt x="201252" y="326205"/>
                    </a:cubicBezTo>
                    <a:cubicBezTo>
                      <a:pt x="127867" y="326205"/>
                      <a:pt x="70349" y="268687"/>
                      <a:pt x="70349" y="197285"/>
                    </a:cubicBezTo>
                    <a:cubicBezTo>
                      <a:pt x="70349" y="125883"/>
                      <a:pt x="129850" y="68365"/>
                      <a:pt x="201252" y="68365"/>
                    </a:cubicBezTo>
                    <a:cubicBezTo>
                      <a:pt x="225053" y="68365"/>
                      <a:pt x="246871" y="74315"/>
                      <a:pt x="266704" y="86215"/>
                    </a:cubicBezTo>
                    <a:lnTo>
                      <a:pt x="294472" y="58448"/>
                    </a:lnTo>
                    <a:cubicBezTo>
                      <a:pt x="268688" y="40597"/>
                      <a:pt x="234970" y="30681"/>
                      <a:pt x="201252" y="30681"/>
                    </a:cubicBezTo>
                    <a:lnTo>
                      <a:pt x="201252" y="30681"/>
                    </a:lnTo>
                    <a:close/>
                  </a:path>
                </a:pathLst>
              </a:custGeom>
              <a:solidFill>
                <a:sysClr val="window" lastClr="FFFFFF"/>
              </a:solidFill>
              <a:ln w="196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01" name="Group 200">
            <a:extLst>
              <a:ext uri="{FF2B5EF4-FFF2-40B4-BE49-F238E27FC236}">
                <a16:creationId xmlns:a16="http://schemas.microsoft.com/office/drawing/2014/main" id="{10222553-DF51-4A08-9FEE-6C4F0183642A}"/>
              </a:ext>
            </a:extLst>
          </p:cNvPr>
          <p:cNvGrpSpPr/>
          <p:nvPr/>
        </p:nvGrpSpPr>
        <p:grpSpPr>
          <a:xfrm>
            <a:off x="10453122" y="2531428"/>
            <a:ext cx="1007246" cy="1492311"/>
            <a:chOff x="10644010" y="2531428"/>
            <a:chExt cx="1007246" cy="1492311"/>
          </a:xfrm>
        </p:grpSpPr>
        <p:sp>
          <p:nvSpPr>
            <p:cNvPr id="84" name="Oval 39">
              <a:extLst>
                <a:ext uri="{FF2B5EF4-FFF2-40B4-BE49-F238E27FC236}">
                  <a16:creationId xmlns:a16="http://schemas.microsoft.com/office/drawing/2014/main" id="{D9844D2D-A77E-477A-9216-351220872907}"/>
                </a:ext>
              </a:extLst>
            </p:cNvPr>
            <p:cNvSpPr/>
            <p:nvPr/>
          </p:nvSpPr>
          <p:spPr bwMode="auto">
            <a:xfrm>
              <a:off x="10698369" y="2643824"/>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a:extLst>
                <a:ext uri="{FF2B5EF4-FFF2-40B4-BE49-F238E27FC236}">
                  <a16:creationId xmlns:a16="http://schemas.microsoft.com/office/drawing/2014/main" id="{0D208FB0-C99A-423B-814E-0E0E38F8F980}"/>
                </a:ext>
              </a:extLst>
            </p:cNvPr>
            <p:cNvGrpSpPr/>
            <p:nvPr/>
          </p:nvGrpSpPr>
          <p:grpSpPr>
            <a:xfrm>
              <a:off x="10644010" y="2531428"/>
              <a:ext cx="1007246" cy="1492311"/>
              <a:chOff x="2998563" y="3863657"/>
              <a:chExt cx="1007246" cy="1492311"/>
            </a:xfrm>
          </p:grpSpPr>
          <p:sp>
            <p:nvSpPr>
              <p:cNvPr id="87" name="Partial Circle 20">
                <a:extLst>
                  <a:ext uri="{FF2B5EF4-FFF2-40B4-BE49-F238E27FC236}">
                    <a16:creationId xmlns:a16="http://schemas.microsoft.com/office/drawing/2014/main" id="{4810504A-4FF3-4313-9507-D4CC9C597D16}"/>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618FFDB6-5E52-45EE-BEDF-0D1626C7F36E}"/>
                  </a:ext>
                </a:extLst>
              </p:cNvPr>
              <p:cNvCxnSpPr>
                <a:cxnSpLocks/>
                <a:stCxn id="87"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nvGrpSpPr>
            <p:cNvPr id="193" name="Group 192">
              <a:extLst>
                <a:ext uri="{FF2B5EF4-FFF2-40B4-BE49-F238E27FC236}">
                  <a16:creationId xmlns:a16="http://schemas.microsoft.com/office/drawing/2014/main" id="{417020D8-EAA5-4F3C-97B9-8C3AAC97AA49}"/>
                </a:ext>
              </a:extLst>
            </p:cNvPr>
            <p:cNvGrpSpPr/>
            <p:nvPr/>
          </p:nvGrpSpPr>
          <p:grpSpPr>
            <a:xfrm>
              <a:off x="10869610" y="2778780"/>
              <a:ext cx="508420" cy="580988"/>
              <a:chOff x="10869610" y="2778780"/>
              <a:chExt cx="508420" cy="580988"/>
            </a:xfrm>
          </p:grpSpPr>
          <p:sp>
            <p:nvSpPr>
              <p:cNvPr id="113" name="Oval 112">
                <a:extLst>
                  <a:ext uri="{FF2B5EF4-FFF2-40B4-BE49-F238E27FC236}">
                    <a16:creationId xmlns:a16="http://schemas.microsoft.com/office/drawing/2014/main" id="{DDCF47DE-1CA7-4C65-91B2-D1F82DE94BD8}"/>
                  </a:ext>
                </a:extLst>
              </p:cNvPr>
              <p:cNvSpPr>
                <a:spLocks noChangeArrowheads="1"/>
              </p:cNvSpPr>
              <p:nvPr/>
            </p:nvSpPr>
            <p:spPr bwMode="auto">
              <a:xfrm>
                <a:off x="11047383" y="2968416"/>
                <a:ext cx="162224" cy="162493"/>
              </a:xfrm>
              <a:prstGeom prst="ellipse">
                <a:avLst/>
              </a:prstGeom>
              <a:solidFill>
                <a:srgbClr val="30E5D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sp>
            <p:nvSpPr>
              <p:cNvPr id="114" name="Freeform 11">
                <a:extLst>
                  <a:ext uri="{FF2B5EF4-FFF2-40B4-BE49-F238E27FC236}">
                    <a16:creationId xmlns:a16="http://schemas.microsoft.com/office/drawing/2014/main" id="{13648C28-AB4A-4234-8C08-15852F6D1085}"/>
                  </a:ext>
                </a:extLst>
              </p:cNvPr>
              <p:cNvSpPr>
                <a:spLocks/>
              </p:cNvSpPr>
              <p:nvPr/>
            </p:nvSpPr>
            <p:spPr bwMode="auto">
              <a:xfrm>
                <a:off x="10989073" y="3150042"/>
                <a:ext cx="274581" cy="209726"/>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30E5D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grpSp>
            <p:nvGrpSpPr>
              <p:cNvPr id="115" name="Group 114">
                <a:extLst>
                  <a:ext uri="{FF2B5EF4-FFF2-40B4-BE49-F238E27FC236}">
                    <a16:creationId xmlns:a16="http://schemas.microsoft.com/office/drawing/2014/main" id="{A52DA539-C0E6-4B84-82F1-CC614BF19BBE}"/>
                  </a:ext>
                </a:extLst>
              </p:cNvPr>
              <p:cNvGrpSpPr/>
              <p:nvPr/>
            </p:nvGrpSpPr>
            <p:grpSpPr>
              <a:xfrm>
                <a:off x="10869610" y="3033923"/>
                <a:ext cx="149439" cy="274534"/>
                <a:chOff x="851065" y="755975"/>
                <a:chExt cx="287391" cy="527971"/>
              </a:xfrm>
              <a:solidFill>
                <a:srgbClr val="30E5D0"/>
              </a:solidFill>
            </p:grpSpPr>
            <p:sp>
              <p:nvSpPr>
                <p:cNvPr id="119" name="Oval 118">
                  <a:extLst>
                    <a:ext uri="{FF2B5EF4-FFF2-40B4-BE49-F238E27FC236}">
                      <a16:creationId xmlns:a16="http://schemas.microsoft.com/office/drawing/2014/main" id="{E7EFB422-A786-40C3-A667-83CF78963A2D}"/>
                    </a:ext>
                  </a:extLst>
                </p:cNvPr>
                <p:cNvSpPr>
                  <a:spLocks noChangeArrowheads="1"/>
                </p:cNvSpPr>
                <p:nvPr/>
              </p:nvSpPr>
              <p:spPr bwMode="auto">
                <a:xfrm>
                  <a:off x="930895" y="755975"/>
                  <a:ext cx="194496" cy="195585"/>
                </a:xfrm>
                <a:prstGeom prst="ellipse">
                  <a:avLst/>
                </a:prstGeom>
                <a:solidFill>
                  <a:schemeClr val="accent3"/>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sp>
              <p:nvSpPr>
                <p:cNvPr id="120" name="Freeform 7">
                  <a:extLst>
                    <a:ext uri="{FF2B5EF4-FFF2-40B4-BE49-F238E27FC236}">
                      <a16:creationId xmlns:a16="http://schemas.microsoft.com/office/drawing/2014/main" id="{4C7E9ECB-B6E7-4F76-9369-A08978960CD9}"/>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accent3"/>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grpSp>
          <p:grpSp>
            <p:nvGrpSpPr>
              <p:cNvPr id="116" name="Group 115">
                <a:extLst>
                  <a:ext uri="{FF2B5EF4-FFF2-40B4-BE49-F238E27FC236}">
                    <a16:creationId xmlns:a16="http://schemas.microsoft.com/office/drawing/2014/main" id="{B9A5ED58-1316-4E88-9756-F21D7F285AD5}"/>
                  </a:ext>
                </a:extLst>
              </p:cNvPr>
              <p:cNvGrpSpPr/>
              <p:nvPr/>
            </p:nvGrpSpPr>
            <p:grpSpPr>
              <a:xfrm flipH="1">
                <a:off x="11228591" y="3033923"/>
                <a:ext cx="149439" cy="274534"/>
                <a:chOff x="851065" y="755975"/>
                <a:chExt cx="287391" cy="527971"/>
              </a:xfrm>
              <a:solidFill>
                <a:srgbClr val="30E5D0"/>
              </a:solidFill>
            </p:grpSpPr>
            <p:sp>
              <p:nvSpPr>
                <p:cNvPr id="117" name="Oval 116">
                  <a:extLst>
                    <a:ext uri="{FF2B5EF4-FFF2-40B4-BE49-F238E27FC236}">
                      <a16:creationId xmlns:a16="http://schemas.microsoft.com/office/drawing/2014/main" id="{9D27102E-86B6-4434-9981-60821D022172}"/>
                    </a:ext>
                  </a:extLst>
                </p:cNvPr>
                <p:cNvSpPr>
                  <a:spLocks noChangeArrowheads="1"/>
                </p:cNvSpPr>
                <p:nvPr/>
              </p:nvSpPr>
              <p:spPr bwMode="auto">
                <a:xfrm>
                  <a:off x="930895" y="755975"/>
                  <a:ext cx="194496" cy="195585"/>
                </a:xfrm>
                <a:prstGeom prst="ellipse">
                  <a:avLst/>
                </a:prstGeom>
                <a:solidFill>
                  <a:schemeClr val="accent3"/>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sp>
              <p:nvSpPr>
                <p:cNvPr id="118" name="Freeform 7">
                  <a:extLst>
                    <a:ext uri="{FF2B5EF4-FFF2-40B4-BE49-F238E27FC236}">
                      <a16:creationId xmlns:a16="http://schemas.microsoft.com/office/drawing/2014/main" id="{066E1794-FE67-485F-874B-C218AE2EEB5E}"/>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accent3"/>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grpSp>
          <p:sp>
            <p:nvSpPr>
              <p:cNvPr id="112" name="Heart 111">
                <a:extLst>
                  <a:ext uri="{FF2B5EF4-FFF2-40B4-BE49-F238E27FC236}">
                    <a16:creationId xmlns:a16="http://schemas.microsoft.com/office/drawing/2014/main" id="{E8C5C860-66B7-490F-AA62-CF213946A2BF}"/>
                  </a:ext>
                </a:extLst>
              </p:cNvPr>
              <p:cNvSpPr/>
              <p:nvPr/>
            </p:nvSpPr>
            <p:spPr bwMode="auto">
              <a:xfrm>
                <a:off x="11024065" y="2778780"/>
                <a:ext cx="199511" cy="166831"/>
              </a:xfrm>
              <a:prstGeom prst="hear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0" name="Group 199">
            <a:extLst>
              <a:ext uri="{FF2B5EF4-FFF2-40B4-BE49-F238E27FC236}">
                <a16:creationId xmlns:a16="http://schemas.microsoft.com/office/drawing/2014/main" id="{B3D124A7-9AAD-4440-B133-04BF234BC408}"/>
              </a:ext>
            </a:extLst>
          </p:cNvPr>
          <p:cNvGrpSpPr/>
          <p:nvPr/>
        </p:nvGrpSpPr>
        <p:grpSpPr>
          <a:xfrm>
            <a:off x="6564526" y="2531428"/>
            <a:ext cx="1007246" cy="1492311"/>
            <a:chOff x="6610218" y="2531428"/>
            <a:chExt cx="1007246" cy="1492311"/>
          </a:xfrm>
        </p:grpSpPr>
        <p:sp>
          <p:nvSpPr>
            <p:cNvPr id="56" name="Oval 39">
              <a:extLst>
                <a:ext uri="{FF2B5EF4-FFF2-40B4-BE49-F238E27FC236}">
                  <a16:creationId xmlns:a16="http://schemas.microsoft.com/office/drawing/2014/main" id="{58169CC7-376C-47B1-AA5E-8207EE3CA56C}"/>
                </a:ext>
              </a:extLst>
            </p:cNvPr>
            <p:cNvSpPr/>
            <p:nvPr/>
          </p:nvSpPr>
          <p:spPr bwMode="auto">
            <a:xfrm>
              <a:off x="6654186" y="2643824"/>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9211526F-8916-4F8C-AEA8-90C5787B5860}"/>
                </a:ext>
              </a:extLst>
            </p:cNvPr>
            <p:cNvGrpSpPr/>
            <p:nvPr/>
          </p:nvGrpSpPr>
          <p:grpSpPr>
            <a:xfrm>
              <a:off x="6610218" y="2531428"/>
              <a:ext cx="1007246" cy="1492311"/>
              <a:chOff x="2998563" y="3863657"/>
              <a:chExt cx="1007246" cy="1492311"/>
            </a:xfrm>
          </p:grpSpPr>
          <p:sp>
            <p:nvSpPr>
              <p:cNvPr id="59" name="Partial Circle 20">
                <a:extLst>
                  <a:ext uri="{FF2B5EF4-FFF2-40B4-BE49-F238E27FC236}">
                    <a16:creationId xmlns:a16="http://schemas.microsoft.com/office/drawing/2014/main" id="{0B486815-0197-4A73-A804-1853FC8D774B}"/>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AD1EFB8-161F-4E77-908B-37A5929F28B5}"/>
                  </a:ext>
                </a:extLst>
              </p:cNvPr>
              <p:cNvCxnSpPr>
                <a:cxnSpLocks/>
                <a:stCxn id="59"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sp>
          <p:nvSpPr>
            <p:cNvPr id="170" name="Freeform: Shape 169">
              <a:extLst>
                <a:ext uri="{FF2B5EF4-FFF2-40B4-BE49-F238E27FC236}">
                  <a16:creationId xmlns:a16="http://schemas.microsoft.com/office/drawing/2014/main" id="{5934764B-A54E-466C-B53E-2431996A7F21}"/>
                </a:ext>
              </a:extLst>
            </p:cNvPr>
            <p:cNvSpPr/>
            <p:nvPr/>
          </p:nvSpPr>
          <p:spPr>
            <a:xfrm>
              <a:off x="6802975" y="2814527"/>
              <a:ext cx="553322" cy="509495"/>
            </a:xfrm>
            <a:custGeom>
              <a:avLst/>
              <a:gdLst>
                <a:gd name="connsiteX0" fmla="*/ 529514 w 962025"/>
                <a:gd name="connsiteY0" fmla="*/ 7334 h 885825"/>
                <a:gd name="connsiteX1" fmla="*/ 526656 w 962025"/>
                <a:gd name="connsiteY1" fmla="*/ 7144 h 885825"/>
                <a:gd name="connsiteX2" fmla="*/ 483794 w 962025"/>
                <a:gd name="connsiteY2" fmla="*/ 52997 h 885825"/>
                <a:gd name="connsiteX3" fmla="*/ 531609 w 962025"/>
                <a:gd name="connsiteY3" fmla="*/ 98765 h 885825"/>
                <a:gd name="connsiteX4" fmla="*/ 531609 w 962025"/>
                <a:gd name="connsiteY4" fmla="*/ 98908 h 885825"/>
                <a:gd name="connsiteX5" fmla="*/ 870871 w 962025"/>
                <a:gd name="connsiteY5" fmla="*/ 445694 h 885825"/>
                <a:gd name="connsiteX6" fmla="*/ 522561 w 962025"/>
                <a:gd name="connsiteY6" fmla="*/ 794766 h 885825"/>
                <a:gd name="connsiteX7" fmla="*/ 175146 w 962025"/>
                <a:gd name="connsiteY7" fmla="*/ 476079 h 885825"/>
                <a:gd name="connsiteX8" fmla="*/ 255680 w 962025"/>
                <a:gd name="connsiteY8" fmla="*/ 476079 h 885825"/>
                <a:gd name="connsiteX9" fmla="*/ 131388 w 962025"/>
                <a:gd name="connsiteY9" fmla="*/ 269453 h 885825"/>
                <a:gd name="connsiteX10" fmla="*/ 7144 w 962025"/>
                <a:gd name="connsiteY10" fmla="*/ 476088 h 885825"/>
                <a:gd name="connsiteX11" fmla="*/ 83344 w 962025"/>
                <a:gd name="connsiteY11" fmla="*/ 476088 h 885825"/>
                <a:gd name="connsiteX12" fmla="*/ 521037 w 962025"/>
                <a:gd name="connsiteY12" fmla="*/ 886397 h 885825"/>
                <a:gd name="connsiteX13" fmla="*/ 959644 w 962025"/>
                <a:gd name="connsiteY13" fmla="*/ 446799 h 885825"/>
                <a:gd name="connsiteX14" fmla="*/ 529514 w 962025"/>
                <a:gd name="connsiteY14" fmla="*/ 7334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2025" h="885825">
                  <a:moveTo>
                    <a:pt x="529514" y="7334"/>
                  </a:moveTo>
                  <a:cubicBezTo>
                    <a:pt x="528561" y="7239"/>
                    <a:pt x="527609" y="7144"/>
                    <a:pt x="526656" y="7144"/>
                  </a:cubicBezTo>
                  <a:cubicBezTo>
                    <a:pt x="501320" y="7144"/>
                    <a:pt x="483794" y="27670"/>
                    <a:pt x="483794" y="52997"/>
                  </a:cubicBezTo>
                  <a:cubicBezTo>
                    <a:pt x="483794" y="77953"/>
                    <a:pt x="493509" y="98241"/>
                    <a:pt x="531609" y="98765"/>
                  </a:cubicBezTo>
                  <a:lnTo>
                    <a:pt x="531609" y="98908"/>
                  </a:lnTo>
                  <a:cubicBezTo>
                    <a:pt x="712575" y="101384"/>
                    <a:pt x="870871" y="255965"/>
                    <a:pt x="870871" y="445694"/>
                  </a:cubicBezTo>
                  <a:cubicBezTo>
                    <a:pt x="870871" y="636946"/>
                    <a:pt x="713813" y="794766"/>
                    <a:pt x="522561" y="794766"/>
                  </a:cubicBezTo>
                  <a:cubicBezTo>
                    <a:pt x="340023" y="794766"/>
                    <a:pt x="188490" y="657035"/>
                    <a:pt x="175146" y="476079"/>
                  </a:cubicBezTo>
                  <a:lnTo>
                    <a:pt x="255680" y="476079"/>
                  </a:lnTo>
                  <a:lnTo>
                    <a:pt x="131388" y="269453"/>
                  </a:lnTo>
                  <a:lnTo>
                    <a:pt x="7144" y="476088"/>
                  </a:lnTo>
                  <a:lnTo>
                    <a:pt x="83344" y="476088"/>
                  </a:lnTo>
                  <a:cubicBezTo>
                    <a:pt x="96812" y="704669"/>
                    <a:pt x="287969" y="886397"/>
                    <a:pt x="521037" y="886397"/>
                  </a:cubicBezTo>
                  <a:cubicBezTo>
                    <a:pt x="762867" y="886397"/>
                    <a:pt x="959644" y="688667"/>
                    <a:pt x="959644" y="446799"/>
                  </a:cubicBezTo>
                  <a:cubicBezTo>
                    <a:pt x="959644" y="207826"/>
                    <a:pt x="767429" y="11859"/>
                    <a:pt x="529514" y="7334"/>
                  </a:cubicBezTo>
                  <a:close/>
                </a:path>
              </a:pathLst>
            </a:custGeom>
            <a:solidFill>
              <a:srgbClr val="30E5D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endParaRPr>
            </a:p>
          </p:txBody>
        </p:sp>
      </p:grpSp>
      <p:grpSp>
        <p:nvGrpSpPr>
          <p:cNvPr id="203" name="Group 202">
            <a:extLst>
              <a:ext uri="{FF2B5EF4-FFF2-40B4-BE49-F238E27FC236}">
                <a16:creationId xmlns:a16="http://schemas.microsoft.com/office/drawing/2014/main" id="{04578737-486E-4F35-9B5C-54CA2CE41A6E}"/>
              </a:ext>
            </a:extLst>
          </p:cNvPr>
          <p:cNvGrpSpPr/>
          <p:nvPr/>
        </p:nvGrpSpPr>
        <p:grpSpPr>
          <a:xfrm>
            <a:off x="8508824" y="2531428"/>
            <a:ext cx="1007246" cy="1492311"/>
            <a:chOff x="8632309" y="2531428"/>
            <a:chExt cx="1007246" cy="1492311"/>
          </a:xfrm>
        </p:grpSpPr>
        <p:sp>
          <p:nvSpPr>
            <p:cNvPr id="70" name="Oval 39">
              <a:extLst>
                <a:ext uri="{FF2B5EF4-FFF2-40B4-BE49-F238E27FC236}">
                  <a16:creationId xmlns:a16="http://schemas.microsoft.com/office/drawing/2014/main" id="{235124C2-23EA-45AB-8DE7-8B18FA6FFC2F}"/>
                </a:ext>
              </a:extLst>
            </p:cNvPr>
            <p:cNvSpPr/>
            <p:nvPr/>
          </p:nvSpPr>
          <p:spPr bwMode="auto">
            <a:xfrm>
              <a:off x="8676277" y="2643824"/>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2" name="Group 71">
              <a:extLst>
                <a:ext uri="{FF2B5EF4-FFF2-40B4-BE49-F238E27FC236}">
                  <a16:creationId xmlns:a16="http://schemas.microsoft.com/office/drawing/2014/main" id="{0B858A0B-39A1-4C44-8951-1D8D5042B830}"/>
                </a:ext>
              </a:extLst>
            </p:cNvPr>
            <p:cNvGrpSpPr/>
            <p:nvPr/>
          </p:nvGrpSpPr>
          <p:grpSpPr>
            <a:xfrm>
              <a:off x="8632309" y="2531428"/>
              <a:ext cx="1007246" cy="1492311"/>
              <a:chOff x="2998563" y="3863657"/>
              <a:chExt cx="1007246" cy="1492311"/>
            </a:xfrm>
          </p:grpSpPr>
          <p:sp>
            <p:nvSpPr>
              <p:cNvPr id="73" name="Partial Circle 20">
                <a:extLst>
                  <a:ext uri="{FF2B5EF4-FFF2-40B4-BE49-F238E27FC236}">
                    <a16:creationId xmlns:a16="http://schemas.microsoft.com/office/drawing/2014/main" id="{C0D3AF62-C59D-4811-AD3D-5DCF567AB363}"/>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CE7D5127-B583-4069-9AE2-D8319A054DC4}"/>
                  </a:ext>
                </a:extLst>
              </p:cNvPr>
              <p:cNvCxnSpPr>
                <a:cxnSpLocks/>
                <a:stCxn id="73"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nvGrpSpPr>
            <p:cNvPr id="192" name="Group 191">
              <a:extLst>
                <a:ext uri="{FF2B5EF4-FFF2-40B4-BE49-F238E27FC236}">
                  <a16:creationId xmlns:a16="http://schemas.microsoft.com/office/drawing/2014/main" id="{C205FD5B-E141-4791-9A3D-DD2023D396B8}"/>
                </a:ext>
              </a:extLst>
            </p:cNvPr>
            <p:cNvGrpSpPr/>
            <p:nvPr/>
          </p:nvGrpSpPr>
          <p:grpSpPr>
            <a:xfrm>
              <a:off x="8926212" y="2819118"/>
              <a:ext cx="351030" cy="500312"/>
              <a:chOff x="8972359" y="2930527"/>
              <a:chExt cx="274581" cy="391352"/>
            </a:xfrm>
          </p:grpSpPr>
          <p:sp>
            <p:nvSpPr>
              <p:cNvPr id="186" name="Oval 185">
                <a:extLst>
                  <a:ext uri="{FF2B5EF4-FFF2-40B4-BE49-F238E27FC236}">
                    <a16:creationId xmlns:a16="http://schemas.microsoft.com/office/drawing/2014/main" id="{B624F9EA-DE7E-4896-8221-B2CEF220AF2C}"/>
                  </a:ext>
                </a:extLst>
              </p:cNvPr>
              <p:cNvSpPr>
                <a:spLocks noChangeArrowheads="1"/>
              </p:cNvSpPr>
              <p:nvPr/>
            </p:nvSpPr>
            <p:spPr bwMode="auto">
              <a:xfrm>
                <a:off x="9030669" y="2930527"/>
                <a:ext cx="162224" cy="162493"/>
              </a:xfrm>
              <a:prstGeom prst="ellipse">
                <a:avLst/>
              </a:prstGeom>
              <a:solidFill>
                <a:schemeClr val="accent3"/>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sp>
            <p:nvSpPr>
              <p:cNvPr id="187" name="Freeform 11">
                <a:extLst>
                  <a:ext uri="{FF2B5EF4-FFF2-40B4-BE49-F238E27FC236}">
                    <a16:creationId xmlns:a16="http://schemas.microsoft.com/office/drawing/2014/main" id="{B9A64B17-6682-4600-9636-CB414CF6F786}"/>
                  </a:ext>
                </a:extLst>
              </p:cNvPr>
              <p:cNvSpPr>
                <a:spLocks/>
              </p:cNvSpPr>
              <p:nvPr/>
            </p:nvSpPr>
            <p:spPr bwMode="auto">
              <a:xfrm>
                <a:off x="8972359" y="3112153"/>
                <a:ext cx="274581" cy="209726"/>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30E5D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a:endParaRPr>
              </a:p>
            </p:txBody>
          </p:sp>
        </p:grpSp>
        <p:sp>
          <p:nvSpPr>
            <p:cNvPr id="196" name="Heart 195">
              <a:extLst>
                <a:ext uri="{FF2B5EF4-FFF2-40B4-BE49-F238E27FC236}">
                  <a16:creationId xmlns:a16="http://schemas.microsoft.com/office/drawing/2014/main" id="{8D802C9C-B747-4168-A487-FF1E4C0FA494}"/>
                </a:ext>
              </a:extLst>
            </p:cNvPr>
            <p:cNvSpPr/>
            <p:nvPr/>
          </p:nvSpPr>
          <p:spPr bwMode="auto">
            <a:xfrm>
              <a:off x="9135932" y="3141474"/>
              <a:ext cx="104992" cy="87794"/>
            </a:xfrm>
            <a:prstGeom prst="hear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009F8ADC-771A-47B4-88B5-82957F9D637F}"/>
              </a:ext>
            </a:extLst>
          </p:cNvPr>
          <p:cNvGrpSpPr/>
          <p:nvPr/>
        </p:nvGrpSpPr>
        <p:grpSpPr>
          <a:xfrm>
            <a:off x="4620228" y="2531428"/>
            <a:ext cx="1007246" cy="1492311"/>
            <a:chOff x="4620228" y="2531428"/>
            <a:chExt cx="1007246" cy="1492311"/>
          </a:xfrm>
        </p:grpSpPr>
        <p:sp>
          <p:nvSpPr>
            <p:cNvPr id="42" name="Oval 39">
              <a:extLst>
                <a:ext uri="{FF2B5EF4-FFF2-40B4-BE49-F238E27FC236}">
                  <a16:creationId xmlns:a16="http://schemas.microsoft.com/office/drawing/2014/main" id="{BA0796E5-CAB5-4919-B8C8-EB80F91A4346}"/>
                </a:ext>
              </a:extLst>
            </p:cNvPr>
            <p:cNvSpPr/>
            <p:nvPr/>
          </p:nvSpPr>
          <p:spPr bwMode="auto">
            <a:xfrm>
              <a:off x="4664196" y="2643824"/>
              <a:ext cx="850900" cy="8509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6BD004F9-AA95-49A0-9ABB-2EA85244B514}"/>
                </a:ext>
              </a:extLst>
            </p:cNvPr>
            <p:cNvGrpSpPr/>
            <p:nvPr/>
          </p:nvGrpSpPr>
          <p:grpSpPr>
            <a:xfrm>
              <a:off x="4620228" y="2531428"/>
              <a:ext cx="1007246" cy="1492311"/>
              <a:chOff x="2998563" y="3863657"/>
              <a:chExt cx="1007246" cy="1492311"/>
            </a:xfrm>
          </p:grpSpPr>
          <p:sp>
            <p:nvSpPr>
              <p:cNvPr id="45" name="Partial Circle 20">
                <a:extLst>
                  <a:ext uri="{FF2B5EF4-FFF2-40B4-BE49-F238E27FC236}">
                    <a16:creationId xmlns:a16="http://schemas.microsoft.com/office/drawing/2014/main" id="{4D2B12DD-F52F-4989-8D28-2328E9B92D02}"/>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76DBB30B-0241-46FD-A8D6-96179FB6AFDA}"/>
                  </a:ext>
                </a:extLst>
              </p:cNvPr>
              <p:cNvCxnSpPr>
                <a:cxnSpLocks/>
                <a:stCxn id="45" idx="3"/>
              </p:cNvCxnSpPr>
              <p:nvPr/>
            </p:nvCxnSpPr>
            <p:spPr>
              <a:xfrm>
                <a:off x="3467983" y="4939281"/>
                <a:ext cx="0" cy="4166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nvGrpSpPr>
            <p:cNvPr id="6" name="Group 5">
              <a:extLst>
                <a:ext uri="{FF2B5EF4-FFF2-40B4-BE49-F238E27FC236}">
                  <a16:creationId xmlns:a16="http://schemas.microsoft.com/office/drawing/2014/main" id="{6139836C-598B-472D-AAFA-82DC2DCBBA03}"/>
                </a:ext>
              </a:extLst>
            </p:cNvPr>
            <p:cNvGrpSpPr/>
            <p:nvPr/>
          </p:nvGrpSpPr>
          <p:grpSpPr>
            <a:xfrm>
              <a:off x="4861479" y="2807643"/>
              <a:ext cx="456334" cy="523262"/>
              <a:chOff x="5647779" y="2919119"/>
              <a:chExt cx="889327" cy="1019761"/>
            </a:xfrm>
          </p:grpSpPr>
          <p:sp>
            <p:nvSpPr>
              <p:cNvPr id="4" name="Freeform: Shape 3">
                <a:extLst>
                  <a:ext uri="{FF2B5EF4-FFF2-40B4-BE49-F238E27FC236}">
                    <a16:creationId xmlns:a16="http://schemas.microsoft.com/office/drawing/2014/main" id="{9B89BC7E-AECE-4E65-8600-D9DE36825097}"/>
                  </a:ext>
                </a:extLst>
              </p:cNvPr>
              <p:cNvSpPr/>
              <p:nvPr/>
            </p:nvSpPr>
            <p:spPr>
              <a:xfrm>
                <a:off x="6193233" y="2919119"/>
                <a:ext cx="189723" cy="189723"/>
              </a:xfrm>
              <a:custGeom>
                <a:avLst/>
                <a:gdLst>
                  <a:gd name="connsiteX0" fmla="*/ 189723 w 189723"/>
                  <a:gd name="connsiteY0" fmla="*/ 94862 h 189723"/>
                  <a:gd name="connsiteX1" fmla="*/ 94861 w 189723"/>
                  <a:gd name="connsiteY1" fmla="*/ 189723 h 189723"/>
                  <a:gd name="connsiteX2" fmla="*/ 0 w 189723"/>
                  <a:gd name="connsiteY2" fmla="*/ 94862 h 189723"/>
                  <a:gd name="connsiteX3" fmla="*/ 94861 w 189723"/>
                  <a:gd name="connsiteY3" fmla="*/ 0 h 189723"/>
                  <a:gd name="connsiteX4" fmla="*/ 189723 w 189723"/>
                  <a:gd name="connsiteY4" fmla="*/ 94862 h 18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23" h="189723">
                    <a:moveTo>
                      <a:pt x="189723" y="94862"/>
                    </a:moveTo>
                    <a:cubicBezTo>
                      <a:pt x="189723" y="147252"/>
                      <a:pt x="147252" y="189723"/>
                      <a:pt x="94861" y="189723"/>
                    </a:cubicBezTo>
                    <a:cubicBezTo>
                      <a:pt x="42471" y="189723"/>
                      <a:pt x="0" y="147252"/>
                      <a:pt x="0" y="94862"/>
                    </a:cubicBezTo>
                    <a:cubicBezTo>
                      <a:pt x="0" y="42471"/>
                      <a:pt x="42471" y="0"/>
                      <a:pt x="94861" y="0"/>
                    </a:cubicBezTo>
                    <a:cubicBezTo>
                      <a:pt x="147252" y="0"/>
                      <a:pt x="189723" y="42471"/>
                      <a:pt x="189723" y="94862"/>
                    </a:cubicBezTo>
                    <a:close/>
                  </a:path>
                </a:pathLst>
              </a:custGeom>
              <a:solidFill>
                <a:schemeClr val="accent5"/>
              </a:solidFill>
              <a:ln w="11807"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3DC55D56-93B0-422E-BB7B-3CCE8833D111}"/>
                  </a:ext>
                </a:extLst>
              </p:cNvPr>
              <p:cNvSpPr/>
              <p:nvPr/>
            </p:nvSpPr>
            <p:spPr>
              <a:xfrm>
                <a:off x="5647779" y="3120700"/>
                <a:ext cx="889327" cy="818180"/>
              </a:xfrm>
              <a:custGeom>
                <a:avLst/>
                <a:gdLst>
                  <a:gd name="connsiteX0" fmla="*/ 870354 w 889326"/>
                  <a:gd name="connsiteY0" fmla="*/ 23715 h 818180"/>
                  <a:gd name="connsiteX1" fmla="*/ 806323 w 889326"/>
                  <a:gd name="connsiteY1" fmla="*/ 43873 h 818180"/>
                  <a:gd name="connsiteX2" fmla="*/ 764821 w 889326"/>
                  <a:gd name="connsiteY2" fmla="*/ 122134 h 818180"/>
                  <a:gd name="connsiteX3" fmla="*/ 582212 w 889326"/>
                  <a:gd name="connsiteY3" fmla="*/ 7115 h 818180"/>
                  <a:gd name="connsiteX4" fmla="*/ 557311 w 889326"/>
                  <a:gd name="connsiteY4" fmla="*/ 0 h 818180"/>
                  <a:gd name="connsiteX5" fmla="*/ 355731 w 889326"/>
                  <a:gd name="connsiteY5" fmla="*/ 0 h 818180"/>
                  <a:gd name="connsiteX6" fmla="*/ 314229 w 889326"/>
                  <a:gd name="connsiteY6" fmla="*/ 24901 h 818180"/>
                  <a:gd name="connsiteX7" fmla="*/ 237154 w 889326"/>
                  <a:gd name="connsiteY7" fmla="*/ 167193 h 818180"/>
                  <a:gd name="connsiteX8" fmla="*/ 256126 w 889326"/>
                  <a:gd name="connsiteY8" fmla="*/ 231225 h 818180"/>
                  <a:gd name="connsiteX9" fmla="*/ 278656 w 889326"/>
                  <a:gd name="connsiteY9" fmla="*/ 237154 h 818180"/>
                  <a:gd name="connsiteX10" fmla="*/ 320158 w 889326"/>
                  <a:gd name="connsiteY10" fmla="*/ 212253 h 818180"/>
                  <a:gd name="connsiteX11" fmla="*/ 384189 w 889326"/>
                  <a:gd name="connsiteY11" fmla="*/ 94862 h 818180"/>
                  <a:gd name="connsiteX12" fmla="*/ 454149 w 889326"/>
                  <a:gd name="connsiteY12" fmla="*/ 94862 h 818180"/>
                  <a:gd name="connsiteX13" fmla="*/ 244268 w 889326"/>
                  <a:gd name="connsiteY13" fmla="*/ 486165 h 818180"/>
                  <a:gd name="connsiteX14" fmla="*/ 47431 w 889326"/>
                  <a:gd name="connsiteY14" fmla="*/ 486165 h 818180"/>
                  <a:gd name="connsiteX15" fmla="*/ 0 w 889326"/>
                  <a:gd name="connsiteY15" fmla="*/ 533596 h 818180"/>
                  <a:gd name="connsiteX16" fmla="*/ 47431 w 889326"/>
                  <a:gd name="connsiteY16" fmla="*/ 581027 h 818180"/>
                  <a:gd name="connsiteX17" fmla="*/ 272727 w 889326"/>
                  <a:gd name="connsiteY17" fmla="*/ 581027 h 818180"/>
                  <a:gd name="connsiteX18" fmla="*/ 314229 w 889326"/>
                  <a:gd name="connsiteY18" fmla="*/ 556126 h 818180"/>
                  <a:gd name="connsiteX19" fmla="*/ 397233 w 889326"/>
                  <a:gd name="connsiteY19" fmla="*/ 403161 h 818180"/>
                  <a:gd name="connsiteX20" fmla="*/ 533596 w 889326"/>
                  <a:gd name="connsiteY20" fmla="*/ 530039 h 818180"/>
                  <a:gd name="connsiteX21" fmla="*/ 522924 w 889326"/>
                  <a:gd name="connsiteY21" fmla="*/ 768378 h 818180"/>
                  <a:gd name="connsiteX22" fmla="*/ 566797 w 889326"/>
                  <a:gd name="connsiteY22" fmla="*/ 818180 h 818180"/>
                  <a:gd name="connsiteX23" fmla="*/ 569169 w 889326"/>
                  <a:gd name="connsiteY23" fmla="*/ 818180 h 818180"/>
                  <a:gd name="connsiteX24" fmla="*/ 616600 w 889326"/>
                  <a:gd name="connsiteY24" fmla="*/ 773121 h 818180"/>
                  <a:gd name="connsiteX25" fmla="*/ 628457 w 889326"/>
                  <a:gd name="connsiteY25" fmla="*/ 512252 h 818180"/>
                  <a:gd name="connsiteX26" fmla="*/ 613042 w 889326"/>
                  <a:gd name="connsiteY26" fmla="*/ 475493 h 818180"/>
                  <a:gd name="connsiteX27" fmla="*/ 498023 w 889326"/>
                  <a:gd name="connsiteY27" fmla="*/ 368774 h 818180"/>
                  <a:gd name="connsiteX28" fmla="*/ 618971 w 889326"/>
                  <a:gd name="connsiteY28" fmla="*/ 143478 h 818180"/>
                  <a:gd name="connsiteX29" fmla="*/ 756520 w 889326"/>
                  <a:gd name="connsiteY29" fmla="*/ 230039 h 818180"/>
                  <a:gd name="connsiteX30" fmla="*/ 794465 w 889326"/>
                  <a:gd name="connsiteY30" fmla="*/ 235968 h 818180"/>
                  <a:gd name="connsiteX31" fmla="*/ 824109 w 889326"/>
                  <a:gd name="connsiteY31" fmla="*/ 212253 h 818180"/>
                  <a:gd name="connsiteX32" fmla="*/ 889327 w 889326"/>
                  <a:gd name="connsiteY32" fmla="*/ 87747 h 818180"/>
                  <a:gd name="connsiteX33" fmla="*/ 870354 w 889326"/>
                  <a:gd name="connsiteY33" fmla="*/ 23715 h 81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89326" h="818180">
                    <a:moveTo>
                      <a:pt x="870354" y="23715"/>
                    </a:moveTo>
                    <a:cubicBezTo>
                      <a:pt x="846639" y="11858"/>
                      <a:pt x="818180" y="20158"/>
                      <a:pt x="806323" y="43873"/>
                    </a:cubicBezTo>
                    <a:lnTo>
                      <a:pt x="764821" y="122134"/>
                    </a:lnTo>
                    <a:lnTo>
                      <a:pt x="582212" y="7115"/>
                    </a:lnTo>
                    <a:cubicBezTo>
                      <a:pt x="575098" y="2372"/>
                      <a:pt x="566797" y="0"/>
                      <a:pt x="557311" y="0"/>
                    </a:cubicBezTo>
                    <a:lnTo>
                      <a:pt x="355731" y="0"/>
                    </a:lnTo>
                    <a:cubicBezTo>
                      <a:pt x="337944" y="0"/>
                      <a:pt x="322529" y="9486"/>
                      <a:pt x="314229" y="24901"/>
                    </a:cubicBezTo>
                    <a:lnTo>
                      <a:pt x="237154" y="167193"/>
                    </a:lnTo>
                    <a:cubicBezTo>
                      <a:pt x="224110" y="189723"/>
                      <a:pt x="233596" y="219367"/>
                      <a:pt x="256126" y="231225"/>
                    </a:cubicBezTo>
                    <a:cubicBezTo>
                      <a:pt x="263241" y="234782"/>
                      <a:pt x="271541" y="237154"/>
                      <a:pt x="278656" y="237154"/>
                    </a:cubicBezTo>
                    <a:cubicBezTo>
                      <a:pt x="295256" y="237154"/>
                      <a:pt x="311857" y="227668"/>
                      <a:pt x="320158" y="212253"/>
                    </a:cubicBezTo>
                    <a:lnTo>
                      <a:pt x="384189" y="94862"/>
                    </a:lnTo>
                    <a:lnTo>
                      <a:pt x="454149" y="94862"/>
                    </a:lnTo>
                    <a:lnTo>
                      <a:pt x="244268" y="486165"/>
                    </a:lnTo>
                    <a:lnTo>
                      <a:pt x="47431" y="486165"/>
                    </a:lnTo>
                    <a:cubicBezTo>
                      <a:pt x="21344" y="486165"/>
                      <a:pt x="0" y="507509"/>
                      <a:pt x="0" y="533596"/>
                    </a:cubicBezTo>
                    <a:cubicBezTo>
                      <a:pt x="0" y="559683"/>
                      <a:pt x="21344" y="581027"/>
                      <a:pt x="47431" y="581027"/>
                    </a:cubicBezTo>
                    <a:lnTo>
                      <a:pt x="272727" y="581027"/>
                    </a:lnTo>
                    <a:cubicBezTo>
                      <a:pt x="290513" y="581027"/>
                      <a:pt x="305928" y="571541"/>
                      <a:pt x="314229" y="556126"/>
                    </a:cubicBezTo>
                    <a:lnTo>
                      <a:pt x="397233" y="403161"/>
                    </a:lnTo>
                    <a:lnTo>
                      <a:pt x="533596" y="530039"/>
                    </a:lnTo>
                    <a:lnTo>
                      <a:pt x="522924" y="768378"/>
                    </a:lnTo>
                    <a:cubicBezTo>
                      <a:pt x="520552" y="794465"/>
                      <a:pt x="540711" y="816995"/>
                      <a:pt x="566797" y="818180"/>
                    </a:cubicBezTo>
                    <a:cubicBezTo>
                      <a:pt x="567983" y="818180"/>
                      <a:pt x="567983" y="818180"/>
                      <a:pt x="569169" y="818180"/>
                    </a:cubicBezTo>
                    <a:cubicBezTo>
                      <a:pt x="594070" y="818180"/>
                      <a:pt x="615414" y="798022"/>
                      <a:pt x="616600" y="773121"/>
                    </a:cubicBezTo>
                    <a:lnTo>
                      <a:pt x="628457" y="512252"/>
                    </a:lnTo>
                    <a:cubicBezTo>
                      <a:pt x="629643" y="498023"/>
                      <a:pt x="623714" y="484979"/>
                      <a:pt x="613042" y="475493"/>
                    </a:cubicBezTo>
                    <a:lnTo>
                      <a:pt x="498023" y="368774"/>
                    </a:lnTo>
                    <a:lnTo>
                      <a:pt x="618971" y="143478"/>
                    </a:lnTo>
                    <a:lnTo>
                      <a:pt x="756520" y="230039"/>
                    </a:lnTo>
                    <a:cubicBezTo>
                      <a:pt x="767192" y="237154"/>
                      <a:pt x="781422" y="239525"/>
                      <a:pt x="794465" y="235968"/>
                    </a:cubicBezTo>
                    <a:cubicBezTo>
                      <a:pt x="807509" y="232411"/>
                      <a:pt x="818180" y="224110"/>
                      <a:pt x="824109" y="212253"/>
                    </a:cubicBezTo>
                    <a:lnTo>
                      <a:pt x="889327" y="87747"/>
                    </a:lnTo>
                    <a:cubicBezTo>
                      <a:pt x="902370" y="65217"/>
                      <a:pt x="894070" y="36759"/>
                      <a:pt x="870354" y="23715"/>
                    </a:cubicBezTo>
                    <a:close/>
                  </a:path>
                </a:pathLst>
              </a:custGeom>
              <a:solidFill>
                <a:schemeClr val="accent5"/>
              </a:solidFill>
              <a:ln w="11807" cap="flat">
                <a:noFill/>
                <a:prstDash val="solid"/>
                <a:miter/>
              </a:ln>
            </p:spPr>
            <p:txBody>
              <a:bodyPr rtlCol="0" anchor="ctr"/>
              <a:lstStyle/>
              <a:p>
                <a:endParaRPr lang="en-IN"/>
              </a:p>
            </p:txBody>
          </p:sp>
        </p:grpSp>
      </p:grpSp>
    </p:spTree>
    <p:extLst>
      <p:ext uri="{BB962C8B-B14F-4D97-AF65-F5344CB8AC3E}">
        <p14:creationId xmlns:p14="http://schemas.microsoft.com/office/powerpoint/2010/main" val="2513612169"/>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a:t>Style: How to sound conversational</a:t>
            </a:r>
          </a:p>
        </p:txBody>
      </p:sp>
      <p:sp>
        <p:nvSpPr>
          <p:cNvPr id="23" name="Content Placeholder 2">
            <a:extLst>
              <a:ext uri="{FF2B5EF4-FFF2-40B4-BE49-F238E27FC236}">
                <a16:creationId xmlns:a16="http://schemas.microsoft.com/office/drawing/2014/main" id="{56C674FA-BDC8-4D1F-8BC6-03FEC5006345}"/>
              </a:ext>
            </a:extLst>
          </p:cNvPr>
          <p:cNvSpPr txBox="1">
            <a:spLocks/>
          </p:cNvSpPr>
          <p:nvPr/>
        </p:nvSpPr>
        <p:spPr>
          <a:xfrm>
            <a:off x="477670" y="1398616"/>
            <a:ext cx="5251798" cy="3369395"/>
          </a:xfrm>
          <a:prstGeom prst="rect">
            <a:avLst/>
          </a:prstGeom>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pPr>
            <a:r>
              <a:rPr lang="en-US" sz="2000" spc="0">
                <a:solidFill>
                  <a:schemeClr val="tx2"/>
                </a:solidFill>
                <a:latin typeface="Segoe UI Semibold" panose="020B0702040204020203" pitchFamily="34" charset="0"/>
                <a:cs typeface="Segoe UI Semibold" panose="020B0702040204020203" pitchFamily="34" charset="0"/>
              </a:rPr>
              <a:t>Customer conversations should emulate the best elements of any conversation — personal and polite, friendly and supportive</a:t>
            </a:r>
          </a:p>
          <a:p>
            <a:pPr lvl="1">
              <a:spcBef>
                <a:spcPts val="1200"/>
              </a:spcBef>
            </a:pPr>
            <a:r>
              <a:rPr lang="en-US" sz="1800">
                <a:latin typeface="Segoe UI" panose="020B0502040204020203" pitchFamily="34" charset="0"/>
                <a:cs typeface="Segoe UI" panose="020B0502040204020203" pitchFamily="34" charset="0"/>
              </a:rPr>
              <a:t>A few stylistic changes in writing can impart warmth and familiarity to your brand voice</a:t>
            </a:r>
          </a:p>
          <a:p>
            <a:pPr lvl="1">
              <a:spcBef>
                <a:spcPts val="1200"/>
              </a:spcBef>
            </a:pPr>
            <a:r>
              <a:rPr lang="en-US" sz="1800">
                <a:latin typeface="Segoe UI" panose="020B0502040204020203" pitchFamily="34" charset="0"/>
                <a:cs typeface="Segoe UI" panose="020B0502040204020203" pitchFamily="34" charset="0"/>
              </a:rPr>
              <a:t>Don’t overuse exclamation points to convey energy. It’s easy to rely on them for this purpose, but too many, in the wrong places, could be interpreted as insincere and robotic</a:t>
            </a:r>
          </a:p>
        </p:txBody>
      </p:sp>
      <p:grpSp>
        <p:nvGrpSpPr>
          <p:cNvPr id="2" name="Group 1">
            <a:extLst>
              <a:ext uri="{FF2B5EF4-FFF2-40B4-BE49-F238E27FC236}">
                <a16:creationId xmlns:a16="http://schemas.microsoft.com/office/drawing/2014/main" id="{443871E5-FC5B-4221-8438-7E47188CC5F4}"/>
              </a:ext>
            </a:extLst>
          </p:cNvPr>
          <p:cNvGrpSpPr/>
          <p:nvPr/>
        </p:nvGrpSpPr>
        <p:grpSpPr>
          <a:xfrm>
            <a:off x="6558676" y="1764508"/>
            <a:ext cx="4751549" cy="3359563"/>
            <a:chOff x="6362979" y="1764508"/>
            <a:chExt cx="4751549" cy="3359563"/>
          </a:xfrm>
        </p:grpSpPr>
        <p:grpSp>
          <p:nvGrpSpPr>
            <p:cNvPr id="116" name="Group 115">
              <a:extLst>
                <a:ext uri="{FF2B5EF4-FFF2-40B4-BE49-F238E27FC236}">
                  <a16:creationId xmlns:a16="http://schemas.microsoft.com/office/drawing/2014/main" id="{33F644CD-6F33-4399-A31D-846EDA88A2D9}"/>
                </a:ext>
              </a:extLst>
            </p:cNvPr>
            <p:cNvGrpSpPr/>
            <p:nvPr/>
          </p:nvGrpSpPr>
          <p:grpSpPr>
            <a:xfrm>
              <a:off x="6813551" y="1792561"/>
              <a:ext cx="3461850" cy="606781"/>
              <a:chOff x="7156454" y="1900890"/>
              <a:chExt cx="3461850" cy="606781"/>
            </a:xfrm>
          </p:grpSpPr>
          <p:sp>
            <p:nvSpPr>
              <p:cNvPr id="67" name="Rectangle: Rounded Corners 66">
                <a:extLst>
                  <a:ext uri="{FF2B5EF4-FFF2-40B4-BE49-F238E27FC236}">
                    <a16:creationId xmlns:a16="http://schemas.microsoft.com/office/drawing/2014/main" id="{97BCCA19-BFF9-4EC6-9964-C24BE755FBE7}"/>
                  </a:ext>
                </a:extLst>
              </p:cNvPr>
              <p:cNvSpPr/>
              <p:nvPr/>
            </p:nvSpPr>
            <p:spPr bwMode="auto">
              <a:xfrm>
                <a:off x="7369308" y="1900890"/>
                <a:ext cx="3248996" cy="606781"/>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Hey Bryan! Would you like the usual — a large cheese pizza?</a:t>
                </a:r>
              </a:p>
            </p:txBody>
          </p:sp>
          <p:sp>
            <p:nvSpPr>
              <p:cNvPr id="68" name="Isosceles Triangle 67">
                <a:extLst>
                  <a:ext uri="{FF2B5EF4-FFF2-40B4-BE49-F238E27FC236}">
                    <a16:creationId xmlns:a16="http://schemas.microsoft.com/office/drawing/2014/main" id="{809BBE74-9531-4DCD-9164-6F89F7DE16D9}"/>
                  </a:ext>
                </a:extLst>
              </p:cNvPr>
              <p:cNvSpPr/>
              <p:nvPr/>
            </p:nvSpPr>
            <p:spPr bwMode="auto">
              <a:xfrm rot="16200000">
                <a:off x="7174865" y="2031733"/>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a:extLst>
                <a:ext uri="{FF2B5EF4-FFF2-40B4-BE49-F238E27FC236}">
                  <a16:creationId xmlns:a16="http://schemas.microsoft.com/office/drawing/2014/main" id="{65E297A2-55D3-4633-A400-C20E2F181B4E}"/>
                </a:ext>
              </a:extLst>
            </p:cNvPr>
            <p:cNvGrpSpPr/>
            <p:nvPr/>
          </p:nvGrpSpPr>
          <p:grpSpPr>
            <a:xfrm>
              <a:off x="6813549" y="2626599"/>
              <a:ext cx="3461852" cy="1035188"/>
              <a:chOff x="7156452" y="2798002"/>
              <a:chExt cx="3461852" cy="1035188"/>
            </a:xfrm>
          </p:grpSpPr>
          <p:sp>
            <p:nvSpPr>
              <p:cNvPr id="107" name="Rectangle: Rounded Corners 106">
                <a:extLst>
                  <a:ext uri="{FF2B5EF4-FFF2-40B4-BE49-F238E27FC236}">
                    <a16:creationId xmlns:a16="http://schemas.microsoft.com/office/drawing/2014/main" id="{795A4F64-6695-462E-A903-CDA68D5B41F6}"/>
                  </a:ext>
                </a:extLst>
              </p:cNvPr>
              <p:cNvSpPr/>
              <p:nvPr/>
            </p:nvSpPr>
            <p:spPr bwMode="auto">
              <a:xfrm>
                <a:off x="7369308" y="2798002"/>
                <a:ext cx="3248996" cy="1035188"/>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So you know, there is a buy-a-large-get-a-small-free deal going on through Saturday. Do you want to try this deal?</a:t>
                </a:r>
              </a:p>
            </p:txBody>
          </p:sp>
          <p:sp>
            <p:nvSpPr>
              <p:cNvPr id="108" name="Isosceles Triangle 107">
                <a:extLst>
                  <a:ext uri="{FF2B5EF4-FFF2-40B4-BE49-F238E27FC236}">
                    <a16:creationId xmlns:a16="http://schemas.microsoft.com/office/drawing/2014/main" id="{C74D7953-B72B-406D-8697-270174D55526}"/>
                  </a:ext>
                </a:extLst>
              </p:cNvPr>
              <p:cNvSpPr/>
              <p:nvPr/>
            </p:nvSpPr>
            <p:spPr bwMode="auto">
              <a:xfrm rot="16200000">
                <a:off x="7174864" y="2928842"/>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a:extLst>
                <a:ext uri="{FF2B5EF4-FFF2-40B4-BE49-F238E27FC236}">
                  <a16:creationId xmlns:a16="http://schemas.microsoft.com/office/drawing/2014/main" id="{FE93997C-03AE-4E0A-9B5A-257AC548C5E7}"/>
                </a:ext>
              </a:extLst>
            </p:cNvPr>
            <p:cNvGrpSpPr/>
            <p:nvPr/>
          </p:nvGrpSpPr>
          <p:grpSpPr>
            <a:xfrm>
              <a:off x="9825364" y="3879352"/>
              <a:ext cx="827369" cy="362649"/>
              <a:chOff x="10168267" y="3961429"/>
              <a:chExt cx="827369" cy="362649"/>
            </a:xfrm>
          </p:grpSpPr>
          <p:sp>
            <p:nvSpPr>
              <p:cNvPr id="109" name="Rectangle: Rounded Corners 108">
                <a:extLst>
                  <a:ext uri="{FF2B5EF4-FFF2-40B4-BE49-F238E27FC236}">
                    <a16:creationId xmlns:a16="http://schemas.microsoft.com/office/drawing/2014/main" id="{F7BE35D6-52F2-4C4D-B706-93A44CA8A228}"/>
                  </a:ext>
                </a:extLst>
              </p:cNvPr>
              <p:cNvSpPr/>
              <p:nvPr/>
            </p:nvSpPr>
            <p:spPr bwMode="auto">
              <a:xfrm>
                <a:off x="10168267" y="3961429"/>
                <a:ext cx="641390"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bg1"/>
                    </a:solidFill>
                    <a:latin typeface="Segoe UI" panose="020B0502040204020203" pitchFamily="34" charset="0"/>
                    <a:cs typeface="Segoe UI" panose="020B0502040204020203" pitchFamily="34" charset="0"/>
                  </a:rPr>
                  <a:t>Yeah!!</a:t>
                </a:r>
              </a:p>
            </p:txBody>
          </p:sp>
          <p:sp>
            <p:nvSpPr>
              <p:cNvPr id="110" name="Isosceles Triangle 109">
                <a:extLst>
                  <a:ext uri="{FF2B5EF4-FFF2-40B4-BE49-F238E27FC236}">
                    <a16:creationId xmlns:a16="http://schemas.microsoft.com/office/drawing/2014/main" id="{119924FA-56C5-478C-8214-5B33B3630CBF}"/>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13" name="Group 112">
              <a:extLst>
                <a:ext uri="{FF2B5EF4-FFF2-40B4-BE49-F238E27FC236}">
                  <a16:creationId xmlns:a16="http://schemas.microsoft.com/office/drawing/2014/main" id="{12F81DB3-5354-421E-9B09-80C71ED91F29}"/>
                </a:ext>
              </a:extLst>
            </p:cNvPr>
            <p:cNvGrpSpPr/>
            <p:nvPr/>
          </p:nvGrpSpPr>
          <p:grpSpPr>
            <a:xfrm>
              <a:off x="6813549" y="4474005"/>
              <a:ext cx="3461852" cy="650066"/>
              <a:chOff x="7156452" y="4582334"/>
              <a:chExt cx="3461852" cy="650066"/>
            </a:xfrm>
          </p:grpSpPr>
          <p:sp>
            <p:nvSpPr>
              <p:cNvPr id="111" name="Rectangle: Rounded Corners 110">
                <a:extLst>
                  <a:ext uri="{FF2B5EF4-FFF2-40B4-BE49-F238E27FC236}">
                    <a16:creationId xmlns:a16="http://schemas.microsoft.com/office/drawing/2014/main" id="{25229D22-3029-4B87-93CD-71C7008AA9E2}"/>
                  </a:ext>
                </a:extLst>
              </p:cNvPr>
              <p:cNvSpPr/>
              <p:nvPr/>
            </p:nvSpPr>
            <p:spPr bwMode="auto">
              <a:xfrm>
                <a:off x="7369308" y="4582334"/>
                <a:ext cx="3248996" cy="65006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Great! Let me get your order started for you.</a:t>
                </a:r>
              </a:p>
            </p:txBody>
          </p:sp>
          <p:sp>
            <p:nvSpPr>
              <p:cNvPr id="112" name="Isosceles Triangle 111">
                <a:extLst>
                  <a:ext uri="{FF2B5EF4-FFF2-40B4-BE49-F238E27FC236}">
                    <a16:creationId xmlns:a16="http://schemas.microsoft.com/office/drawing/2014/main" id="{5E9524F6-5248-4320-9BEA-0C030A00BE30}"/>
                  </a:ext>
                </a:extLst>
              </p:cNvPr>
              <p:cNvSpPr/>
              <p:nvPr/>
            </p:nvSpPr>
            <p:spPr bwMode="auto">
              <a:xfrm rot="16200000">
                <a:off x="7174864" y="4713174"/>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5" name="Group 84">
              <a:extLst>
                <a:ext uri="{FF2B5EF4-FFF2-40B4-BE49-F238E27FC236}">
                  <a16:creationId xmlns:a16="http://schemas.microsoft.com/office/drawing/2014/main" id="{271AA393-CED4-4C85-B486-88F58E6489E8}"/>
                </a:ext>
              </a:extLst>
            </p:cNvPr>
            <p:cNvGrpSpPr/>
            <p:nvPr/>
          </p:nvGrpSpPr>
          <p:grpSpPr>
            <a:xfrm>
              <a:off x="6362979" y="1764508"/>
              <a:ext cx="344143" cy="344143"/>
              <a:chOff x="12510166" y="1289683"/>
              <a:chExt cx="685799" cy="685799"/>
            </a:xfrm>
          </p:grpSpPr>
          <p:sp>
            <p:nvSpPr>
              <p:cNvPr id="126" name="Oval 42">
                <a:extLst>
                  <a:ext uri="{FF2B5EF4-FFF2-40B4-BE49-F238E27FC236}">
                    <a16:creationId xmlns:a16="http://schemas.microsoft.com/office/drawing/2014/main" id="{FCE658E9-F5C0-4210-9607-E6DE2BA0111E}"/>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7" name="Group 61">
                <a:extLst>
                  <a:ext uri="{FF2B5EF4-FFF2-40B4-BE49-F238E27FC236}">
                    <a16:creationId xmlns:a16="http://schemas.microsoft.com/office/drawing/2014/main" id="{DCE8E36C-9402-4C01-BAE1-4C855F1D0F15}"/>
                  </a:ext>
                </a:extLst>
              </p:cNvPr>
              <p:cNvGrpSpPr/>
              <p:nvPr/>
            </p:nvGrpSpPr>
            <p:grpSpPr>
              <a:xfrm>
                <a:off x="12688064" y="1458670"/>
                <a:ext cx="330003" cy="347825"/>
                <a:chOff x="5084670" y="6673208"/>
                <a:chExt cx="2733675" cy="2881313"/>
              </a:xfrm>
            </p:grpSpPr>
            <p:sp>
              <p:nvSpPr>
                <p:cNvPr id="128" name="Freeform: Shape 127">
                  <a:extLst>
                    <a:ext uri="{FF2B5EF4-FFF2-40B4-BE49-F238E27FC236}">
                      <a16:creationId xmlns:a16="http://schemas.microsoft.com/office/drawing/2014/main" id="{14EE591F-E427-4C81-9BE0-E2AC5D40DEC8}"/>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9" name="Freeform: Shape 128">
                  <a:extLst>
                    <a:ext uri="{FF2B5EF4-FFF2-40B4-BE49-F238E27FC236}">
                      <a16:creationId xmlns:a16="http://schemas.microsoft.com/office/drawing/2014/main" id="{90DF2579-5272-49A5-AE9A-E40ECEAF52DB}"/>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30" name="Group 84">
              <a:extLst>
                <a:ext uri="{FF2B5EF4-FFF2-40B4-BE49-F238E27FC236}">
                  <a16:creationId xmlns:a16="http://schemas.microsoft.com/office/drawing/2014/main" id="{9F0C55CC-EBA1-4DED-959F-73588D1E97FF}"/>
                </a:ext>
              </a:extLst>
            </p:cNvPr>
            <p:cNvGrpSpPr/>
            <p:nvPr/>
          </p:nvGrpSpPr>
          <p:grpSpPr>
            <a:xfrm>
              <a:off x="6362979" y="2611512"/>
              <a:ext cx="344143" cy="344143"/>
              <a:chOff x="12510166" y="1289683"/>
              <a:chExt cx="685799" cy="685799"/>
            </a:xfrm>
          </p:grpSpPr>
          <p:sp>
            <p:nvSpPr>
              <p:cNvPr id="131" name="Oval 42">
                <a:extLst>
                  <a:ext uri="{FF2B5EF4-FFF2-40B4-BE49-F238E27FC236}">
                    <a16:creationId xmlns:a16="http://schemas.microsoft.com/office/drawing/2014/main" id="{8C91D4D8-4C37-40FD-9D0F-016F08A4C27B}"/>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2" name="Group 61">
                <a:extLst>
                  <a:ext uri="{FF2B5EF4-FFF2-40B4-BE49-F238E27FC236}">
                    <a16:creationId xmlns:a16="http://schemas.microsoft.com/office/drawing/2014/main" id="{F07D8BD6-0363-41DF-88EE-A5B4BEDAA537}"/>
                  </a:ext>
                </a:extLst>
              </p:cNvPr>
              <p:cNvGrpSpPr/>
              <p:nvPr/>
            </p:nvGrpSpPr>
            <p:grpSpPr>
              <a:xfrm>
                <a:off x="12688064" y="1458670"/>
                <a:ext cx="330003" cy="347825"/>
                <a:chOff x="5084670" y="6673208"/>
                <a:chExt cx="2733675" cy="2881313"/>
              </a:xfrm>
            </p:grpSpPr>
            <p:sp>
              <p:nvSpPr>
                <p:cNvPr id="133" name="Freeform: Shape 132">
                  <a:extLst>
                    <a:ext uri="{FF2B5EF4-FFF2-40B4-BE49-F238E27FC236}">
                      <a16:creationId xmlns:a16="http://schemas.microsoft.com/office/drawing/2014/main" id="{B9287D64-9D0B-4398-AA21-241575F02C27}"/>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4" name="Freeform: Shape 133">
                  <a:extLst>
                    <a:ext uri="{FF2B5EF4-FFF2-40B4-BE49-F238E27FC236}">
                      <a16:creationId xmlns:a16="http://schemas.microsoft.com/office/drawing/2014/main" id="{F7CD226D-6C42-444D-9822-E6F79BD15045}"/>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35" name="Group 84">
              <a:extLst>
                <a:ext uri="{FF2B5EF4-FFF2-40B4-BE49-F238E27FC236}">
                  <a16:creationId xmlns:a16="http://schemas.microsoft.com/office/drawing/2014/main" id="{F39F8133-CCB6-4D74-846F-F29177304317}"/>
                </a:ext>
              </a:extLst>
            </p:cNvPr>
            <p:cNvGrpSpPr/>
            <p:nvPr/>
          </p:nvGrpSpPr>
          <p:grpSpPr>
            <a:xfrm>
              <a:off x="6362979" y="4463884"/>
              <a:ext cx="344143" cy="344143"/>
              <a:chOff x="12510166" y="1289683"/>
              <a:chExt cx="685799" cy="685799"/>
            </a:xfrm>
          </p:grpSpPr>
          <p:sp>
            <p:nvSpPr>
              <p:cNvPr id="136" name="Oval 42">
                <a:extLst>
                  <a:ext uri="{FF2B5EF4-FFF2-40B4-BE49-F238E27FC236}">
                    <a16:creationId xmlns:a16="http://schemas.microsoft.com/office/drawing/2014/main" id="{7F4ECC1F-EAFB-41E5-9D5D-B87F3D7FCF3D}"/>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61">
                <a:extLst>
                  <a:ext uri="{FF2B5EF4-FFF2-40B4-BE49-F238E27FC236}">
                    <a16:creationId xmlns:a16="http://schemas.microsoft.com/office/drawing/2014/main" id="{C79EDA94-97D8-4BA3-BB4A-D76B6E339E62}"/>
                  </a:ext>
                </a:extLst>
              </p:cNvPr>
              <p:cNvGrpSpPr/>
              <p:nvPr/>
            </p:nvGrpSpPr>
            <p:grpSpPr>
              <a:xfrm>
                <a:off x="12688064" y="1458670"/>
                <a:ext cx="330003" cy="347825"/>
                <a:chOff x="5084670" y="6673208"/>
                <a:chExt cx="2733675" cy="2881313"/>
              </a:xfrm>
            </p:grpSpPr>
            <p:sp>
              <p:nvSpPr>
                <p:cNvPr id="138" name="Freeform: Shape 137">
                  <a:extLst>
                    <a:ext uri="{FF2B5EF4-FFF2-40B4-BE49-F238E27FC236}">
                      <a16:creationId xmlns:a16="http://schemas.microsoft.com/office/drawing/2014/main" id="{7E9F473A-69DB-4AA1-8DB1-6620CC8AC025}"/>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9" name="Freeform: Shape 138">
                  <a:extLst>
                    <a:ext uri="{FF2B5EF4-FFF2-40B4-BE49-F238E27FC236}">
                      <a16:creationId xmlns:a16="http://schemas.microsoft.com/office/drawing/2014/main" id="{6AFF9CB0-00AB-45A4-8988-683507931966}"/>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140" name="Picture 46">
              <a:extLst>
                <a:ext uri="{FF2B5EF4-FFF2-40B4-BE49-F238E27FC236}">
                  <a16:creationId xmlns:a16="http://schemas.microsoft.com/office/drawing/2014/main" id="{3F9910D4-4FF7-44BC-8A8F-874254482995}"/>
                </a:ext>
              </a:extLst>
            </p:cNvPr>
            <p:cNvPicPr>
              <a:picLocks noChangeAspect="1"/>
            </p:cNvPicPr>
            <p:nvPr/>
          </p:nvPicPr>
          <p:blipFill>
            <a:blip r:embed="rId3"/>
            <a:srcRect b="258"/>
            <a:stretch>
              <a:fillRect/>
            </a:stretch>
          </p:blipFill>
          <p:spPr>
            <a:xfrm>
              <a:off x="10744122" y="3800017"/>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grpSp>
        <p:nvGrpSpPr>
          <p:cNvPr id="145" name="Group 13">
            <a:extLst>
              <a:ext uri="{FF2B5EF4-FFF2-40B4-BE49-F238E27FC236}">
                <a16:creationId xmlns:a16="http://schemas.microsoft.com/office/drawing/2014/main" id="{FDE06134-E1AC-45AC-AADB-780211832C7D}"/>
              </a:ext>
            </a:extLst>
          </p:cNvPr>
          <p:cNvGrpSpPr/>
          <p:nvPr/>
        </p:nvGrpSpPr>
        <p:grpSpPr>
          <a:xfrm>
            <a:off x="6134100" y="1398616"/>
            <a:ext cx="5600700" cy="5053134"/>
            <a:chOff x="6134100" y="1398616"/>
            <a:chExt cx="5600700" cy="5053134"/>
          </a:xfrm>
        </p:grpSpPr>
        <p:sp>
          <p:nvSpPr>
            <p:cNvPr id="146" name="Rectangle 7">
              <a:extLst>
                <a:ext uri="{FF2B5EF4-FFF2-40B4-BE49-F238E27FC236}">
                  <a16:creationId xmlns:a16="http://schemas.microsoft.com/office/drawing/2014/main" id="{907DF3DE-2690-427E-8680-C2FE47D6A2BA}"/>
                </a:ext>
              </a:extLst>
            </p:cNvPr>
            <p:cNvSpPr/>
            <p:nvPr/>
          </p:nvSpPr>
          <p:spPr bwMode="auto">
            <a:xfrm>
              <a:off x="6134100" y="1398616"/>
              <a:ext cx="5600700" cy="5053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36">
              <a:extLst>
                <a:ext uri="{FF2B5EF4-FFF2-40B4-BE49-F238E27FC236}">
                  <a16:creationId xmlns:a16="http://schemas.microsoft.com/office/drawing/2014/main" id="{001CB753-99EA-4BA0-9D0A-D34E5782E8D7}"/>
                </a:ext>
              </a:extLst>
            </p:cNvPr>
            <p:cNvSpPr/>
            <p:nvPr/>
          </p:nvSpPr>
          <p:spPr bwMode="auto">
            <a:xfrm>
              <a:off x="11432729" y="6047191"/>
              <a:ext cx="302071" cy="4045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91440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914400" y="0"/>
                  </a:moveTo>
                  <a:lnTo>
                    <a:pt x="914400" y="914400"/>
                  </a:lnTo>
                  <a:lnTo>
                    <a:pt x="0" y="91440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37">
              <a:extLst>
                <a:ext uri="{FF2B5EF4-FFF2-40B4-BE49-F238E27FC236}">
                  <a16:creationId xmlns:a16="http://schemas.microsoft.com/office/drawing/2014/main" id="{D9A28C29-E749-4138-8866-E473B3D0A3D5}"/>
                </a:ext>
              </a:extLst>
            </p:cNvPr>
            <p:cNvSpPr/>
            <p:nvPr/>
          </p:nvSpPr>
          <p:spPr bwMode="auto">
            <a:xfrm>
              <a:off x="6134100" y="1398616"/>
              <a:ext cx="308898" cy="41472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2483840503"/>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Content Placeholder 2">
            <a:extLst>
              <a:ext uri="{FF2B5EF4-FFF2-40B4-BE49-F238E27FC236}">
                <a16:creationId xmlns:a16="http://schemas.microsoft.com/office/drawing/2014/main" id="{FCCEC08A-0ABA-4902-ABE3-EBDD5715D83A}"/>
              </a:ext>
            </a:extLst>
          </p:cNvPr>
          <p:cNvSpPr txBox="1">
            <a:spLocks/>
          </p:cNvSpPr>
          <p:nvPr/>
        </p:nvSpPr>
        <p:spPr>
          <a:xfrm>
            <a:off x="468695" y="4835104"/>
            <a:ext cx="2043034" cy="365760"/>
          </a:xfrm>
          <a:prstGeom prst="rect">
            <a:avLst/>
          </a:prstGeom>
          <a:noFill/>
        </p:spPr>
        <p:txBody>
          <a:bodyPr vert="horz" wrap="square" lIns="0" tIns="91440" rIns="0" bIns="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spc="0">
                <a:latin typeface="Segoe UI" panose="020B0502040204020203" pitchFamily="34" charset="0"/>
                <a:cs typeface="Segoe UI" panose="020B0502040204020203" pitchFamily="34" charset="0"/>
              </a:rPr>
              <a:t>Use short sentences</a:t>
            </a:r>
          </a:p>
        </p:txBody>
      </p:sp>
      <p:sp>
        <p:nvSpPr>
          <p:cNvPr id="4" name="Title 3">
            <a:extLst>
              <a:ext uri="{FF2B5EF4-FFF2-40B4-BE49-F238E27FC236}">
                <a16:creationId xmlns:a16="http://schemas.microsoft.com/office/drawing/2014/main" id="{EAFF9BF8-96A3-4E94-9E8E-634D6FA60E5E}"/>
              </a:ext>
            </a:extLst>
          </p:cNvPr>
          <p:cNvSpPr>
            <a:spLocks noGrp="1"/>
          </p:cNvSpPr>
          <p:nvPr>
            <p:ph type="title"/>
          </p:nvPr>
        </p:nvSpPr>
        <p:spPr/>
        <p:txBody>
          <a:bodyPr/>
          <a:lstStyle/>
          <a:p>
            <a:r>
              <a:rPr lang="en-US"/>
              <a:t>Style: How to sound conversational</a:t>
            </a:r>
            <a:br>
              <a:rPr lang="en-US"/>
            </a:br>
            <a:endParaRPr lang="en-US"/>
          </a:p>
        </p:txBody>
      </p:sp>
      <p:sp>
        <p:nvSpPr>
          <p:cNvPr id="5" name="Content Placeholder 2">
            <a:extLst>
              <a:ext uri="{FF2B5EF4-FFF2-40B4-BE49-F238E27FC236}">
                <a16:creationId xmlns:a16="http://schemas.microsoft.com/office/drawing/2014/main" id="{3A771C94-1AB0-EB41-9B44-48AC04E58BF7}"/>
              </a:ext>
            </a:extLst>
          </p:cNvPr>
          <p:cNvSpPr txBox="1">
            <a:spLocks/>
          </p:cNvSpPr>
          <p:nvPr/>
        </p:nvSpPr>
        <p:spPr>
          <a:xfrm>
            <a:off x="4398964" y="4835104"/>
            <a:ext cx="1163620" cy="365760"/>
          </a:xfrm>
          <a:prstGeom prst="rect">
            <a:avLst/>
          </a:prstGeom>
          <a:noFill/>
        </p:spPr>
        <p:txBody>
          <a:bodyPr vert="horz" lIns="0" tIns="9144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600">
                <a:latin typeface="Segoe UI" panose="020B0502040204020203" pitchFamily="34" charset="0"/>
                <a:cs typeface="Segoe UI" panose="020B0502040204020203" pitchFamily="34" charset="0"/>
              </a:rPr>
              <a:t>Be positive</a:t>
            </a:r>
          </a:p>
        </p:txBody>
      </p:sp>
      <p:sp>
        <p:nvSpPr>
          <p:cNvPr id="6" name="Content Placeholder 2">
            <a:extLst>
              <a:ext uri="{FF2B5EF4-FFF2-40B4-BE49-F238E27FC236}">
                <a16:creationId xmlns:a16="http://schemas.microsoft.com/office/drawing/2014/main" id="{A785C214-5BF5-4F43-BFB0-0DBCC251CC5E}"/>
              </a:ext>
            </a:extLst>
          </p:cNvPr>
          <p:cNvSpPr txBox="1">
            <a:spLocks/>
          </p:cNvSpPr>
          <p:nvPr/>
        </p:nvSpPr>
        <p:spPr>
          <a:xfrm>
            <a:off x="8312869" y="4835104"/>
            <a:ext cx="1631232" cy="365760"/>
          </a:xfrm>
          <a:prstGeom prst="rect">
            <a:avLst/>
          </a:prstGeom>
          <a:noFill/>
        </p:spPr>
        <p:txBody>
          <a:bodyPr vert="horz" lIns="0" tIns="9144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600">
                <a:latin typeface="Segoe UI" panose="020B0502040204020203" pitchFamily="34" charset="0"/>
                <a:cs typeface="Segoe UI" panose="020B0502040204020203" pitchFamily="34" charset="0"/>
              </a:rPr>
              <a:t>Use active voice</a:t>
            </a:r>
          </a:p>
        </p:txBody>
      </p:sp>
      <p:cxnSp>
        <p:nvCxnSpPr>
          <p:cNvPr id="16" name="Straight Connector 15">
            <a:extLst>
              <a:ext uri="{FF2B5EF4-FFF2-40B4-BE49-F238E27FC236}">
                <a16:creationId xmlns:a16="http://schemas.microsoft.com/office/drawing/2014/main" id="{57DB7CDA-889D-41A7-B0A8-B555EF2C518A}"/>
              </a:ext>
            </a:extLst>
          </p:cNvPr>
          <p:cNvCxnSpPr>
            <a:cxnSpLocks/>
          </p:cNvCxnSpPr>
          <p:nvPr/>
        </p:nvCxnSpPr>
        <p:spPr>
          <a:xfrm>
            <a:off x="4207615" y="2439722"/>
            <a:ext cx="0" cy="25603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5E6FE44-6664-4092-89BC-FCA21A156052}"/>
              </a:ext>
            </a:extLst>
          </p:cNvPr>
          <p:cNvCxnSpPr>
            <a:cxnSpLocks/>
          </p:cNvCxnSpPr>
          <p:nvPr/>
        </p:nvCxnSpPr>
        <p:spPr>
          <a:xfrm>
            <a:off x="8099392" y="2439722"/>
            <a:ext cx="0" cy="25603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39A83D0-87F7-4BC0-9F1C-E5DB1E99DA4E}"/>
              </a:ext>
            </a:extLst>
          </p:cNvPr>
          <p:cNvCxnSpPr/>
          <p:nvPr/>
        </p:nvCxnSpPr>
        <p:spPr>
          <a:xfrm>
            <a:off x="468694" y="5200864"/>
            <a:ext cx="3487864" cy="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B870919-7A36-4DCF-96C4-7A7D8CAFE4DE}"/>
              </a:ext>
            </a:extLst>
          </p:cNvPr>
          <p:cNvCxnSpPr/>
          <p:nvPr/>
        </p:nvCxnSpPr>
        <p:spPr>
          <a:xfrm>
            <a:off x="4363936" y="5200864"/>
            <a:ext cx="3487864" cy="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3B65000-9EBB-4CB8-A9A3-371DE8DB8A9D}"/>
              </a:ext>
            </a:extLst>
          </p:cNvPr>
          <p:cNvCxnSpPr/>
          <p:nvPr/>
        </p:nvCxnSpPr>
        <p:spPr>
          <a:xfrm>
            <a:off x="8255718" y="5200864"/>
            <a:ext cx="3487864" cy="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50B674-B2B8-4ED4-9900-1FAAEF2875EE}"/>
              </a:ext>
            </a:extLst>
          </p:cNvPr>
          <p:cNvCxnSpPr>
            <a:cxnSpLocks/>
          </p:cNvCxnSpPr>
          <p:nvPr/>
        </p:nvCxnSpPr>
        <p:spPr>
          <a:xfrm>
            <a:off x="3453422" y="5200864"/>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E8F14F-07DD-4EF7-A86C-F935724852AA}"/>
              </a:ext>
            </a:extLst>
          </p:cNvPr>
          <p:cNvCxnSpPr>
            <a:cxnSpLocks/>
          </p:cNvCxnSpPr>
          <p:nvPr/>
        </p:nvCxnSpPr>
        <p:spPr>
          <a:xfrm>
            <a:off x="7348664" y="5200864"/>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38354A4-B8AC-4D4B-9794-17A4DFA32FC8}"/>
              </a:ext>
            </a:extLst>
          </p:cNvPr>
          <p:cNvCxnSpPr>
            <a:cxnSpLocks/>
          </p:cNvCxnSpPr>
          <p:nvPr/>
        </p:nvCxnSpPr>
        <p:spPr>
          <a:xfrm>
            <a:off x="11240446" y="5200864"/>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524EAEC9-0AAA-44BF-9FB1-F8ED8D2DF168}"/>
              </a:ext>
            </a:extLst>
          </p:cNvPr>
          <p:cNvGrpSpPr/>
          <p:nvPr/>
        </p:nvGrpSpPr>
        <p:grpSpPr>
          <a:xfrm>
            <a:off x="3504167" y="4910070"/>
            <a:ext cx="401646" cy="196337"/>
            <a:chOff x="3056041" y="1944073"/>
            <a:chExt cx="6076202" cy="2970238"/>
          </a:xfrm>
          <a:solidFill>
            <a:schemeClr val="accent5"/>
          </a:solidFill>
        </p:grpSpPr>
        <p:sp>
          <p:nvSpPr>
            <p:cNvPr id="52" name="Rectangle 51">
              <a:extLst>
                <a:ext uri="{FF2B5EF4-FFF2-40B4-BE49-F238E27FC236}">
                  <a16:creationId xmlns:a16="http://schemas.microsoft.com/office/drawing/2014/main" id="{3327961D-CCFB-46E1-8A36-6B26733BAEFB}"/>
                </a:ext>
              </a:extLst>
            </p:cNvPr>
            <p:cNvSpPr/>
            <p:nvPr/>
          </p:nvSpPr>
          <p:spPr>
            <a:xfrm>
              <a:off x="3057823" y="1944073"/>
              <a:ext cx="6074420" cy="1031379"/>
            </a:xfrm>
            <a:prstGeom prst="rect">
              <a:avLst/>
            </a:prstGeom>
            <a:solidFill>
              <a:schemeClr val="accent5"/>
            </a:solidFill>
            <a:ln w="6697" cap="flat">
              <a:noFill/>
              <a:prstDash val="solid"/>
              <a:miter/>
            </a:ln>
          </p:spPr>
          <p:txBody>
            <a:bodyPr rtlCol="0" anchor="ctr"/>
            <a:lstStyle/>
            <a:p>
              <a:endParaRPr lang="en-IN"/>
            </a:p>
          </p:txBody>
        </p:sp>
        <p:sp>
          <p:nvSpPr>
            <p:cNvPr id="53" name="Rectangle 52">
              <a:extLst>
                <a:ext uri="{FF2B5EF4-FFF2-40B4-BE49-F238E27FC236}">
                  <a16:creationId xmlns:a16="http://schemas.microsoft.com/office/drawing/2014/main" id="{A2DB03A0-756C-4A56-8276-1930BDD5C933}"/>
                </a:ext>
              </a:extLst>
            </p:cNvPr>
            <p:cNvSpPr/>
            <p:nvPr/>
          </p:nvSpPr>
          <p:spPr>
            <a:xfrm>
              <a:off x="3056041" y="3876235"/>
              <a:ext cx="3911203" cy="1038076"/>
            </a:xfrm>
            <a:prstGeom prst="rect">
              <a:avLst/>
            </a:prstGeom>
            <a:solidFill>
              <a:schemeClr val="accent3"/>
            </a:solidFill>
            <a:ln w="6697" cap="flat">
              <a:noFill/>
              <a:prstDash val="solid"/>
              <a:miter/>
            </a:ln>
          </p:spPr>
          <p:txBody>
            <a:bodyPr rtlCol="0" anchor="ctr"/>
            <a:lstStyle/>
            <a:p>
              <a:endParaRPr lang="en-IN"/>
            </a:p>
          </p:txBody>
        </p:sp>
      </p:grpSp>
      <p:grpSp>
        <p:nvGrpSpPr>
          <p:cNvPr id="93" name="Group 92">
            <a:extLst>
              <a:ext uri="{FF2B5EF4-FFF2-40B4-BE49-F238E27FC236}">
                <a16:creationId xmlns:a16="http://schemas.microsoft.com/office/drawing/2014/main" id="{25050F91-E329-451F-88BC-480A54D4A31A}"/>
              </a:ext>
            </a:extLst>
          </p:cNvPr>
          <p:cNvGrpSpPr/>
          <p:nvPr/>
        </p:nvGrpSpPr>
        <p:grpSpPr>
          <a:xfrm>
            <a:off x="8877587" y="2411724"/>
            <a:ext cx="2714982" cy="780709"/>
            <a:chOff x="5122746" y="3514524"/>
            <a:chExt cx="2714982" cy="780709"/>
          </a:xfrm>
        </p:grpSpPr>
        <p:sp>
          <p:nvSpPr>
            <p:cNvPr id="94" name="Rectangle: Rounded Corners 93">
              <a:extLst>
                <a:ext uri="{FF2B5EF4-FFF2-40B4-BE49-F238E27FC236}">
                  <a16:creationId xmlns:a16="http://schemas.microsoft.com/office/drawing/2014/main" id="{E5E7A20E-2B94-4183-A8E5-7DC3113AD618}"/>
                </a:ext>
              </a:extLst>
            </p:cNvPr>
            <p:cNvSpPr/>
            <p:nvPr/>
          </p:nvSpPr>
          <p:spPr bwMode="auto">
            <a:xfrm>
              <a:off x="5339719" y="3514524"/>
              <a:ext cx="2498009" cy="78070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No problem. I can resolve this for you.</a:t>
              </a:r>
            </a:p>
          </p:txBody>
        </p:sp>
        <p:sp>
          <p:nvSpPr>
            <p:cNvPr id="95" name="Isosceles Triangle 94">
              <a:extLst>
                <a:ext uri="{FF2B5EF4-FFF2-40B4-BE49-F238E27FC236}">
                  <a16:creationId xmlns:a16="http://schemas.microsoft.com/office/drawing/2014/main" id="{B0FD23B4-2152-481A-82EC-EBC02297E9FF}"/>
                </a:ext>
              </a:extLst>
            </p:cNvPr>
            <p:cNvSpPr/>
            <p:nvPr/>
          </p:nvSpPr>
          <p:spPr bwMode="auto">
            <a:xfrm rot="16200000">
              <a:off x="5141157" y="359148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84">
            <a:extLst>
              <a:ext uri="{FF2B5EF4-FFF2-40B4-BE49-F238E27FC236}">
                <a16:creationId xmlns:a16="http://schemas.microsoft.com/office/drawing/2014/main" id="{E51DCB00-2CEA-4981-A50C-5FBB3F23D8EE}"/>
              </a:ext>
            </a:extLst>
          </p:cNvPr>
          <p:cNvGrpSpPr/>
          <p:nvPr/>
        </p:nvGrpSpPr>
        <p:grpSpPr>
          <a:xfrm>
            <a:off x="481714" y="2367575"/>
            <a:ext cx="344143" cy="344143"/>
            <a:chOff x="12510166" y="1289683"/>
            <a:chExt cx="685799" cy="685799"/>
          </a:xfrm>
        </p:grpSpPr>
        <p:sp>
          <p:nvSpPr>
            <p:cNvPr id="115" name="Oval 42">
              <a:extLst>
                <a:ext uri="{FF2B5EF4-FFF2-40B4-BE49-F238E27FC236}">
                  <a16:creationId xmlns:a16="http://schemas.microsoft.com/office/drawing/2014/main" id="{C7AC9415-1431-4B80-BE9D-9F5698F0B22C}"/>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6" name="Group 61">
              <a:extLst>
                <a:ext uri="{FF2B5EF4-FFF2-40B4-BE49-F238E27FC236}">
                  <a16:creationId xmlns:a16="http://schemas.microsoft.com/office/drawing/2014/main" id="{E7DAAA05-8E5D-42EE-B21E-D971D9AB47C5}"/>
                </a:ext>
              </a:extLst>
            </p:cNvPr>
            <p:cNvGrpSpPr/>
            <p:nvPr/>
          </p:nvGrpSpPr>
          <p:grpSpPr>
            <a:xfrm>
              <a:off x="12688064" y="1458670"/>
              <a:ext cx="330003" cy="347825"/>
              <a:chOff x="5084670" y="6673208"/>
              <a:chExt cx="2733675" cy="2881313"/>
            </a:xfrm>
          </p:grpSpPr>
          <p:sp>
            <p:nvSpPr>
              <p:cNvPr id="117" name="Freeform: Shape 116">
                <a:extLst>
                  <a:ext uri="{FF2B5EF4-FFF2-40B4-BE49-F238E27FC236}">
                    <a16:creationId xmlns:a16="http://schemas.microsoft.com/office/drawing/2014/main" id="{22F1F7A0-59D0-4333-AB49-B0B40A302129}"/>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8" name="Freeform: Shape 117">
                <a:extLst>
                  <a:ext uri="{FF2B5EF4-FFF2-40B4-BE49-F238E27FC236}">
                    <a16:creationId xmlns:a16="http://schemas.microsoft.com/office/drawing/2014/main" id="{772B0721-120F-4815-B41C-DEECB2AD45B9}"/>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19" name="Group 84">
            <a:extLst>
              <a:ext uri="{FF2B5EF4-FFF2-40B4-BE49-F238E27FC236}">
                <a16:creationId xmlns:a16="http://schemas.microsoft.com/office/drawing/2014/main" id="{36CA038C-A83F-40A2-883A-C7DE9085584A}"/>
              </a:ext>
            </a:extLst>
          </p:cNvPr>
          <p:cNvGrpSpPr/>
          <p:nvPr/>
        </p:nvGrpSpPr>
        <p:grpSpPr>
          <a:xfrm>
            <a:off x="4398964" y="2367575"/>
            <a:ext cx="344143" cy="344143"/>
            <a:chOff x="12510166" y="1289683"/>
            <a:chExt cx="685799" cy="685799"/>
          </a:xfrm>
        </p:grpSpPr>
        <p:sp>
          <p:nvSpPr>
            <p:cNvPr id="120" name="Oval 42">
              <a:extLst>
                <a:ext uri="{FF2B5EF4-FFF2-40B4-BE49-F238E27FC236}">
                  <a16:creationId xmlns:a16="http://schemas.microsoft.com/office/drawing/2014/main" id="{0B4F9191-885F-4382-9924-1AF047EDB7D7}"/>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1" name="Group 61">
              <a:extLst>
                <a:ext uri="{FF2B5EF4-FFF2-40B4-BE49-F238E27FC236}">
                  <a16:creationId xmlns:a16="http://schemas.microsoft.com/office/drawing/2014/main" id="{408F2172-BB0E-487B-98F8-24EC631D57A2}"/>
                </a:ext>
              </a:extLst>
            </p:cNvPr>
            <p:cNvGrpSpPr/>
            <p:nvPr/>
          </p:nvGrpSpPr>
          <p:grpSpPr>
            <a:xfrm>
              <a:off x="12688064" y="1458670"/>
              <a:ext cx="330003" cy="347825"/>
              <a:chOff x="5084670" y="6673208"/>
              <a:chExt cx="2733675" cy="2881313"/>
            </a:xfrm>
          </p:grpSpPr>
          <p:sp>
            <p:nvSpPr>
              <p:cNvPr id="122" name="Freeform: Shape 121">
                <a:extLst>
                  <a:ext uri="{FF2B5EF4-FFF2-40B4-BE49-F238E27FC236}">
                    <a16:creationId xmlns:a16="http://schemas.microsoft.com/office/drawing/2014/main" id="{4FA59E1F-35F6-4182-9E29-0E10684A15F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3" name="Freeform: Shape 122">
                <a:extLst>
                  <a:ext uri="{FF2B5EF4-FFF2-40B4-BE49-F238E27FC236}">
                    <a16:creationId xmlns:a16="http://schemas.microsoft.com/office/drawing/2014/main" id="{75333445-8D4A-40F6-A6C0-F05D27C8C3A8}"/>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24" name="Group 84">
            <a:extLst>
              <a:ext uri="{FF2B5EF4-FFF2-40B4-BE49-F238E27FC236}">
                <a16:creationId xmlns:a16="http://schemas.microsoft.com/office/drawing/2014/main" id="{1D79EBD8-F32E-4D30-9EB3-3A4645BFC830}"/>
              </a:ext>
            </a:extLst>
          </p:cNvPr>
          <p:cNvGrpSpPr/>
          <p:nvPr/>
        </p:nvGrpSpPr>
        <p:grpSpPr>
          <a:xfrm>
            <a:off x="8273716" y="2367575"/>
            <a:ext cx="344143" cy="344143"/>
            <a:chOff x="12510166" y="1289683"/>
            <a:chExt cx="685799" cy="685799"/>
          </a:xfrm>
        </p:grpSpPr>
        <p:sp>
          <p:nvSpPr>
            <p:cNvPr id="125" name="Oval 42">
              <a:extLst>
                <a:ext uri="{FF2B5EF4-FFF2-40B4-BE49-F238E27FC236}">
                  <a16:creationId xmlns:a16="http://schemas.microsoft.com/office/drawing/2014/main" id="{F356C24D-CC06-448F-93EC-2C2BA0A1CE05}"/>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6" name="Group 61">
              <a:extLst>
                <a:ext uri="{FF2B5EF4-FFF2-40B4-BE49-F238E27FC236}">
                  <a16:creationId xmlns:a16="http://schemas.microsoft.com/office/drawing/2014/main" id="{678EAA6F-6516-422E-B87C-4B9BAE7953B4}"/>
                </a:ext>
              </a:extLst>
            </p:cNvPr>
            <p:cNvGrpSpPr/>
            <p:nvPr/>
          </p:nvGrpSpPr>
          <p:grpSpPr>
            <a:xfrm>
              <a:off x="12688064" y="1458670"/>
              <a:ext cx="330003" cy="347825"/>
              <a:chOff x="5084670" y="6673208"/>
              <a:chExt cx="2733675" cy="2881313"/>
            </a:xfrm>
          </p:grpSpPr>
          <p:sp>
            <p:nvSpPr>
              <p:cNvPr id="127" name="Freeform: Shape 126">
                <a:extLst>
                  <a:ext uri="{FF2B5EF4-FFF2-40B4-BE49-F238E27FC236}">
                    <a16:creationId xmlns:a16="http://schemas.microsoft.com/office/drawing/2014/main" id="{1CF08FED-539F-48B6-A8C2-B2B6F01D533B}"/>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8" name="Freeform: Shape 127">
                <a:extLst>
                  <a:ext uri="{FF2B5EF4-FFF2-40B4-BE49-F238E27FC236}">
                    <a16:creationId xmlns:a16="http://schemas.microsoft.com/office/drawing/2014/main" id="{7B6C8FDB-F8B3-4D46-A038-7B6791FB4EC8}"/>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32" name="Group 87">
            <a:extLst>
              <a:ext uri="{FF2B5EF4-FFF2-40B4-BE49-F238E27FC236}">
                <a16:creationId xmlns:a16="http://schemas.microsoft.com/office/drawing/2014/main" id="{66ED942A-983F-4F7B-AFC7-9E67EB552CEB}"/>
              </a:ext>
            </a:extLst>
          </p:cNvPr>
          <p:cNvGrpSpPr/>
          <p:nvPr/>
        </p:nvGrpSpPr>
        <p:grpSpPr>
          <a:xfrm>
            <a:off x="930369" y="2411725"/>
            <a:ext cx="2721467" cy="541026"/>
            <a:chOff x="1235090" y="2513207"/>
            <a:chExt cx="2721467" cy="541026"/>
          </a:xfrm>
        </p:grpSpPr>
        <p:sp>
          <p:nvSpPr>
            <p:cNvPr id="133" name="Rectangle: Rounded Corners 132">
              <a:extLst>
                <a:ext uri="{FF2B5EF4-FFF2-40B4-BE49-F238E27FC236}">
                  <a16:creationId xmlns:a16="http://schemas.microsoft.com/office/drawing/2014/main" id="{62D22A0C-9483-478C-BC30-176B1F7D6E09}"/>
                </a:ext>
              </a:extLst>
            </p:cNvPr>
            <p:cNvSpPr/>
            <p:nvPr/>
          </p:nvSpPr>
          <p:spPr bwMode="auto">
            <a:xfrm>
              <a:off x="1447943" y="2513207"/>
              <a:ext cx="2508614" cy="541026"/>
            </a:xfrm>
            <a:prstGeom prst="roundRect">
              <a:avLst>
                <a:gd name="adj" fmla="val 10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Sounds great! Let me get that started for you.</a:t>
              </a:r>
            </a:p>
          </p:txBody>
        </p:sp>
        <p:sp>
          <p:nvSpPr>
            <p:cNvPr id="134" name="Isosceles Triangle 133">
              <a:extLst>
                <a:ext uri="{FF2B5EF4-FFF2-40B4-BE49-F238E27FC236}">
                  <a16:creationId xmlns:a16="http://schemas.microsoft.com/office/drawing/2014/main" id="{8E2E45E8-87F5-46BB-8AF6-CE1F677AA3CC}"/>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5" name="Group 87">
            <a:extLst>
              <a:ext uri="{FF2B5EF4-FFF2-40B4-BE49-F238E27FC236}">
                <a16:creationId xmlns:a16="http://schemas.microsoft.com/office/drawing/2014/main" id="{555407E1-EE4D-40C9-BF9B-C415C95318BD}"/>
              </a:ext>
            </a:extLst>
          </p:cNvPr>
          <p:cNvGrpSpPr/>
          <p:nvPr/>
        </p:nvGrpSpPr>
        <p:grpSpPr>
          <a:xfrm>
            <a:off x="4881726" y="2414030"/>
            <a:ext cx="2715534" cy="874280"/>
            <a:chOff x="1235090" y="2515512"/>
            <a:chExt cx="2715534" cy="874280"/>
          </a:xfrm>
        </p:grpSpPr>
        <p:sp>
          <p:nvSpPr>
            <p:cNvPr id="136" name="Rectangle: Rounded Corners 135">
              <a:extLst>
                <a:ext uri="{FF2B5EF4-FFF2-40B4-BE49-F238E27FC236}">
                  <a16:creationId xmlns:a16="http://schemas.microsoft.com/office/drawing/2014/main" id="{2C248CCD-49DF-42FB-9009-D5C496039239}"/>
                </a:ext>
              </a:extLst>
            </p:cNvPr>
            <p:cNvSpPr/>
            <p:nvPr/>
          </p:nvSpPr>
          <p:spPr bwMode="auto">
            <a:xfrm>
              <a:off x="1442010" y="2515512"/>
              <a:ext cx="2508614" cy="874280"/>
            </a:xfrm>
            <a:prstGeom prst="roundRect">
              <a:avLst>
                <a:gd name="adj" fmla="val 103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cs typeface="Segoe UI" pitchFamily="34" charset="0"/>
                </a:rPr>
                <a:t>Let’s get started. I have a couple questions. Should only take a minute.</a:t>
              </a:r>
            </a:p>
          </p:txBody>
        </p:sp>
        <p:sp>
          <p:nvSpPr>
            <p:cNvPr id="137" name="Isosceles Triangle 136">
              <a:extLst>
                <a:ext uri="{FF2B5EF4-FFF2-40B4-BE49-F238E27FC236}">
                  <a16:creationId xmlns:a16="http://schemas.microsoft.com/office/drawing/2014/main" id="{208D030B-6025-4B74-BAB6-2634840DECDF}"/>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9BAA9C57-E62C-41CC-8A29-BA72C792DD0A}"/>
              </a:ext>
            </a:extLst>
          </p:cNvPr>
          <p:cNvGrpSpPr/>
          <p:nvPr/>
        </p:nvGrpSpPr>
        <p:grpSpPr>
          <a:xfrm>
            <a:off x="7414941" y="4708854"/>
            <a:ext cx="464307" cy="402431"/>
            <a:chOff x="6455407" y="1490666"/>
            <a:chExt cx="900112" cy="780158"/>
          </a:xfrm>
        </p:grpSpPr>
        <p:sp>
          <p:nvSpPr>
            <p:cNvPr id="142" name="Freeform: Shape 141">
              <a:extLst>
                <a:ext uri="{FF2B5EF4-FFF2-40B4-BE49-F238E27FC236}">
                  <a16:creationId xmlns:a16="http://schemas.microsoft.com/office/drawing/2014/main" id="{7A5C2798-9FC0-466F-AD78-948D6D37B2A9}"/>
                </a:ext>
              </a:extLst>
            </p:cNvPr>
            <p:cNvSpPr/>
            <p:nvPr/>
          </p:nvSpPr>
          <p:spPr>
            <a:xfrm>
              <a:off x="6955469" y="1490666"/>
              <a:ext cx="400050" cy="400050"/>
            </a:xfrm>
            <a:custGeom>
              <a:avLst/>
              <a:gdLst>
                <a:gd name="connsiteX0" fmla="*/ 202883 w 400050"/>
                <a:gd name="connsiteY0" fmla="*/ 0 h 400050"/>
                <a:gd name="connsiteX1" fmla="*/ 0 w 400050"/>
                <a:gd name="connsiteY1" fmla="*/ 201930 h 400050"/>
                <a:gd name="connsiteX2" fmla="*/ 201930 w 400050"/>
                <a:gd name="connsiteY2" fmla="*/ 403860 h 400050"/>
                <a:gd name="connsiteX3" fmla="*/ 403860 w 400050"/>
                <a:gd name="connsiteY3" fmla="*/ 201930 h 400050"/>
                <a:gd name="connsiteX4" fmla="*/ 202883 w 400050"/>
                <a:gd name="connsiteY4" fmla="*/ 0 h 400050"/>
                <a:gd name="connsiteX5" fmla="*/ 267653 w 400050"/>
                <a:gd name="connsiteY5" fmla="*/ 228600 h 400050"/>
                <a:gd name="connsiteX6" fmla="*/ 229552 w 400050"/>
                <a:gd name="connsiteY6" fmla="*/ 228600 h 400050"/>
                <a:gd name="connsiteX7" fmla="*/ 229552 w 400050"/>
                <a:gd name="connsiteY7" fmla="*/ 266700 h 400050"/>
                <a:gd name="connsiteX8" fmla="*/ 202883 w 400050"/>
                <a:gd name="connsiteY8" fmla="*/ 293370 h 400050"/>
                <a:gd name="connsiteX9" fmla="*/ 176213 w 400050"/>
                <a:gd name="connsiteY9" fmla="*/ 266700 h 400050"/>
                <a:gd name="connsiteX10" fmla="*/ 176213 w 400050"/>
                <a:gd name="connsiteY10" fmla="*/ 228600 h 400050"/>
                <a:gd name="connsiteX11" fmla="*/ 138113 w 400050"/>
                <a:gd name="connsiteY11" fmla="*/ 228600 h 400050"/>
                <a:gd name="connsiteX12" fmla="*/ 111442 w 400050"/>
                <a:gd name="connsiteY12" fmla="*/ 201930 h 400050"/>
                <a:gd name="connsiteX13" fmla="*/ 138113 w 400050"/>
                <a:gd name="connsiteY13" fmla="*/ 175260 h 400050"/>
                <a:gd name="connsiteX14" fmla="*/ 176213 w 400050"/>
                <a:gd name="connsiteY14" fmla="*/ 175260 h 400050"/>
                <a:gd name="connsiteX15" fmla="*/ 176213 w 400050"/>
                <a:gd name="connsiteY15" fmla="*/ 137160 h 400050"/>
                <a:gd name="connsiteX16" fmla="*/ 202883 w 400050"/>
                <a:gd name="connsiteY16" fmla="*/ 110490 h 400050"/>
                <a:gd name="connsiteX17" fmla="*/ 229552 w 400050"/>
                <a:gd name="connsiteY17" fmla="*/ 137160 h 400050"/>
                <a:gd name="connsiteX18" fmla="*/ 229552 w 400050"/>
                <a:gd name="connsiteY18" fmla="*/ 175260 h 400050"/>
                <a:gd name="connsiteX19" fmla="*/ 267653 w 400050"/>
                <a:gd name="connsiteY19" fmla="*/ 175260 h 400050"/>
                <a:gd name="connsiteX20" fmla="*/ 294323 w 400050"/>
                <a:gd name="connsiteY20" fmla="*/ 201930 h 400050"/>
                <a:gd name="connsiteX21" fmla="*/ 267653 w 400050"/>
                <a:gd name="connsiteY21" fmla="*/ 22860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050" h="400050">
                  <a:moveTo>
                    <a:pt x="202883" y="0"/>
                  </a:moveTo>
                  <a:cubicBezTo>
                    <a:pt x="91440" y="0"/>
                    <a:pt x="0" y="90487"/>
                    <a:pt x="0" y="201930"/>
                  </a:cubicBezTo>
                  <a:cubicBezTo>
                    <a:pt x="0" y="313373"/>
                    <a:pt x="90488" y="403860"/>
                    <a:pt x="201930" y="403860"/>
                  </a:cubicBezTo>
                  <a:cubicBezTo>
                    <a:pt x="313373" y="403860"/>
                    <a:pt x="403860" y="313373"/>
                    <a:pt x="403860" y="201930"/>
                  </a:cubicBezTo>
                  <a:cubicBezTo>
                    <a:pt x="404813" y="90487"/>
                    <a:pt x="314325" y="0"/>
                    <a:pt x="202883" y="0"/>
                  </a:cubicBezTo>
                  <a:close/>
                  <a:moveTo>
                    <a:pt x="267653" y="228600"/>
                  </a:moveTo>
                  <a:lnTo>
                    <a:pt x="229552" y="228600"/>
                  </a:lnTo>
                  <a:lnTo>
                    <a:pt x="229552" y="266700"/>
                  </a:lnTo>
                  <a:cubicBezTo>
                    <a:pt x="229552" y="280988"/>
                    <a:pt x="217170" y="293370"/>
                    <a:pt x="202883" y="293370"/>
                  </a:cubicBezTo>
                  <a:cubicBezTo>
                    <a:pt x="188595" y="293370"/>
                    <a:pt x="176213" y="280988"/>
                    <a:pt x="176213" y="266700"/>
                  </a:cubicBezTo>
                  <a:lnTo>
                    <a:pt x="176213" y="228600"/>
                  </a:lnTo>
                  <a:lnTo>
                    <a:pt x="138113" y="228600"/>
                  </a:lnTo>
                  <a:cubicBezTo>
                    <a:pt x="123825" y="228600"/>
                    <a:pt x="111442" y="216218"/>
                    <a:pt x="111442" y="201930"/>
                  </a:cubicBezTo>
                  <a:cubicBezTo>
                    <a:pt x="111442" y="187643"/>
                    <a:pt x="123825" y="175260"/>
                    <a:pt x="138113" y="175260"/>
                  </a:cubicBezTo>
                  <a:lnTo>
                    <a:pt x="176213" y="175260"/>
                  </a:lnTo>
                  <a:lnTo>
                    <a:pt x="176213" y="137160"/>
                  </a:lnTo>
                  <a:cubicBezTo>
                    <a:pt x="176213" y="122873"/>
                    <a:pt x="188595" y="110490"/>
                    <a:pt x="202883" y="110490"/>
                  </a:cubicBezTo>
                  <a:cubicBezTo>
                    <a:pt x="217170" y="110490"/>
                    <a:pt x="229552" y="122873"/>
                    <a:pt x="229552" y="137160"/>
                  </a:cubicBezTo>
                  <a:lnTo>
                    <a:pt x="229552" y="175260"/>
                  </a:lnTo>
                  <a:lnTo>
                    <a:pt x="267653" y="175260"/>
                  </a:lnTo>
                  <a:cubicBezTo>
                    <a:pt x="281940" y="175260"/>
                    <a:pt x="294323" y="187643"/>
                    <a:pt x="294323" y="201930"/>
                  </a:cubicBezTo>
                  <a:cubicBezTo>
                    <a:pt x="294323" y="217170"/>
                    <a:pt x="282892" y="228600"/>
                    <a:pt x="267653" y="22860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IN" sz="1836">
                <a:solidFill>
                  <a:srgbClr val="3C3C41"/>
                </a:solidFill>
                <a:latin typeface="Segoe UI"/>
              </a:endParaRPr>
            </a:p>
          </p:txBody>
        </p:sp>
        <p:sp>
          <p:nvSpPr>
            <p:cNvPr id="143" name="Freeform: Shape 142">
              <a:extLst>
                <a:ext uri="{FF2B5EF4-FFF2-40B4-BE49-F238E27FC236}">
                  <a16:creationId xmlns:a16="http://schemas.microsoft.com/office/drawing/2014/main" id="{BD6C235F-871C-4960-AAC7-6E32A4BD3CD8}"/>
                </a:ext>
              </a:extLst>
            </p:cNvPr>
            <p:cNvSpPr/>
            <p:nvPr/>
          </p:nvSpPr>
          <p:spPr>
            <a:xfrm>
              <a:off x="6646859" y="1718374"/>
              <a:ext cx="400050" cy="552450"/>
            </a:xfrm>
            <a:custGeom>
              <a:avLst/>
              <a:gdLst>
                <a:gd name="connsiteX0" fmla="*/ 403860 w 400050"/>
                <a:gd name="connsiteY0" fmla="*/ 252352 h 552450"/>
                <a:gd name="connsiteX1" fmla="*/ 360045 w 400050"/>
                <a:gd name="connsiteY1" fmla="*/ 208537 h 552450"/>
                <a:gd name="connsiteX2" fmla="*/ 221933 w 400050"/>
                <a:gd name="connsiteY2" fmla="*/ 208537 h 552450"/>
                <a:gd name="connsiteX3" fmla="*/ 209550 w 400050"/>
                <a:gd name="connsiteY3" fmla="*/ 194250 h 552450"/>
                <a:gd name="connsiteX4" fmla="*/ 237173 w 400050"/>
                <a:gd name="connsiteY4" fmla="*/ 51375 h 552450"/>
                <a:gd name="connsiteX5" fmla="*/ 145733 w 400050"/>
                <a:gd name="connsiteY5" fmla="*/ 36135 h 552450"/>
                <a:gd name="connsiteX6" fmla="*/ 9525 w 400050"/>
                <a:gd name="connsiteY6" fmla="*/ 229492 h 552450"/>
                <a:gd name="connsiteX7" fmla="*/ 0 w 400050"/>
                <a:gd name="connsiteY7" fmla="*/ 247590 h 552450"/>
                <a:gd name="connsiteX8" fmla="*/ 0 w 400050"/>
                <a:gd name="connsiteY8" fmla="*/ 495240 h 552450"/>
                <a:gd name="connsiteX9" fmla="*/ 13335 w 400050"/>
                <a:gd name="connsiteY9" fmla="*/ 515242 h 552450"/>
                <a:gd name="connsiteX10" fmla="*/ 180023 w 400050"/>
                <a:gd name="connsiteY10" fmla="*/ 557152 h 552450"/>
                <a:gd name="connsiteX11" fmla="*/ 339090 w 400050"/>
                <a:gd name="connsiteY11" fmla="*/ 557152 h 552450"/>
                <a:gd name="connsiteX12" fmla="*/ 382905 w 400050"/>
                <a:gd name="connsiteY12" fmla="*/ 513337 h 552450"/>
                <a:gd name="connsiteX13" fmla="*/ 339090 w 400050"/>
                <a:gd name="connsiteY13" fmla="*/ 469522 h 552450"/>
                <a:gd name="connsiteX14" fmla="*/ 343853 w 400050"/>
                <a:gd name="connsiteY14" fmla="*/ 469522 h 552450"/>
                <a:gd name="connsiteX15" fmla="*/ 388620 w 400050"/>
                <a:gd name="connsiteY15" fmla="*/ 431422 h 552450"/>
                <a:gd name="connsiteX16" fmla="*/ 345758 w 400050"/>
                <a:gd name="connsiteY16" fmla="*/ 381892 h 552450"/>
                <a:gd name="connsiteX17" fmla="*/ 350520 w 400050"/>
                <a:gd name="connsiteY17" fmla="*/ 381892 h 552450"/>
                <a:gd name="connsiteX18" fmla="*/ 395287 w 400050"/>
                <a:gd name="connsiteY18" fmla="*/ 343792 h 552450"/>
                <a:gd name="connsiteX19" fmla="*/ 352425 w 400050"/>
                <a:gd name="connsiteY19" fmla="*/ 294262 h 552450"/>
                <a:gd name="connsiteX20" fmla="*/ 359093 w 400050"/>
                <a:gd name="connsiteY20" fmla="*/ 294262 h 552450"/>
                <a:gd name="connsiteX21" fmla="*/ 403860 w 400050"/>
                <a:gd name="connsiteY21" fmla="*/ 252352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050" h="552450">
                  <a:moveTo>
                    <a:pt x="403860" y="252352"/>
                  </a:moveTo>
                  <a:cubicBezTo>
                    <a:pt x="403860" y="228540"/>
                    <a:pt x="383858" y="208537"/>
                    <a:pt x="360045" y="208537"/>
                  </a:cubicBezTo>
                  <a:lnTo>
                    <a:pt x="221933" y="208537"/>
                  </a:lnTo>
                  <a:cubicBezTo>
                    <a:pt x="213360" y="208537"/>
                    <a:pt x="208598" y="201870"/>
                    <a:pt x="209550" y="194250"/>
                  </a:cubicBezTo>
                  <a:cubicBezTo>
                    <a:pt x="219075" y="134242"/>
                    <a:pt x="231458" y="114240"/>
                    <a:pt x="237173" y="51375"/>
                  </a:cubicBezTo>
                  <a:cubicBezTo>
                    <a:pt x="242887" y="-8633"/>
                    <a:pt x="158115" y="-19110"/>
                    <a:pt x="145733" y="36135"/>
                  </a:cubicBezTo>
                  <a:cubicBezTo>
                    <a:pt x="122873" y="139005"/>
                    <a:pt x="37147" y="208537"/>
                    <a:pt x="9525" y="229492"/>
                  </a:cubicBezTo>
                  <a:cubicBezTo>
                    <a:pt x="3810" y="233302"/>
                    <a:pt x="0" y="239970"/>
                    <a:pt x="0" y="247590"/>
                  </a:cubicBezTo>
                  <a:lnTo>
                    <a:pt x="0" y="495240"/>
                  </a:lnTo>
                  <a:cubicBezTo>
                    <a:pt x="0" y="503812"/>
                    <a:pt x="5715" y="512385"/>
                    <a:pt x="13335" y="515242"/>
                  </a:cubicBezTo>
                  <a:cubicBezTo>
                    <a:pt x="43815" y="528577"/>
                    <a:pt x="78105" y="557152"/>
                    <a:pt x="180023" y="557152"/>
                  </a:cubicBezTo>
                  <a:cubicBezTo>
                    <a:pt x="242887" y="557152"/>
                    <a:pt x="339090" y="557152"/>
                    <a:pt x="339090" y="557152"/>
                  </a:cubicBezTo>
                  <a:cubicBezTo>
                    <a:pt x="362903" y="557152"/>
                    <a:pt x="382905" y="537150"/>
                    <a:pt x="382905" y="513337"/>
                  </a:cubicBezTo>
                  <a:cubicBezTo>
                    <a:pt x="382905" y="489525"/>
                    <a:pt x="362903" y="469522"/>
                    <a:pt x="339090" y="469522"/>
                  </a:cubicBezTo>
                  <a:lnTo>
                    <a:pt x="343853" y="469522"/>
                  </a:lnTo>
                  <a:cubicBezTo>
                    <a:pt x="365760" y="469522"/>
                    <a:pt x="385762" y="453330"/>
                    <a:pt x="388620" y="431422"/>
                  </a:cubicBezTo>
                  <a:cubicBezTo>
                    <a:pt x="392430" y="404752"/>
                    <a:pt x="371475" y="381892"/>
                    <a:pt x="345758" y="381892"/>
                  </a:cubicBezTo>
                  <a:lnTo>
                    <a:pt x="350520" y="381892"/>
                  </a:lnTo>
                  <a:cubicBezTo>
                    <a:pt x="372428" y="381892"/>
                    <a:pt x="392430" y="365700"/>
                    <a:pt x="395287" y="343792"/>
                  </a:cubicBezTo>
                  <a:cubicBezTo>
                    <a:pt x="399098" y="317122"/>
                    <a:pt x="378143" y="294262"/>
                    <a:pt x="352425" y="294262"/>
                  </a:cubicBezTo>
                  <a:lnTo>
                    <a:pt x="359093" y="294262"/>
                  </a:lnTo>
                  <a:cubicBezTo>
                    <a:pt x="383858" y="296167"/>
                    <a:pt x="403860" y="277117"/>
                    <a:pt x="403860" y="25235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IN" sz="1836">
                <a:solidFill>
                  <a:srgbClr val="3C3C41"/>
                </a:solidFill>
                <a:latin typeface="Segoe UI"/>
              </a:endParaRPr>
            </a:p>
          </p:txBody>
        </p:sp>
        <p:sp>
          <p:nvSpPr>
            <p:cNvPr id="144" name="Freeform: Shape 143">
              <a:extLst>
                <a:ext uri="{FF2B5EF4-FFF2-40B4-BE49-F238E27FC236}">
                  <a16:creationId xmlns:a16="http://schemas.microsoft.com/office/drawing/2014/main" id="{685A9264-1D92-4F66-9AA3-98598F953486}"/>
                </a:ext>
              </a:extLst>
            </p:cNvPr>
            <p:cNvSpPr/>
            <p:nvPr/>
          </p:nvSpPr>
          <p:spPr>
            <a:xfrm>
              <a:off x="6455407" y="1954534"/>
              <a:ext cx="142875" cy="266700"/>
            </a:xfrm>
            <a:custGeom>
              <a:avLst/>
              <a:gdLst>
                <a:gd name="connsiteX0" fmla="*/ 128588 w 142875"/>
                <a:gd name="connsiteY0" fmla="*/ 0 h 266700"/>
                <a:gd name="connsiteX1" fmla="*/ 21908 w 142875"/>
                <a:gd name="connsiteY1" fmla="*/ 0 h 266700"/>
                <a:gd name="connsiteX2" fmla="*/ 0 w 142875"/>
                <a:gd name="connsiteY2" fmla="*/ 21907 h 266700"/>
                <a:gd name="connsiteX3" fmla="*/ 0 w 142875"/>
                <a:gd name="connsiteY3" fmla="*/ 251460 h 266700"/>
                <a:gd name="connsiteX4" fmla="*/ 21908 w 142875"/>
                <a:gd name="connsiteY4" fmla="*/ 273367 h 266700"/>
                <a:gd name="connsiteX5" fmla="*/ 128588 w 142875"/>
                <a:gd name="connsiteY5" fmla="*/ 273367 h 266700"/>
                <a:gd name="connsiteX6" fmla="*/ 150495 w 142875"/>
                <a:gd name="connsiteY6" fmla="*/ 251460 h 266700"/>
                <a:gd name="connsiteX7" fmla="*/ 150495 w 142875"/>
                <a:gd name="connsiteY7" fmla="*/ 21907 h 266700"/>
                <a:gd name="connsiteX8" fmla="*/ 128588 w 142875"/>
                <a:gd name="connsiteY8"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266700">
                  <a:moveTo>
                    <a:pt x="128588" y="0"/>
                  </a:moveTo>
                  <a:lnTo>
                    <a:pt x="21908" y="0"/>
                  </a:lnTo>
                  <a:cubicBezTo>
                    <a:pt x="9525" y="0"/>
                    <a:pt x="0" y="9525"/>
                    <a:pt x="0" y="21907"/>
                  </a:cubicBezTo>
                  <a:lnTo>
                    <a:pt x="0" y="251460"/>
                  </a:lnTo>
                  <a:cubicBezTo>
                    <a:pt x="0" y="263842"/>
                    <a:pt x="9525" y="273367"/>
                    <a:pt x="21908" y="273367"/>
                  </a:cubicBezTo>
                  <a:lnTo>
                    <a:pt x="128588" y="273367"/>
                  </a:lnTo>
                  <a:cubicBezTo>
                    <a:pt x="140970" y="273367"/>
                    <a:pt x="150495" y="263842"/>
                    <a:pt x="150495" y="251460"/>
                  </a:cubicBezTo>
                  <a:lnTo>
                    <a:pt x="150495" y="21907"/>
                  </a:lnTo>
                  <a:cubicBezTo>
                    <a:pt x="151448" y="9525"/>
                    <a:pt x="140970" y="0"/>
                    <a:pt x="128588"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IN" sz="1836">
                <a:solidFill>
                  <a:srgbClr val="3C3C41"/>
                </a:solidFill>
                <a:latin typeface="Segoe UI"/>
              </a:endParaRPr>
            </a:p>
          </p:txBody>
        </p:sp>
      </p:grpSp>
      <p:grpSp>
        <p:nvGrpSpPr>
          <p:cNvPr id="148" name="Group 147">
            <a:extLst>
              <a:ext uri="{FF2B5EF4-FFF2-40B4-BE49-F238E27FC236}">
                <a16:creationId xmlns:a16="http://schemas.microsoft.com/office/drawing/2014/main" id="{F480A25C-CD40-4204-908D-FE98760E8E0C}"/>
              </a:ext>
            </a:extLst>
          </p:cNvPr>
          <p:cNvGrpSpPr/>
          <p:nvPr/>
        </p:nvGrpSpPr>
        <p:grpSpPr>
          <a:xfrm>
            <a:off x="11328273" y="4720661"/>
            <a:ext cx="442751" cy="327826"/>
            <a:chOff x="3667293" y="3101803"/>
            <a:chExt cx="465772" cy="346860"/>
          </a:xfrm>
        </p:grpSpPr>
        <p:sp>
          <p:nvSpPr>
            <p:cNvPr id="149" name="Freeform: Shape 148">
              <a:extLst>
                <a:ext uri="{FF2B5EF4-FFF2-40B4-BE49-F238E27FC236}">
                  <a16:creationId xmlns:a16="http://schemas.microsoft.com/office/drawing/2014/main" id="{617EC02B-9EE8-43EA-886E-8F8E15558715}"/>
                </a:ext>
              </a:extLst>
            </p:cNvPr>
            <p:cNvSpPr/>
            <p:nvPr/>
          </p:nvSpPr>
          <p:spPr>
            <a:xfrm>
              <a:off x="3833028" y="3101803"/>
              <a:ext cx="190500" cy="314325"/>
            </a:xfrm>
            <a:custGeom>
              <a:avLst/>
              <a:gdLst>
                <a:gd name="connsiteX0" fmla="*/ 174784 w 190500"/>
                <a:gd name="connsiteY0" fmla="*/ 8485 h 314325"/>
                <a:gd name="connsiteX1" fmla="*/ 7144 w 190500"/>
                <a:gd name="connsiteY1" fmla="*/ 90400 h 314325"/>
                <a:gd name="connsiteX2" fmla="*/ 7144 w 190500"/>
                <a:gd name="connsiteY2" fmla="*/ 230417 h 314325"/>
                <a:gd name="connsiteX3" fmla="*/ 174784 w 190500"/>
                <a:gd name="connsiteY3" fmla="*/ 312332 h 314325"/>
                <a:gd name="connsiteX4" fmla="*/ 190024 w 190500"/>
                <a:gd name="connsiteY4" fmla="*/ 304712 h 314325"/>
                <a:gd name="connsiteX5" fmla="*/ 190024 w 190500"/>
                <a:gd name="connsiteY5" fmla="*/ 17057 h 314325"/>
                <a:gd name="connsiteX6" fmla="*/ 174784 w 190500"/>
                <a:gd name="connsiteY6" fmla="*/ 848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314325">
                  <a:moveTo>
                    <a:pt x="174784" y="8485"/>
                  </a:moveTo>
                  <a:cubicBezTo>
                    <a:pt x="166211" y="13247"/>
                    <a:pt x="95726" y="69445"/>
                    <a:pt x="7144" y="90400"/>
                  </a:cubicBezTo>
                  <a:lnTo>
                    <a:pt x="7144" y="230417"/>
                  </a:lnTo>
                  <a:cubicBezTo>
                    <a:pt x="95726" y="251372"/>
                    <a:pt x="154781" y="299950"/>
                    <a:pt x="174784" y="312332"/>
                  </a:cubicBezTo>
                  <a:cubicBezTo>
                    <a:pt x="181451" y="317095"/>
                    <a:pt x="190024" y="312332"/>
                    <a:pt x="190024" y="304712"/>
                  </a:cubicBezTo>
                  <a:lnTo>
                    <a:pt x="190024" y="17057"/>
                  </a:lnTo>
                  <a:cubicBezTo>
                    <a:pt x="189071" y="9437"/>
                    <a:pt x="180499" y="4675"/>
                    <a:pt x="174784" y="8485"/>
                  </a:cubicBezTo>
                  <a:close/>
                </a:path>
              </a:pathLst>
            </a:custGeom>
            <a:solidFill>
              <a:srgbClr val="00E7C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schemeClr val="lt1"/>
                </a:solidFill>
              </a:endParaRPr>
            </a:p>
          </p:txBody>
        </p:sp>
        <p:sp>
          <p:nvSpPr>
            <p:cNvPr id="150" name="Freeform: Shape 149">
              <a:extLst>
                <a:ext uri="{FF2B5EF4-FFF2-40B4-BE49-F238E27FC236}">
                  <a16:creationId xmlns:a16="http://schemas.microsoft.com/office/drawing/2014/main" id="{A0D1687E-1F67-4689-A986-0A4011C4AA1D}"/>
                </a:ext>
              </a:extLst>
            </p:cNvPr>
            <p:cNvSpPr/>
            <p:nvPr/>
          </p:nvSpPr>
          <p:spPr>
            <a:xfrm>
              <a:off x="3707298" y="3334363"/>
              <a:ext cx="76200" cy="114300"/>
            </a:xfrm>
            <a:custGeom>
              <a:avLst/>
              <a:gdLst>
                <a:gd name="connsiteX0" fmla="*/ 7144 w 76200"/>
                <a:gd name="connsiteY0" fmla="*/ 7382 h 114300"/>
                <a:gd name="connsiteX1" fmla="*/ 7144 w 76200"/>
                <a:gd name="connsiteY1" fmla="*/ 74057 h 114300"/>
                <a:gd name="connsiteX2" fmla="*/ 40481 w 76200"/>
                <a:gd name="connsiteY2" fmla="*/ 107394 h 114300"/>
                <a:gd name="connsiteX3" fmla="*/ 73819 w 76200"/>
                <a:gd name="connsiteY3" fmla="*/ 74057 h 114300"/>
                <a:gd name="connsiteX4" fmla="*/ 73819 w 76200"/>
                <a:gd name="connsiteY4" fmla="*/ 8334 h 114300"/>
                <a:gd name="connsiteX5" fmla="*/ 72866 w 76200"/>
                <a:gd name="connsiteY5" fmla="*/ 8334 h 114300"/>
                <a:gd name="connsiteX6" fmla="*/ 7144 w 76200"/>
                <a:gd name="connsiteY6" fmla="*/ 738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14300">
                  <a:moveTo>
                    <a:pt x="7144" y="7382"/>
                  </a:moveTo>
                  <a:lnTo>
                    <a:pt x="7144" y="74057"/>
                  </a:lnTo>
                  <a:cubicBezTo>
                    <a:pt x="7144" y="92154"/>
                    <a:pt x="22384" y="107394"/>
                    <a:pt x="40481" y="107394"/>
                  </a:cubicBezTo>
                  <a:cubicBezTo>
                    <a:pt x="58579" y="107394"/>
                    <a:pt x="73819" y="92154"/>
                    <a:pt x="73819" y="74057"/>
                  </a:cubicBezTo>
                  <a:lnTo>
                    <a:pt x="73819" y="8334"/>
                  </a:lnTo>
                  <a:cubicBezTo>
                    <a:pt x="73819" y="8334"/>
                    <a:pt x="72866" y="8334"/>
                    <a:pt x="72866" y="8334"/>
                  </a:cubicBezTo>
                  <a:cubicBezTo>
                    <a:pt x="44291" y="6429"/>
                    <a:pt x="30004" y="7382"/>
                    <a:pt x="7144" y="7382"/>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schemeClr val="lt1"/>
                </a:solidFill>
              </a:endParaRPr>
            </a:p>
          </p:txBody>
        </p:sp>
        <p:sp>
          <p:nvSpPr>
            <p:cNvPr id="151" name="Freeform: Shape 150">
              <a:extLst>
                <a:ext uri="{FF2B5EF4-FFF2-40B4-BE49-F238E27FC236}">
                  <a16:creationId xmlns:a16="http://schemas.microsoft.com/office/drawing/2014/main" id="{4CBC3840-250C-49E2-AECC-ABAE6605090C}"/>
                </a:ext>
              </a:extLst>
            </p:cNvPr>
            <p:cNvSpPr/>
            <p:nvPr/>
          </p:nvSpPr>
          <p:spPr>
            <a:xfrm>
              <a:off x="3667293" y="3188869"/>
              <a:ext cx="152400" cy="142875"/>
            </a:xfrm>
            <a:custGeom>
              <a:avLst/>
              <a:gdLst>
                <a:gd name="connsiteX0" fmla="*/ 153829 w 152400"/>
                <a:gd name="connsiteY0" fmla="*/ 139541 h 142875"/>
                <a:gd name="connsiteX1" fmla="*/ 153829 w 152400"/>
                <a:gd name="connsiteY1" fmla="*/ 7144 h 142875"/>
                <a:gd name="connsiteX2" fmla="*/ 26194 w 152400"/>
                <a:gd name="connsiteY2" fmla="*/ 12859 h 142875"/>
                <a:gd name="connsiteX3" fmla="*/ 7144 w 152400"/>
                <a:gd name="connsiteY3" fmla="*/ 31909 h 142875"/>
                <a:gd name="connsiteX4" fmla="*/ 7144 w 152400"/>
                <a:gd name="connsiteY4" fmla="*/ 114776 h 142875"/>
                <a:gd name="connsiteX5" fmla="*/ 26194 w 152400"/>
                <a:gd name="connsiteY5" fmla="*/ 133826 h 142875"/>
                <a:gd name="connsiteX6" fmla="*/ 153829 w 152400"/>
                <a:gd name="connsiteY6" fmla="*/ 13954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42875">
                  <a:moveTo>
                    <a:pt x="153829" y="139541"/>
                  </a:moveTo>
                  <a:lnTo>
                    <a:pt x="153829" y="7144"/>
                  </a:lnTo>
                  <a:cubicBezTo>
                    <a:pt x="104299" y="15716"/>
                    <a:pt x="68104" y="12859"/>
                    <a:pt x="26194" y="12859"/>
                  </a:cubicBezTo>
                  <a:cubicBezTo>
                    <a:pt x="15716" y="12859"/>
                    <a:pt x="7144" y="21431"/>
                    <a:pt x="7144" y="31909"/>
                  </a:cubicBezTo>
                  <a:lnTo>
                    <a:pt x="7144" y="114776"/>
                  </a:lnTo>
                  <a:cubicBezTo>
                    <a:pt x="7144" y="125254"/>
                    <a:pt x="15716" y="133826"/>
                    <a:pt x="26194" y="133826"/>
                  </a:cubicBezTo>
                  <a:cubicBezTo>
                    <a:pt x="79534" y="133826"/>
                    <a:pt x="110014" y="131921"/>
                    <a:pt x="153829" y="139541"/>
                  </a:cubicBezTo>
                  <a:close/>
                </a:path>
              </a:pathLst>
            </a:custGeom>
            <a:solidFill>
              <a:srgbClr val="00E7C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schemeClr val="lt1"/>
                </a:solidFill>
              </a:endParaRPr>
            </a:p>
          </p:txBody>
        </p:sp>
        <p:sp>
          <p:nvSpPr>
            <p:cNvPr id="152" name="Freeform: Shape 151">
              <a:extLst>
                <a:ext uri="{FF2B5EF4-FFF2-40B4-BE49-F238E27FC236}">
                  <a16:creationId xmlns:a16="http://schemas.microsoft.com/office/drawing/2014/main" id="{B7C3A24C-E468-4A58-8076-E50A6794811F}"/>
                </a:ext>
              </a:extLst>
            </p:cNvPr>
            <p:cNvSpPr/>
            <p:nvPr/>
          </p:nvSpPr>
          <p:spPr>
            <a:xfrm>
              <a:off x="4075915" y="3186011"/>
              <a:ext cx="57150" cy="152400"/>
            </a:xfrm>
            <a:custGeom>
              <a:avLst/>
              <a:gdLst>
                <a:gd name="connsiteX0" fmla="*/ 23336 w 57150"/>
                <a:gd name="connsiteY0" fmla="*/ 10001 h 152400"/>
                <a:gd name="connsiteX1" fmla="*/ 10001 w 57150"/>
                <a:gd name="connsiteY1" fmla="*/ 10001 h 152400"/>
                <a:gd name="connsiteX2" fmla="*/ 10001 w 57150"/>
                <a:gd name="connsiteY2" fmla="*/ 23336 h 152400"/>
                <a:gd name="connsiteX3" fmla="*/ 10001 w 57150"/>
                <a:gd name="connsiteY3" fmla="*/ 130969 h 152400"/>
                <a:gd name="connsiteX4" fmla="*/ 10001 w 57150"/>
                <a:gd name="connsiteY4" fmla="*/ 144304 h 152400"/>
                <a:gd name="connsiteX5" fmla="*/ 23336 w 57150"/>
                <a:gd name="connsiteY5" fmla="*/ 144304 h 152400"/>
                <a:gd name="connsiteX6" fmla="*/ 23336 w 57150"/>
                <a:gd name="connsiteY6" fmla="*/ 1000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52400">
                  <a:moveTo>
                    <a:pt x="23336" y="10001"/>
                  </a:moveTo>
                  <a:cubicBezTo>
                    <a:pt x="19526" y="6191"/>
                    <a:pt x="13811" y="6191"/>
                    <a:pt x="10001" y="10001"/>
                  </a:cubicBezTo>
                  <a:cubicBezTo>
                    <a:pt x="6191" y="13811"/>
                    <a:pt x="6191" y="19526"/>
                    <a:pt x="10001" y="23336"/>
                  </a:cubicBezTo>
                  <a:cubicBezTo>
                    <a:pt x="39529" y="52864"/>
                    <a:pt x="39529" y="101441"/>
                    <a:pt x="10001" y="130969"/>
                  </a:cubicBezTo>
                  <a:cubicBezTo>
                    <a:pt x="6191" y="134779"/>
                    <a:pt x="6191" y="140494"/>
                    <a:pt x="10001" y="144304"/>
                  </a:cubicBezTo>
                  <a:cubicBezTo>
                    <a:pt x="13811" y="148114"/>
                    <a:pt x="19526" y="148114"/>
                    <a:pt x="23336" y="144304"/>
                  </a:cubicBezTo>
                  <a:cubicBezTo>
                    <a:pt x="60484" y="107156"/>
                    <a:pt x="60484" y="47149"/>
                    <a:pt x="23336" y="1000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schemeClr val="lt1"/>
                </a:solidFill>
              </a:endParaRPr>
            </a:p>
          </p:txBody>
        </p:sp>
        <p:sp>
          <p:nvSpPr>
            <p:cNvPr id="153" name="Freeform: Shape 152">
              <a:extLst>
                <a:ext uri="{FF2B5EF4-FFF2-40B4-BE49-F238E27FC236}">
                  <a16:creationId xmlns:a16="http://schemas.microsoft.com/office/drawing/2014/main" id="{5E9A8A78-583E-4F94-B91B-38301FAB87F3}"/>
                </a:ext>
              </a:extLst>
            </p:cNvPr>
            <p:cNvSpPr/>
            <p:nvPr/>
          </p:nvSpPr>
          <p:spPr>
            <a:xfrm>
              <a:off x="4042578" y="3219217"/>
              <a:ext cx="38100" cy="85725"/>
            </a:xfrm>
            <a:custGeom>
              <a:avLst/>
              <a:gdLst>
                <a:gd name="connsiteX0" fmla="*/ 10001 w 38100"/>
                <a:gd name="connsiteY0" fmla="*/ 10133 h 85725"/>
                <a:gd name="connsiteX1" fmla="*/ 10001 w 38100"/>
                <a:gd name="connsiteY1" fmla="*/ 23468 h 85725"/>
                <a:gd name="connsiteX2" fmla="*/ 10001 w 38100"/>
                <a:gd name="connsiteY2" fmla="*/ 63473 h 85725"/>
                <a:gd name="connsiteX3" fmla="*/ 10001 w 38100"/>
                <a:gd name="connsiteY3" fmla="*/ 76808 h 85725"/>
                <a:gd name="connsiteX4" fmla="*/ 23336 w 38100"/>
                <a:gd name="connsiteY4" fmla="*/ 76808 h 85725"/>
                <a:gd name="connsiteX5" fmla="*/ 23336 w 38100"/>
                <a:gd name="connsiteY5" fmla="*/ 9181 h 85725"/>
                <a:gd name="connsiteX6" fmla="*/ 10001 w 38100"/>
                <a:gd name="connsiteY6" fmla="*/ 1013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85725">
                  <a:moveTo>
                    <a:pt x="10001" y="10133"/>
                  </a:moveTo>
                  <a:cubicBezTo>
                    <a:pt x="6191" y="13943"/>
                    <a:pt x="6191" y="19658"/>
                    <a:pt x="10001" y="23468"/>
                  </a:cubicBezTo>
                  <a:cubicBezTo>
                    <a:pt x="21431" y="34898"/>
                    <a:pt x="21431" y="52996"/>
                    <a:pt x="10001" y="63473"/>
                  </a:cubicBezTo>
                  <a:cubicBezTo>
                    <a:pt x="6191" y="67283"/>
                    <a:pt x="6191" y="72998"/>
                    <a:pt x="10001" y="76808"/>
                  </a:cubicBezTo>
                  <a:cubicBezTo>
                    <a:pt x="13811" y="80618"/>
                    <a:pt x="19526" y="80618"/>
                    <a:pt x="23336" y="76808"/>
                  </a:cubicBezTo>
                  <a:cubicBezTo>
                    <a:pt x="42386" y="57758"/>
                    <a:pt x="42386" y="28231"/>
                    <a:pt x="23336" y="9181"/>
                  </a:cubicBezTo>
                  <a:cubicBezTo>
                    <a:pt x="19526" y="6323"/>
                    <a:pt x="13811" y="6323"/>
                    <a:pt x="10001" y="1013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schemeClr val="lt1"/>
                </a:solidFill>
              </a:endParaRPr>
            </a:p>
          </p:txBody>
        </p:sp>
      </p:grpSp>
    </p:spTree>
    <p:extLst>
      <p:ext uri="{BB962C8B-B14F-4D97-AF65-F5344CB8AC3E}">
        <p14:creationId xmlns:p14="http://schemas.microsoft.com/office/powerpoint/2010/main" val="375653644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8CC0A12-C09C-41C4-B1F5-9C0D4927DD01}"/>
              </a:ext>
            </a:extLst>
          </p:cNvPr>
          <p:cNvSpPr>
            <a:spLocks noGrp="1"/>
          </p:cNvSpPr>
          <p:nvPr>
            <p:ph type="title"/>
          </p:nvPr>
        </p:nvSpPr>
        <p:spPr/>
        <p:txBody>
          <a:bodyPr/>
          <a:lstStyle/>
          <a:p>
            <a:r>
              <a:rPr lang="en-US"/>
              <a:t>Style: How to sound conversational</a:t>
            </a:r>
          </a:p>
        </p:txBody>
      </p:sp>
      <p:sp>
        <p:nvSpPr>
          <p:cNvPr id="39" name="Content Placeholder 2">
            <a:extLst>
              <a:ext uri="{FF2B5EF4-FFF2-40B4-BE49-F238E27FC236}">
                <a16:creationId xmlns:a16="http://schemas.microsoft.com/office/drawing/2014/main" id="{7A91CCC7-61A9-4D32-A6E2-F28551A15AAD}"/>
              </a:ext>
            </a:extLst>
          </p:cNvPr>
          <p:cNvSpPr txBox="1">
            <a:spLocks/>
          </p:cNvSpPr>
          <p:nvPr/>
        </p:nvSpPr>
        <p:spPr>
          <a:xfrm>
            <a:off x="785378" y="4652224"/>
            <a:ext cx="4178508" cy="548640"/>
          </a:xfrm>
          <a:prstGeom prst="rect">
            <a:avLst/>
          </a:prstGeom>
          <a:noFill/>
        </p:spPr>
        <p:txBody>
          <a:bodyPr vert="horz" wrap="square"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spc="0">
                <a:cs typeface="Segoe UI" panose="020B0502040204020203" pitchFamily="34" charset="0"/>
              </a:rPr>
              <a:t>Use contractions: “I’m” instead of “I am.”</a:t>
            </a:r>
          </a:p>
        </p:txBody>
      </p:sp>
      <p:sp>
        <p:nvSpPr>
          <p:cNvPr id="40" name="Content Placeholder 2">
            <a:extLst>
              <a:ext uri="{FF2B5EF4-FFF2-40B4-BE49-F238E27FC236}">
                <a16:creationId xmlns:a16="http://schemas.microsoft.com/office/drawing/2014/main" id="{ED8FC908-469E-4C61-8FBE-88C817E7460A}"/>
              </a:ext>
            </a:extLst>
          </p:cNvPr>
          <p:cNvSpPr txBox="1">
            <a:spLocks/>
          </p:cNvSpPr>
          <p:nvPr/>
        </p:nvSpPr>
        <p:spPr>
          <a:xfrm>
            <a:off x="7073904" y="4652224"/>
            <a:ext cx="4339210" cy="548640"/>
          </a:xfrm>
          <a:prstGeom prst="rect">
            <a:avLst/>
          </a:prstGeom>
          <a:noFill/>
        </p:spPr>
        <p:txBody>
          <a:bodyPr vert="horz"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a:latin typeface="+mj-lt"/>
                <a:cs typeface="Segoe UI" panose="020B0502040204020203" pitchFamily="34" charset="0"/>
              </a:rPr>
              <a:t>Select a pronoun to represent your brand agent in chat and be consistent: “I” or “we.”</a:t>
            </a:r>
          </a:p>
        </p:txBody>
      </p:sp>
      <p:cxnSp>
        <p:nvCxnSpPr>
          <p:cNvPr id="52" name="Straight Connector 15">
            <a:extLst>
              <a:ext uri="{FF2B5EF4-FFF2-40B4-BE49-F238E27FC236}">
                <a16:creationId xmlns:a16="http://schemas.microsoft.com/office/drawing/2014/main" id="{0EF60911-88B1-4477-9524-F063EEC870BA}"/>
              </a:ext>
            </a:extLst>
          </p:cNvPr>
          <p:cNvCxnSpPr>
            <a:cxnSpLocks/>
          </p:cNvCxnSpPr>
          <p:nvPr/>
        </p:nvCxnSpPr>
        <p:spPr>
          <a:xfrm>
            <a:off x="6104057" y="2439722"/>
            <a:ext cx="0" cy="25603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84">
            <a:extLst>
              <a:ext uri="{FF2B5EF4-FFF2-40B4-BE49-F238E27FC236}">
                <a16:creationId xmlns:a16="http://schemas.microsoft.com/office/drawing/2014/main" id="{F4336215-587B-465F-9ED6-374F44493C8B}"/>
              </a:ext>
            </a:extLst>
          </p:cNvPr>
          <p:cNvGrpSpPr/>
          <p:nvPr/>
        </p:nvGrpSpPr>
        <p:grpSpPr>
          <a:xfrm>
            <a:off x="481714" y="2367575"/>
            <a:ext cx="344143" cy="344143"/>
            <a:chOff x="12510166" y="1289683"/>
            <a:chExt cx="685799" cy="685799"/>
          </a:xfrm>
        </p:grpSpPr>
        <p:sp>
          <p:nvSpPr>
            <p:cNvPr id="72" name="Oval 42">
              <a:extLst>
                <a:ext uri="{FF2B5EF4-FFF2-40B4-BE49-F238E27FC236}">
                  <a16:creationId xmlns:a16="http://schemas.microsoft.com/office/drawing/2014/main" id="{A0989975-7710-46E1-958F-C32F340D9976}"/>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61">
              <a:extLst>
                <a:ext uri="{FF2B5EF4-FFF2-40B4-BE49-F238E27FC236}">
                  <a16:creationId xmlns:a16="http://schemas.microsoft.com/office/drawing/2014/main" id="{A8F4777A-3EB1-42FD-A3A3-1D31A22191F2}"/>
                </a:ext>
              </a:extLst>
            </p:cNvPr>
            <p:cNvGrpSpPr/>
            <p:nvPr/>
          </p:nvGrpSpPr>
          <p:grpSpPr>
            <a:xfrm>
              <a:off x="12688064" y="1458670"/>
              <a:ext cx="330003" cy="347825"/>
              <a:chOff x="5084670" y="6673208"/>
              <a:chExt cx="2733675" cy="2881313"/>
            </a:xfrm>
          </p:grpSpPr>
          <p:sp>
            <p:nvSpPr>
              <p:cNvPr id="74" name="Freeform: Shape 73">
                <a:extLst>
                  <a:ext uri="{FF2B5EF4-FFF2-40B4-BE49-F238E27FC236}">
                    <a16:creationId xmlns:a16="http://schemas.microsoft.com/office/drawing/2014/main" id="{4AD5980E-D715-41ED-8341-8F255F10312C}"/>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5" name="Freeform: Shape 74">
                <a:extLst>
                  <a:ext uri="{FF2B5EF4-FFF2-40B4-BE49-F238E27FC236}">
                    <a16:creationId xmlns:a16="http://schemas.microsoft.com/office/drawing/2014/main" id="{7CF9239F-26C9-4132-B516-A617C642F8B5}"/>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76" name="Group 87">
            <a:extLst>
              <a:ext uri="{FF2B5EF4-FFF2-40B4-BE49-F238E27FC236}">
                <a16:creationId xmlns:a16="http://schemas.microsoft.com/office/drawing/2014/main" id="{58F57087-D355-4714-B020-F3A6048E396A}"/>
              </a:ext>
            </a:extLst>
          </p:cNvPr>
          <p:cNvGrpSpPr/>
          <p:nvPr/>
        </p:nvGrpSpPr>
        <p:grpSpPr>
          <a:xfrm>
            <a:off x="930369" y="2411724"/>
            <a:ext cx="3612601" cy="868169"/>
            <a:chOff x="1235090" y="2513206"/>
            <a:chExt cx="3612601" cy="868169"/>
          </a:xfrm>
        </p:grpSpPr>
        <p:sp>
          <p:nvSpPr>
            <p:cNvPr id="77" name="Rectangle: Rounded Corners 76">
              <a:extLst>
                <a:ext uri="{FF2B5EF4-FFF2-40B4-BE49-F238E27FC236}">
                  <a16:creationId xmlns:a16="http://schemas.microsoft.com/office/drawing/2014/main" id="{714E0A60-9E47-4209-B54B-F1C0E269854F}"/>
                </a:ext>
              </a:extLst>
            </p:cNvPr>
            <p:cNvSpPr/>
            <p:nvPr/>
          </p:nvSpPr>
          <p:spPr bwMode="auto">
            <a:xfrm>
              <a:off x="1447942" y="2513206"/>
              <a:ext cx="3399749" cy="868169"/>
            </a:xfrm>
            <a:prstGeom prst="roundRect">
              <a:avLst>
                <a:gd name="adj" fmla="val 678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I’m going to ask you a couple questions. It should only take a minute.</a:t>
              </a:r>
            </a:p>
          </p:txBody>
        </p:sp>
        <p:sp>
          <p:nvSpPr>
            <p:cNvPr id="78" name="Isosceles Triangle 77">
              <a:extLst>
                <a:ext uri="{FF2B5EF4-FFF2-40B4-BE49-F238E27FC236}">
                  <a16:creationId xmlns:a16="http://schemas.microsoft.com/office/drawing/2014/main" id="{46CB44E1-D692-42DB-AC79-8145F750DF3C}"/>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2" name="Group 113">
            <a:extLst>
              <a:ext uri="{FF2B5EF4-FFF2-40B4-BE49-F238E27FC236}">
                <a16:creationId xmlns:a16="http://schemas.microsoft.com/office/drawing/2014/main" id="{C54FB7D4-075C-4BCF-9148-C793815C04B4}"/>
              </a:ext>
            </a:extLst>
          </p:cNvPr>
          <p:cNvGrpSpPr/>
          <p:nvPr/>
        </p:nvGrpSpPr>
        <p:grpSpPr>
          <a:xfrm>
            <a:off x="3564810" y="3619917"/>
            <a:ext cx="917887" cy="362649"/>
            <a:chOff x="10077749" y="3961429"/>
            <a:chExt cx="917887" cy="362649"/>
          </a:xfrm>
        </p:grpSpPr>
        <p:sp>
          <p:nvSpPr>
            <p:cNvPr id="83" name="Rectangle: Rounded Corners 82">
              <a:extLst>
                <a:ext uri="{FF2B5EF4-FFF2-40B4-BE49-F238E27FC236}">
                  <a16:creationId xmlns:a16="http://schemas.microsoft.com/office/drawing/2014/main" id="{BECE73A0-4619-4CD4-9E29-F010D4148273}"/>
                </a:ext>
              </a:extLst>
            </p:cNvPr>
            <p:cNvSpPr/>
            <p:nvPr/>
          </p:nvSpPr>
          <p:spPr bwMode="auto">
            <a:xfrm>
              <a:off x="10077749" y="3961429"/>
              <a:ext cx="731908"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latin typeface="Segoe UI" panose="020B0502040204020203" pitchFamily="34" charset="0"/>
                  <a:cs typeface="Segoe UI" panose="020B0502040204020203" pitchFamily="34" charset="0"/>
                </a:rPr>
                <a:t>Great</a:t>
              </a:r>
              <a:r>
                <a:rPr lang="en-US" sz="140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t>
              </a:r>
            </a:p>
          </p:txBody>
        </p:sp>
        <p:sp>
          <p:nvSpPr>
            <p:cNvPr id="84" name="Isosceles Triangle 83">
              <a:extLst>
                <a:ext uri="{FF2B5EF4-FFF2-40B4-BE49-F238E27FC236}">
                  <a16:creationId xmlns:a16="http://schemas.microsoft.com/office/drawing/2014/main" id="{0798190C-247E-43FB-8A66-0F754F6B88FE}"/>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86" name="Group 87">
            <a:extLst>
              <a:ext uri="{FF2B5EF4-FFF2-40B4-BE49-F238E27FC236}">
                <a16:creationId xmlns:a16="http://schemas.microsoft.com/office/drawing/2014/main" id="{EEFC52F2-2A7E-4249-A53A-441A948DB4B1}"/>
              </a:ext>
            </a:extLst>
          </p:cNvPr>
          <p:cNvGrpSpPr/>
          <p:nvPr/>
        </p:nvGrpSpPr>
        <p:grpSpPr>
          <a:xfrm>
            <a:off x="7140671" y="2411724"/>
            <a:ext cx="4035329" cy="868169"/>
            <a:chOff x="1235090" y="2513206"/>
            <a:chExt cx="4035329" cy="868169"/>
          </a:xfrm>
        </p:grpSpPr>
        <p:sp>
          <p:nvSpPr>
            <p:cNvPr id="87" name="Rectangle: Rounded Corners 86">
              <a:extLst>
                <a:ext uri="{FF2B5EF4-FFF2-40B4-BE49-F238E27FC236}">
                  <a16:creationId xmlns:a16="http://schemas.microsoft.com/office/drawing/2014/main" id="{029E9AFB-B207-4264-98A6-385AAC84245D}"/>
                </a:ext>
              </a:extLst>
            </p:cNvPr>
            <p:cNvSpPr/>
            <p:nvPr/>
          </p:nvSpPr>
          <p:spPr bwMode="auto">
            <a:xfrm>
              <a:off x="1447943" y="2513206"/>
              <a:ext cx="3822476" cy="868169"/>
            </a:xfrm>
            <a:prstGeom prst="roundRect">
              <a:avLst>
                <a:gd name="adj" fmla="val 897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Good choice. I have a couple suggestions based on what you’ve selected.</a:t>
              </a:r>
            </a:p>
          </p:txBody>
        </p:sp>
        <p:sp>
          <p:nvSpPr>
            <p:cNvPr id="88" name="Isosceles Triangle 87">
              <a:extLst>
                <a:ext uri="{FF2B5EF4-FFF2-40B4-BE49-F238E27FC236}">
                  <a16:creationId xmlns:a16="http://schemas.microsoft.com/office/drawing/2014/main" id="{4F399DF0-8D93-4BE4-8E7D-E3BE01F95BF8}"/>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4">
            <a:extLst>
              <a:ext uri="{FF2B5EF4-FFF2-40B4-BE49-F238E27FC236}">
                <a16:creationId xmlns:a16="http://schemas.microsoft.com/office/drawing/2014/main" id="{0AC21316-2BF2-4C3A-BB34-F8F35CA3C56C}"/>
              </a:ext>
            </a:extLst>
          </p:cNvPr>
          <p:cNvGrpSpPr/>
          <p:nvPr/>
        </p:nvGrpSpPr>
        <p:grpSpPr>
          <a:xfrm>
            <a:off x="6679325" y="2367575"/>
            <a:ext cx="344143" cy="344143"/>
            <a:chOff x="12510166" y="1289683"/>
            <a:chExt cx="685799" cy="685799"/>
          </a:xfrm>
        </p:grpSpPr>
        <p:sp>
          <p:nvSpPr>
            <p:cNvPr id="90" name="Oval 42">
              <a:extLst>
                <a:ext uri="{FF2B5EF4-FFF2-40B4-BE49-F238E27FC236}">
                  <a16:creationId xmlns:a16="http://schemas.microsoft.com/office/drawing/2014/main" id="{984ED6B4-7A1E-4F27-B732-E6536034238D}"/>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1" name="Group 61">
              <a:extLst>
                <a:ext uri="{FF2B5EF4-FFF2-40B4-BE49-F238E27FC236}">
                  <a16:creationId xmlns:a16="http://schemas.microsoft.com/office/drawing/2014/main" id="{D798EE5E-A964-41AD-9906-E7859373492B}"/>
                </a:ext>
              </a:extLst>
            </p:cNvPr>
            <p:cNvGrpSpPr/>
            <p:nvPr/>
          </p:nvGrpSpPr>
          <p:grpSpPr>
            <a:xfrm>
              <a:off x="12688064" y="1458670"/>
              <a:ext cx="330003" cy="347825"/>
              <a:chOff x="5084670" y="6673208"/>
              <a:chExt cx="2733675" cy="2881313"/>
            </a:xfrm>
          </p:grpSpPr>
          <p:sp>
            <p:nvSpPr>
              <p:cNvPr id="92" name="Freeform: Shape 91">
                <a:extLst>
                  <a:ext uri="{FF2B5EF4-FFF2-40B4-BE49-F238E27FC236}">
                    <a16:creationId xmlns:a16="http://schemas.microsoft.com/office/drawing/2014/main" id="{C0AA21B1-6174-4671-B41E-6773D144693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3" name="Freeform: Shape 92">
                <a:extLst>
                  <a:ext uri="{FF2B5EF4-FFF2-40B4-BE49-F238E27FC236}">
                    <a16:creationId xmlns:a16="http://schemas.microsoft.com/office/drawing/2014/main" id="{24B337BA-BDE4-40BC-80E9-FDF962D1FB1D}"/>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94" name="Picture 46">
            <a:extLst>
              <a:ext uri="{FF2B5EF4-FFF2-40B4-BE49-F238E27FC236}">
                <a16:creationId xmlns:a16="http://schemas.microsoft.com/office/drawing/2014/main" id="{A160CC8C-BA08-48BB-A65C-A954DE1B3C94}"/>
              </a:ext>
            </a:extLst>
          </p:cNvPr>
          <p:cNvPicPr>
            <a:picLocks noChangeAspect="1"/>
          </p:cNvPicPr>
          <p:nvPr/>
        </p:nvPicPr>
        <p:blipFill>
          <a:blip r:embed="rId3"/>
          <a:srcRect b="258"/>
          <a:stretch>
            <a:fillRect/>
          </a:stretch>
        </p:blipFill>
        <p:spPr>
          <a:xfrm>
            <a:off x="4534656" y="355979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spTree>
    <p:extLst>
      <p:ext uri="{BB962C8B-B14F-4D97-AF65-F5344CB8AC3E}">
        <p14:creationId xmlns:p14="http://schemas.microsoft.com/office/powerpoint/2010/main" val="10539106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AB4E14-A25E-4655-B123-DAD3EE016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B8AB4E14-A25E-4655-B123-DAD3EE0169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91E31C-958D-46CC-822A-DF4694D5A83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6" name="Title 5">
            <a:extLst>
              <a:ext uri="{FF2B5EF4-FFF2-40B4-BE49-F238E27FC236}">
                <a16:creationId xmlns:a16="http://schemas.microsoft.com/office/drawing/2014/main" id="{1D12F5F4-5B0A-4A5B-9CCD-FAD3E48E1AFD}"/>
              </a:ext>
            </a:extLst>
          </p:cNvPr>
          <p:cNvSpPr>
            <a:spLocks noGrp="1"/>
          </p:cNvSpPr>
          <p:nvPr>
            <p:ph type="title"/>
          </p:nvPr>
        </p:nvSpPr>
        <p:spPr>
          <a:xfrm>
            <a:off x="455995" y="620428"/>
            <a:ext cx="11306469" cy="403137"/>
          </a:xfrm>
        </p:spPr>
        <p:txBody>
          <a:bodyPr/>
          <a:lstStyle/>
          <a:p>
            <a:r>
              <a:rPr lang="en-US"/>
              <a:t>Power Virtual Agents is designed for everyone</a:t>
            </a:r>
            <a:endParaRPr lang="en-IN"/>
          </a:p>
        </p:txBody>
      </p:sp>
      <p:sp>
        <p:nvSpPr>
          <p:cNvPr id="50" name="Rectangle 49">
            <a:extLst>
              <a:ext uri="{FF2B5EF4-FFF2-40B4-BE49-F238E27FC236}">
                <a16:creationId xmlns:a16="http://schemas.microsoft.com/office/drawing/2014/main" id="{8D44C26D-A060-4145-B0D1-9B213D83728D}"/>
              </a:ext>
            </a:extLst>
          </p:cNvPr>
          <p:cNvSpPr/>
          <p:nvPr/>
        </p:nvSpPr>
        <p:spPr>
          <a:xfrm>
            <a:off x="455995" y="1235247"/>
            <a:ext cx="6352698" cy="307777"/>
          </a:xfrm>
          <a:prstGeom prst="rect">
            <a:avLst/>
          </a:prstGeom>
        </p:spPr>
        <p:txBody>
          <a:bodyPr wrap="square" lIns="0" tIns="0" rIns="0" bIns="0">
            <a:spAutoFit/>
          </a:bodyPr>
          <a:lstStyle/>
          <a:p>
            <a:r>
              <a:rPr lang="en-US" sz="2000" spc="-49">
                <a:ln w="3175">
                  <a:noFill/>
                </a:ln>
                <a:solidFill>
                  <a:srgbClr val="0B556A"/>
                </a:solidFill>
                <a:cs typeface="Segoe UI" pitchFamily="34" charset="0"/>
              </a:rPr>
              <a:t>The chatbot service that enhances everyone’s experience</a:t>
            </a:r>
            <a:endParaRPr lang="en-IN" sz="1600">
              <a:solidFill>
                <a:srgbClr val="0B556A"/>
              </a:solidFill>
            </a:endParaRPr>
          </a:p>
        </p:txBody>
      </p:sp>
      <p:grpSp>
        <p:nvGrpSpPr>
          <p:cNvPr id="53" name="Group 52">
            <a:extLst>
              <a:ext uri="{FF2B5EF4-FFF2-40B4-BE49-F238E27FC236}">
                <a16:creationId xmlns:a16="http://schemas.microsoft.com/office/drawing/2014/main" id="{66A3DF54-77E7-4BD6-91C7-78BD2D52430D}"/>
              </a:ext>
            </a:extLst>
          </p:cNvPr>
          <p:cNvGrpSpPr/>
          <p:nvPr/>
        </p:nvGrpSpPr>
        <p:grpSpPr>
          <a:xfrm rot="16200000">
            <a:off x="11082066" y="696530"/>
            <a:ext cx="1614975" cy="604899"/>
            <a:chOff x="10314145" y="6155531"/>
            <a:chExt cx="1875474" cy="702470"/>
          </a:xfrm>
        </p:grpSpPr>
        <p:sp>
          <p:nvSpPr>
            <p:cNvPr id="54" name="Freeform: Shape 53">
              <a:extLst>
                <a:ext uri="{FF2B5EF4-FFF2-40B4-BE49-F238E27FC236}">
                  <a16:creationId xmlns:a16="http://schemas.microsoft.com/office/drawing/2014/main" id="{88E52EC1-A50C-48BE-B836-2B71A6FD2A43}"/>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1B032C01-BE41-410B-BBF5-D6EA9084F4D3}"/>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688B1090-3EAD-4DC2-AF05-B87EBEAC88CF}"/>
              </a:ext>
            </a:extLst>
          </p:cNvPr>
          <p:cNvGrpSpPr/>
          <p:nvPr/>
        </p:nvGrpSpPr>
        <p:grpSpPr>
          <a:xfrm>
            <a:off x="1" y="1586998"/>
            <a:ext cx="1702650" cy="4178156"/>
            <a:chOff x="1" y="1586998"/>
            <a:chExt cx="1702650" cy="4178156"/>
          </a:xfrm>
        </p:grpSpPr>
        <p:sp>
          <p:nvSpPr>
            <p:cNvPr id="35" name="Freeform: Shape 34">
              <a:extLst>
                <a:ext uri="{FF2B5EF4-FFF2-40B4-BE49-F238E27FC236}">
                  <a16:creationId xmlns:a16="http://schemas.microsoft.com/office/drawing/2014/main" id="{032A3737-C5EA-4E7A-8F72-783E675FE96D}"/>
                </a:ext>
              </a:extLst>
            </p:cNvPr>
            <p:cNvSpPr/>
            <p:nvPr/>
          </p:nvSpPr>
          <p:spPr bwMode="auto">
            <a:xfrm rot="5400000" flipH="1">
              <a:off x="-906154" y="2493153"/>
              <a:ext cx="3514959" cy="1702650"/>
            </a:xfrm>
            <a:custGeom>
              <a:avLst/>
              <a:gdLst>
                <a:gd name="connsiteX0" fmla="*/ 3514959 w 3514959"/>
                <a:gd name="connsiteY0" fmla="*/ 1702650 h 1702650"/>
                <a:gd name="connsiteX1" fmla="*/ 1702649 w 3514959"/>
                <a:gd name="connsiteY1" fmla="*/ 0 h 1702650"/>
                <a:gd name="connsiteX2" fmla="*/ 0 w 3514959"/>
                <a:gd name="connsiteY2" fmla="*/ 1702650 h 1702650"/>
              </a:gdLst>
              <a:ahLst/>
              <a:cxnLst>
                <a:cxn ang="0">
                  <a:pos x="connsiteX0" y="connsiteY0"/>
                </a:cxn>
                <a:cxn ang="0">
                  <a:pos x="connsiteX1" y="connsiteY1"/>
                </a:cxn>
                <a:cxn ang="0">
                  <a:pos x="connsiteX2" y="connsiteY2"/>
                </a:cxn>
              </a:cxnLst>
              <a:rect l="l" t="t" r="r" b="b"/>
              <a:pathLst>
                <a:path w="3514959" h="1702650">
                  <a:moveTo>
                    <a:pt x="3514959" y="1702650"/>
                  </a:moveTo>
                  <a:lnTo>
                    <a:pt x="1702649" y="0"/>
                  </a:lnTo>
                  <a:lnTo>
                    <a:pt x="0" y="170265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83019097-3A07-492D-9AAF-E3C439E5FA9B}"/>
                </a:ext>
              </a:extLst>
            </p:cNvPr>
            <p:cNvSpPr/>
            <p:nvPr/>
          </p:nvSpPr>
          <p:spPr bwMode="auto">
            <a:xfrm rot="5400000" flipH="1">
              <a:off x="-414899" y="4570666"/>
              <a:ext cx="1609389" cy="779588"/>
            </a:xfrm>
            <a:custGeom>
              <a:avLst/>
              <a:gdLst>
                <a:gd name="connsiteX0" fmla="*/ 1609389 w 1609389"/>
                <a:gd name="connsiteY0" fmla="*/ 779588 h 779588"/>
                <a:gd name="connsiteX1" fmla="*/ 779589 w 1609389"/>
                <a:gd name="connsiteY1" fmla="*/ 0 h 779588"/>
                <a:gd name="connsiteX2" fmla="*/ 0 w 1609389"/>
                <a:gd name="connsiteY2" fmla="*/ 779588 h 779588"/>
              </a:gdLst>
              <a:ahLst/>
              <a:cxnLst>
                <a:cxn ang="0">
                  <a:pos x="connsiteX0" y="connsiteY0"/>
                </a:cxn>
                <a:cxn ang="0">
                  <a:pos x="connsiteX1" y="connsiteY1"/>
                </a:cxn>
                <a:cxn ang="0">
                  <a:pos x="connsiteX2" y="connsiteY2"/>
                </a:cxn>
              </a:cxnLst>
              <a:rect l="l" t="t" r="r" b="b"/>
              <a:pathLst>
                <a:path w="1609389" h="779588">
                  <a:moveTo>
                    <a:pt x="1609389" y="779588"/>
                  </a:moveTo>
                  <a:lnTo>
                    <a:pt x="779589" y="0"/>
                  </a:lnTo>
                  <a:lnTo>
                    <a:pt x="0" y="77958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TextBox 69">
            <a:extLst>
              <a:ext uri="{FF2B5EF4-FFF2-40B4-BE49-F238E27FC236}">
                <a16:creationId xmlns:a16="http://schemas.microsoft.com/office/drawing/2014/main" id="{E1082AA5-AEA8-436B-B89C-74052D4B092E}"/>
              </a:ext>
            </a:extLst>
          </p:cNvPr>
          <p:cNvSpPr txBox="1"/>
          <p:nvPr/>
        </p:nvSpPr>
        <p:spPr>
          <a:xfrm>
            <a:off x="5230150" y="4369496"/>
            <a:ext cx="3068151"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B556A"/>
                </a:solidFill>
                <a:effectLst/>
                <a:uLnTx/>
                <a:uFillTx/>
                <a:latin typeface="+mj-lt"/>
                <a:ea typeface="+mn-ea"/>
                <a:cs typeface="+mn-cs"/>
              </a:rPr>
              <a:t>Subject Matter Experts</a:t>
            </a:r>
          </a:p>
        </p:txBody>
      </p:sp>
      <p:sp>
        <p:nvSpPr>
          <p:cNvPr id="71" name="TextBox 70">
            <a:extLst>
              <a:ext uri="{FF2B5EF4-FFF2-40B4-BE49-F238E27FC236}">
                <a16:creationId xmlns:a16="http://schemas.microsoft.com/office/drawing/2014/main" id="{41EA7DE3-C032-4CB0-8C0E-C523F3F717D9}"/>
              </a:ext>
            </a:extLst>
          </p:cNvPr>
          <p:cNvSpPr txBox="1"/>
          <p:nvPr/>
        </p:nvSpPr>
        <p:spPr>
          <a:xfrm>
            <a:off x="9181111" y="4369496"/>
            <a:ext cx="2176317"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B556A"/>
                </a:solidFill>
                <a:effectLst/>
                <a:uLnTx/>
                <a:uFillTx/>
                <a:latin typeface="+mj-lt"/>
                <a:ea typeface="+mn-ea"/>
                <a:cs typeface="+mn-cs"/>
              </a:rPr>
              <a:t>IT Admin/Dev</a:t>
            </a:r>
          </a:p>
        </p:txBody>
      </p:sp>
      <p:sp>
        <p:nvSpPr>
          <p:cNvPr id="72" name="TextBox 71">
            <a:extLst>
              <a:ext uri="{FF2B5EF4-FFF2-40B4-BE49-F238E27FC236}">
                <a16:creationId xmlns:a16="http://schemas.microsoft.com/office/drawing/2014/main" id="{FF6C9661-14EB-4209-8AD5-DD08A0FE6802}"/>
              </a:ext>
            </a:extLst>
          </p:cNvPr>
          <p:cNvSpPr txBox="1"/>
          <p:nvPr/>
        </p:nvSpPr>
        <p:spPr>
          <a:xfrm>
            <a:off x="1557855" y="4369496"/>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B556A"/>
                </a:solidFill>
                <a:effectLst/>
                <a:uLnTx/>
                <a:uFillTx/>
                <a:latin typeface="+mj-lt"/>
                <a:ea typeface="+mn-ea"/>
                <a:cs typeface="+mn-cs"/>
              </a:rPr>
              <a:t>Your Customers</a:t>
            </a:r>
          </a:p>
        </p:txBody>
      </p:sp>
      <p:grpSp>
        <p:nvGrpSpPr>
          <p:cNvPr id="10" name="Group 9">
            <a:extLst>
              <a:ext uri="{FF2B5EF4-FFF2-40B4-BE49-F238E27FC236}">
                <a16:creationId xmlns:a16="http://schemas.microsoft.com/office/drawing/2014/main" id="{184F53DC-898A-4F6A-B333-823C0E4B0323}"/>
              </a:ext>
            </a:extLst>
          </p:cNvPr>
          <p:cNvGrpSpPr/>
          <p:nvPr/>
        </p:nvGrpSpPr>
        <p:grpSpPr>
          <a:xfrm>
            <a:off x="2262109" y="2705684"/>
            <a:ext cx="1380976" cy="1380976"/>
            <a:chOff x="2639481" y="2705684"/>
            <a:chExt cx="1380976" cy="1380976"/>
          </a:xfrm>
        </p:grpSpPr>
        <p:sp>
          <p:nvSpPr>
            <p:cNvPr id="26" name="Flowchart: Connector 25">
              <a:extLst>
                <a:ext uri="{FF2B5EF4-FFF2-40B4-BE49-F238E27FC236}">
                  <a16:creationId xmlns:a16="http://schemas.microsoft.com/office/drawing/2014/main" id="{7C0EB76B-4387-4161-AFA5-D804BB1E2F16}"/>
                </a:ext>
              </a:extLst>
            </p:cNvPr>
            <p:cNvSpPr/>
            <p:nvPr/>
          </p:nvSpPr>
          <p:spPr bwMode="auto">
            <a:xfrm>
              <a:off x="2639481"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people_12" title="Icon of three people">
              <a:extLst>
                <a:ext uri="{FF2B5EF4-FFF2-40B4-BE49-F238E27FC236}">
                  <a16:creationId xmlns:a16="http://schemas.microsoft.com/office/drawing/2014/main" id="{ADE951A7-056E-4F4B-B4D5-686AEE1B41C4}"/>
                </a:ext>
              </a:extLst>
            </p:cNvPr>
            <p:cNvSpPr>
              <a:spLocks noChangeAspect="1" noEditPoints="1"/>
            </p:cNvSpPr>
            <p:nvPr/>
          </p:nvSpPr>
          <p:spPr bwMode="auto">
            <a:xfrm>
              <a:off x="2992813" y="3108519"/>
              <a:ext cx="674312" cy="5753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DE55D7EF-0F11-49CC-9EDC-5E4812A3E48F}"/>
              </a:ext>
            </a:extLst>
          </p:cNvPr>
          <p:cNvGrpSpPr/>
          <p:nvPr/>
        </p:nvGrpSpPr>
        <p:grpSpPr>
          <a:xfrm>
            <a:off x="6073737" y="2705684"/>
            <a:ext cx="1380976" cy="1380976"/>
            <a:chOff x="6451109" y="2705684"/>
            <a:chExt cx="1380976" cy="1380976"/>
          </a:xfrm>
        </p:grpSpPr>
        <p:grpSp>
          <p:nvGrpSpPr>
            <p:cNvPr id="21" name="Group 20">
              <a:extLst>
                <a:ext uri="{FF2B5EF4-FFF2-40B4-BE49-F238E27FC236}">
                  <a16:creationId xmlns:a16="http://schemas.microsoft.com/office/drawing/2014/main" id="{16A9CAE2-70A5-4353-B9E8-B9D6FA4D12E8}"/>
                </a:ext>
              </a:extLst>
            </p:cNvPr>
            <p:cNvGrpSpPr/>
            <p:nvPr/>
          </p:nvGrpSpPr>
          <p:grpSpPr>
            <a:xfrm>
              <a:off x="6926468" y="3067096"/>
              <a:ext cx="580570" cy="658152"/>
              <a:chOff x="5547859" y="2999069"/>
              <a:chExt cx="1057728" cy="1199075"/>
            </a:xfrm>
          </p:grpSpPr>
          <p:sp>
            <p:nvSpPr>
              <p:cNvPr id="60" name="people_4" title="Icon of a person">
                <a:extLst>
                  <a:ext uri="{FF2B5EF4-FFF2-40B4-BE49-F238E27FC236}">
                    <a16:creationId xmlns:a16="http://schemas.microsoft.com/office/drawing/2014/main" id="{4E8C8C88-5E32-4458-9CCA-CD0B6A6C46B8}"/>
                  </a:ext>
                </a:extLst>
              </p:cNvPr>
              <p:cNvSpPr>
                <a:spLocks noChangeAspect="1" noEditPoints="1"/>
              </p:cNvSpPr>
              <p:nvPr/>
            </p:nvSpPr>
            <p:spPr bwMode="auto">
              <a:xfrm>
                <a:off x="5547859" y="2999069"/>
                <a:ext cx="769122" cy="85986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Oval 19">
                <a:extLst>
                  <a:ext uri="{FF2B5EF4-FFF2-40B4-BE49-F238E27FC236}">
                    <a16:creationId xmlns:a16="http://schemas.microsoft.com/office/drawing/2014/main" id="{B81EBE1D-727F-4427-90C3-D546ED0CDAD1}"/>
                  </a:ext>
                </a:extLst>
              </p:cNvPr>
              <p:cNvSpPr/>
              <p:nvPr/>
            </p:nvSpPr>
            <p:spPr bwMode="auto">
              <a:xfrm>
                <a:off x="5991225" y="3583782"/>
                <a:ext cx="614362" cy="6143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96" title="Icon of a gear with a wrench">
                <a:extLst>
                  <a:ext uri="{FF2B5EF4-FFF2-40B4-BE49-F238E27FC236}">
                    <a16:creationId xmlns:a16="http://schemas.microsoft.com/office/drawing/2014/main" id="{639B343F-CDA4-4CC4-9FD1-4944D8AA5300}"/>
                  </a:ext>
                </a:extLst>
              </p:cNvPr>
              <p:cNvSpPr>
                <a:spLocks noChangeAspect="1" noEditPoints="1"/>
              </p:cNvSpPr>
              <p:nvPr/>
            </p:nvSpPr>
            <p:spPr bwMode="auto">
              <a:xfrm>
                <a:off x="6090317" y="3640957"/>
                <a:ext cx="416178" cy="3832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82" name="Flowchart: Connector 81">
              <a:extLst>
                <a:ext uri="{FF2B5EF4-FFF2-40B4-BE49-F238E27FC236}">
                  <a16:creationId xmlns:a16="http://schemas.microsoft.com/office/drawing/2014/main" id="{D5F6B137-647C-4F6A-96A8-8CB707714A1C}"/>
                </a:ext>
              </a:extLst>
            </p:cNvPr>
            <p:cNvSpPr/>
            <p:nvPr/>
          </p:nvSpPr>
          <p:spPr bwMode="auto">
            <a:xfrm>
              <a:off x="6451109"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DE5F4A85-A2A3-4EF4-98F9-BEAA9E3E8A80}"/>
              </a:ext>
            </a:extLst>
          </p:cNvPr>
          <p:cNvGrpSpPr/>
          <p:nvPr/>
        </p:nvGrpSpPr>
        <p:grpSpPr>
          <a:xfrm>
            <a:off x="9578781" y="2705684"/>
            <a:ext cx="1380976" cy="1380976"/>
            <a:chOff x="9956153" y="2705684"/>
            <a:chExt cx="1380976" cy="1380976"/>
          </a:xfrm>
        </p:grpSpPr>
        <p:grpSp>
          <p:nvGrpSpPr>
            <p:cNvPr id="22" name="Group 21">
              <a:extLst>
                <a:ext uri="{FF2B5EF4-FFF2-40B4-BE49-F238E27FC236}">
                  <a16:creationId xmlns:a16="http://schemas.microsoft.com/office/drawing/2014/main" id="{340F8B53-65BB-4E1C-BA1D-B9803E2F5344}"/>
                </a:ext>
              </a:extLst>
            </p:cNvPr>
            <p:cNvGrpSpPr/>
            <p:nvPr/>
          </p:nvGrpSpPr>
          <p:grpSpPr>
            <a:xfrm>
              <a:off x="10420592" y="3083116"/>
              <a:ext cx="552306" cy="626112"/>
              <a:chOff x="9017816" y="3196670"/>
              <a:chExt cx="709114" cy="803874"/>
            </a:xfrm>
          </p:grpSpPr>
          <p:sp>
            <p:nvSpPr>
              <p:cNvPr id="63" name="people_4" title="Icon of a person">
                <a:extLst>
                  <a:ext uri="{FF2B5EF4-FFF2-40B4-BE49-F238E27FC236}">
                    <a16:creationId xmlns:a16="http://schemas.microsoft.com/office/drawing/2014/main" id="{567F8920-99B0-4717-B9E7-7CA69810E049}"/>
                  </a:ext>
                </a:extLst>
              </p:cNvPr>
              <p:cNvSpPr>
                <a:spLocks noChangeAspect="1" noEditPoints="1"/>
              </p:cNvSpPr>
              <p:nvPr/>
            </p:nvSpPr>
            <p:spPr bwMode="auto">
              <a:xfrm>
                <a:off x="9017816" y="3196670"/>
                <a:ext cx="515629" cy="57646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Oval 63">
                <a:extLst>
                  <a:ext uri="{FF2B5EF4-FFF2-40B4-BE49-F238E27FC236}">
                    <a16:creationId xmlns:a16="http://schemas.microsoft.com/office/drawing/2014/main" id="{0C5A6325-4E5E-4432-94DB-F11070CE2CB7}"/>
                  </a:ext>
                </a:extLst>
              </p:cNvPr>
              <p:cNvSpPr/>
              <p:nvPr/>
            </p:nvSpPr>
            <p:spPr bwMode="auto">
              <a:xfrm>
                <a:off x="9315054" y="3588668"/>
                <a:ext cx="411876" cy="4118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monitor" title="Icon of a monitor">
                <a:extLst>
                  <a:ext uri="{FF2B5EF4-FFF2-40B4-BE49-F238E27FC236}">
                    <a16:creationId xmlns:a16="http://schemas.microsoft.com/office/drawing/2014/main" id="{4F3C1C8F-C675-498E-8D8E-6321D5ACF0DE}"/>
                  </a:ext>
                </a:extLst>
              </p:cNvPr>
              <p:cNvSpPr>
                <a:spLocks noChangeAspect="1" noEditPoints="1"/>
              </p:cNvSpPr>
              <p:nvPr/>
            </p:nvSpPr>
            <p:spPr bwMode="auto">
              <a:xfrm>
                <a:off x="9275630" y="3649115"/>
                <a:ext cx="379678" cy="2909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83" name="Flowchart: Connector 82">
              <a:extLst>
                <a:ext uri="{FF2B5EF4-FFF2-40B4-BE49-F238E27FC236}">
                  <a16:creationId xmlns:a16="http://schemas.microsoft.com/office/drawing/2014/main" id="{374662D6-4241-42FB-8DCA-13E173792EF8}"/>
                </a:ext>
              </a:extLst>
            </p:cNvPr>
            <p:cNvSpPr/>
            <p:nvPr/>
          </p:nvSpPr>
          <p:spPr bwMode="auto">
            <a:xfrm>
              <a:off x="9956153"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5286975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anim calcmode="lin" valueType="num">
                                      <p:cBhvr>
                                        <p:cTn id="8" dur="500" fill="hold"/>
                                        <p:tgtEl>
                                          <p:spTgt spid="70"/>
                                        </p:tgtEl>
                                        <p:attrNameLst>
                                          <p:attrName>ppt_x</p:attrName>
                                        </p:attrNameLst>
                                      </p:cBhvr>
                                      <p:tavLst>
                                        <p:tav tm="0">
                                          <p:val>
                                            <p:strVal val="#ppt_x"/>
                                          </p:val>
                                        </p:tav>
                                        <p:tav tm="100000">
                                          <p:val>
                                            <p:strVal val="#ppt_x"/>
                                          </p:val>
                                        </p:tav>
                                      </p:tavLst>
                                    </p:anim>
                                    <p:anim calcmode="lin" valueType="num">
                                      <p:cBhvr>
                                        <p:cTn id="9" dur="500" fill="hold"/>
                                        <p:tgtEl>
                                          <p:spTgt spid="7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anim calcmode="lin" valueType="num">
                                      <p:cBhvr>
                                        <p:cTn id="13" dur="500" fill="hold"/>
                                        <p:tgtEl>
                                          <p:spTgt spid="71"/>
                                        </p:tgtEl>
                                        <p:attrNameLst>
                                          <p:attrName>ppt_x</p:attrName>
                                        </p:attrNameLst>
                                      </p:cBhvr>
                                      <p:tavLst>
                                        <p:tav tm="0">
                                          <p:val>
                                            <p:strVal val="#ppt_x"/>
                                          </p:val>
                                        </p:tav>
                                        <p:tav tm="100000">
                                          <p:val>
                                            <p:strVal val="#ppt_x"/>
                                          </p:val>
                                        </p:tav>
                                      </p:tavLst>
                                    </p:anim>
                                    <p:anim calcmode="lin" valueType="num">
                                      <p:cBhvr>
                                        <p:cTn id="14" dur="500" fill="hold"/>
                                        <p:tgtEl>
                                          <p:spTgt spid="7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anim calcmode="lin" valueType="num">
                                      <p:cBhvr>
                                        <p:cTn id="18" dur="500" fill="hold"/>
                                        <p:tgtEl>
                                          <p:spTgt spid="72"/>
                                        </p:tgtEl>
                                        <p:attrNameLst>
                                          <p:attrName>ppt_x</p:attrName>
                                        </p:attrNameLst>
                                      </p:cBhvr>
                                      <p:tavLst>
                                        <p:tav tm="0">
                                          <p:val>
                                            <p:strVal val="#ppt_x"/>
                                          </p:val>
                                        </p:tav>
                                        <p:tav tm="100000">
                                          <p:val>
                                            <p:strVal val="#ppt_x"/>
                                          </p:val>
                                        </p:tav>
                                      </p:tavLst>
                                    </p:anim>
                                    <p:anim calcmode="lin" valueType="num">
                                      <p:cBhvr>
                                        <p:cTn id="19" dur="500" fill="hold"/>
                                        <p:tgtEl>
                                          <p:spTgt spid="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P spid="72"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A61F40-BB63-41C5-8953-4D413AC9A984}"/>
              </a:ext>
            </a:extLst>
          </p:cNvPr>
          <p:cNvSpPr>
            <a:spLocks noGrp="1"/>
          </p:cNvSpPr>
          <p:nvPr>
            <p:ph type="title"/>
          </p:nvPr>
        </p:nvSpPr>
        <p:spPr/>
        <p:txBody>
          <a:bodyPr/>
          <a:lstStyle/>
          <a:p>
            <a:r>
              <a:rPr lang="en-US"/>
              <a:t>Style: How to sound conversational</a:t>
            </a:r>
          </a:p>
        </p:txBody>
      </p:sp>
      <p:sp>
        <p:nvSpPr>
          <p:cNvPr id="3" name="Rectangle 2">
            <a:extLst>
              <a:ext uri="{FF2B5EF4-FFF2-40B4-BE49-F238E27FC236}">
                <a16:creationId xmlns:a16="http://schemas.microsoft.com/office/drawing/2014/main" id="{0C67456A-51B3-4A6F-9F2C-CBFE94F65F44}"/>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Be consistent with tone and style so the conversation sounds like it’s with the same agent and brand</a:t>
            </a:r>
            <a:endParaRPr lang="en-US" sz="1600"/>
          </a:p>
        </p:txBody>
      </p:sp>
      <p:pic>
        <p:nvPicPr>
          <p:cNvPr id="47" name="Picture 46">
            <a:extLst>
              <a:ext uri="{FF2B5EF4-FFF2-40B4-BE49-F238E27FC236}">
                <a16:creationId xmlns:a16="http://schemas.microsoft.com/office/drawing/2014/main" id="{DF05F021-997B-4C40-BD0B-CC7BF4E845BB}"/>
              </a:ext>
            </a:extLst>
          </p:cNvPr>
          <p:cNvPicPr>
            <a:picLocks noChangeAspect="1"/>
          </p:cNvPicPr>
          <p:nvPr/>
        </p:nvPicPr>
        <p:blipFill>
          <a:blip r:embed="rId3"/>
          <a:srcRect b="258"/>
          <a:stretch>
            <a:fillRect/>
          </a:stretch>
        </p:blipFill>
        <p:spPr>
          <a:xfrm>
            <a:off x="5315337" y="3933742"/>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sp>
        <p:nvSpPr>
          <p:cNvPr id="84" name="Rectangle 83">
            <a:extLst>
              <a:ext uri="{FF2B5EF4-FFF2-40B4-BE49-F238E27FC236}">
                <a16:creationId xmlns:a16="http://schemas.microsoft.com/office/drawing/2014/main" id="{65CBD7FC-0EDE-41D4-A539-3AA58C04AC89}"/>
              </a:ext>
            </a:extLst>
          </p:cNvPr>
          <p:cNvSpPr/>
          <p:nvPr/>
        </p:nvSpPr>
        <p:spPr>
          <a:xfrm>
            <a:off x="6494007" y="3927407"/>
            <a:ext cx="1417252" cy="199878"/>
          </a:xfrm>
          <a:prstGeom prst="rect">
            <a:avLst/>
          </a:prstGeom>
        </p:spPr>
        <p:txBody>
          <a:bodyPr wrap="square" lIns="0" tIns="0" rIns="0" bIns="0">
            <a:noAutofit/>
          </a:bodyPr>
          <a:lstStyle/>
          <a:p>
            <a:r>
              <a:rPr lang="en-US" sz="1200">
                <a:latin typeface="Segoe UI" panose="020B0502040204020203" pitchFamily="34" charset="0"/>
                <a:cs typeface="Segoe UI" panose="020B0502040204020203" pitchFamily="34" charset="0"/>
              </a:rPr>
              <a:t>Tone shifts to formal</a:t>
            </a:r>
            <a:endParaRPr lang="en-US" sz="1200"/>
          </a:p>
        </p:txBody>
      </p:sp>
      <p:cxnSp>
        <p:nvCxnSpPr>
          <p:cNvPr id="87" name="Connector: Elbow 86">
            <a:extLst>
              <a:ext uri="{FF2B5EF4-FFF2-40B4-BE49-F238E27FC236}">
                <a16:creationId xmlns:a16="http://schemas.microsoft.com/office/drawing/2014/main" id="{F6CACA3B-BEAA-4150-A1D7-3FDAE90D4CCF}"/>
              </a:ext>
            </a:extLst>
          </p:cNvPr>
          <p:cNvCxnSpPr>
            <a:cxnSpLocks/>
            <a:stCxn id="84" idx="3"/>
          </p:cNvCxnSpPr>
          <p:nvPr/>
        </p:nvCxnSpPr>
        <p:spPr>
          <a:xfrm flipV="1">
            <a:off x="7911259" y="3731635"/>
            <a:ext cx="543526" cy="295711"/>
          </a:xfrm>
          <a:prstGeom prst="bentConnector3">
            <a:avLst>
              <a:gd name="adj1" fmla="val 99945"/>
            </a:avLst>
          </a:prstGeom>
          <a:ln>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9DDF4E4B-24BD-4603-ADE1-AE4D9EF10824}"/>
              </a:ext>
            </a:extLst>
          </p:cNvPr>
          <p:cNvSpPr/>
          <p:nvPr/>
        </p:nvSpPr>
        <p:spPr>
          <a:xfrm>
            <a:off x="6494007" y="5311960"/>
            <a:ext cx="1154568" cy="199878"/>
          </a:xfrm>
          <a:prstGeom prst="rect">
            <a:avLst/>
          </a:prstGeom>
        </p:spPr>
        <p:txBody>
          <a:bodyPr wrap="square" lIns="0" tIns="0" rIns="0" bIns="0">
            <a:noAutofit/>
          </a:bodyPr>
          <a:lstStyle/>
          <a:p>
            <a:r>
              <a:rPr lang="en-US" sz="1200">
                <a:latin typeface="Segoe UI" panose="020B0502040204020203" pitchFamily="34" charset="0"/>
                <a:cs typeface="Segoe UI" panose="020B0502040204020203" pitchFamily="34" charset="0"/>
              </a:rPr>
              <a:t>Demanding tone</a:t>
            </a:r>
            <a:endParaRPr lang="en-US" sz="1200"/>
          </a:p>
        </p:txBody>
      </p:sp>
      <p:cxnSp>
        <p:nvCxnSpPr>
          <p:cNvPr id="104" name="Connector: Elbow 103">
            <a:extLst>
              <a:ext uri="{FF2B5EF4-FFF2-40B4-BE49-F238E27FC236}">
                <a16:creationId xmlns:a16="http://schemas.microsoft.com/office/drawing/2014/main" id="{1025B3DE-1136-4FF9-9926-4EC9D068B720}"/>
              </a:ext>
            </a:extLst>
          </p:cNvPr>
          <p:cNvCxnSpPr>
            <a:cxnSpLocks/>
            <a:stCxn id="102" idx="3"/>
            <a:endCxn id="189" idx="2"/>
          </p:cNvCxnSpPr>
          <p:nvPr/>
        </p:nvCxnSpPr>
        <p:spPr>
          <a:xfrm flipV="1">
            <a:off x="7648575" y="5193678"/>
            <a:ext cx="1281338" cy="218221"/>
          </a:xfrm>
          <a:prstGeom prst="bentConnector2">
            <a:avLst/>
          </a:prstGeom>
          <a:ln>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Connector 15">
            <a:extLst>
              <a:ext uri="{FF2B5EF4-FFF2-40B4-BE49-F238E27FC236}">
                <a16:creationId xmlns:a16="http://schemas.microsoft.com/office/drawing/2014/main" id="{76A0AEA6-96A5-4B9F-9C0F-5BE1B630D853}"/>
              </a:ext>
            </a:extLst>
          </p:cNvPr>
          <p:cNvCxnSpPr>
            <a:cxnSpLocks/>
          </p:cNvCxnSpPr>
          <p:nvPr/>
        </p:nvCxnSpPr>
        <p:spPr>
          <a:xfrm>
            <a:off x="6104057" y="2439722"/>
            <a:ext cx="0" cy="25603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5" name="Group 87">
            <a:extLst>
              <a:ext uri="{FF2B5EF4-FFF2-40B4-BE49-F238E27FC236}">
                <a16:creationId xmlns:a16="http://schemas.microsoft.com/office/drawing/2014/main" id="{85A353A3-7D77-4CF7-91FF-F0A89B0DBB27}"/>
              </a:ext>
            </a:extLst>
          </p:cNvPr>
          <p:cNvGrpSpPr/>
          <p:nvPr/>
        </p:nvGrpSpPr>
        <p:grpSpPr>
          <a:xfrm>
            <a:off x="930369" y="2411724"/>
            <a:ext cx="3995345" cy="457200"/>
            <a:chOff x="1235090" y="2513206"/>
            <a:chExt cx="3995345" cy="457200"/>
          </a:xfrm>
        </p:grpSpPr>
        <p:sp>
          <p:nvSpPr>
            <p:cNvPr id="136" name="Rectangle: Rounded Corners 135">
              <a:extLst>
                <a:ext uri="{FF2B5EF4-FFF2-40B4-BE49-F238E27FC236}">
                  <a16:creationId xmlns:a16="http://schemas.microsoft.com/office/drawing/2014/main" id="{437C9FC8-D2B2-4149-8E79-EAC42702C89D}"/>
                </a:ext>
              </a:extLst>
            </p:cNvPr>
            <p:cNvSpPr/>
            <p:nvPr/>
          </p:nvSpPr>
          <p:spPr bwMode="auto">
            <a:xfrm>
              <a:off x="1447942" y="2513206"/>
              <a:ext cx="3782493" cy="457200"/>
            </a:xfrm>
            <a:prstGeom prst="roundRect">
              <a:avLst>
                <a:gd name="adj" fmla="val 130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Hi there. Welcome to the Store Assistant. I can help you make a return or exchange.</a:t>
              </a:r>
            </a:p>
          </p:txBody>
        </p:sp>
        <p:sp>
          <p:nvSpPr>
            <p:cNvPr id="137" name="Isosceles Triangle 136">
              <a:extLst>
                <a:ext uri="{FF2B5EF4-FFF2-40B4-BE49-F238E27FC236}">
                  <a16:creationId xmlns:a16="http://schemas.microsoft.com/office/drawing/2014/main" id="{954DC79F-0B6E-42CD-962F-ADCB21A52F44}"/>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8" name="Group 84">
            <a:extLst>
              <a:ext uri="{FF2B5EF4-FFF2-40B4-BE49-F238E27FC236}">
                <a16:creationId xmlns:a16="http://schemas.microsoft.com/office/drawing/2014/main" id="{1846B631-CC1B-4A98-A524-31AEB73EB78F}"/>
              </a:ext>
            </a:extLst>
          </p:cNvPr>
          <p:cNvGrpSpPr/>
          <p:nvPr/>
        </p:nvGrpSpPr>
        <p:grpSpPr>
          <a:xfrm>
            <a:off x="481714" y="2367575"/>
            <a:ext cx="344143" cy="344143"/>
            <a:chOff x="12510166" y="1289683"/>
            <a:chExt cx="685799" cy="685799"/>
          </a:xfrm>
        </p:grpSpPr>
        <p:sp>
          <p:nvSpPr>
            <p:cNvPr id="139" name="Oval 42">
              <a:extLst>
                <a:ext uri="{FF2B5EF4-FFF2-40B4-BE49-F238E27FC236}">
                  <a16:creationId xmlns:a16="http://schemas.microsoft.com/office/drawing/2014/main" id="{808D786E-E9D8-42FC-9CBA-9FE38B141377}"/>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0" name="Group 61">
              <a:extLst>
                <a:ext uri="{FF2B5EF4-FFF2-40B4-BE49-F238E27FC236}">
                  <a16:creationId xmlns:a16="http://schemas.microsoft.com/office/drawing/2014/main" id="{52E7B24C-BC95-4114-B6CE-C5D84427B6F2}"/>
                </a:ext>
              </a:extLst>
            </p:cNvPr>
            <p:cNvGrpSpPr/>
            <p:nvPr/>
          </p:nvGrpSpPr>
          <p:grpSpPr>
            <a:xfrm>
              <a:off x="12688064" y="1458670"/>
              <a:ext cx="330003" cy="347825"/>
              <a:chOff x="5084670" y="6673208"/>
              <a:chExt cx="2733675" cy="2881313"/>
            </a:xfrm>
          </p:grpSpPr>
          <p:sp>
            <p:nvSpPr>
              <p:cNvPr id="141" name="Freeform: Shape 140">
                <a:extLst>
                  <a:ext uri="{FF2B5EF4-FFF2-40B4-BE49-F238E27FC236}">
                    <a16:creationId xmlns:a16="http://schemas.microsoft.com/office/drawing/2014/main" id="{6EA4B7BD-7E6C-44AF-898F-2B93574C526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2" name="Freeform: Shape 141">
                <a:extLst>
                  <a:ext uri="{FF2B5EF4-FFF2-40B4-BE49-F238E27FC236}">
                    <a16:creationId xmlns:a16="http://schemas.microsoft.com/office/drawing/2014/main" id="{9E0306C6-B93D-4BCB-A31C-90FC9BB9B206}"/>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43" name="Group 87">
            <a:extLst>
              <a:ext uri="{FF2B5EF4-FFF2-40B4-BE49-F238E27FC236}">
                <a16:creationId xmlns:a16="http://schemas.microsoft.com/office/drawing/2014/main" id="{607F28B0-43D4-4A4C-B571-B7CD5C1BD45F}"/>
              </a:ext>
            </a:extLst>
          </p:cNvPr>
          <p:cNvGrpSpPr/>
          <p:nvPr/>
        </p:nvGrpSpPr>
        <p:grpSpPr>
          <a:xfrm>
            <a:off x="930369" y="3096033"/>
            <a:ext cx="3995345" cy="457200"/>
            <a:chOff x="1235090" y="2513206"/>
            <a:chExt cx="3995345" cy="457200"/>
          </a:xfrm>
        </p:grpSpPr>
        <p:sp>
          <p:nvSpPr>
            <p:cNvPr id="144" name="Rectangle: Rounded Corners 143">
              <a:extLst>
                <a:ext uri="{FF2B5EF4-FFF2-40B4-BE49-F238E27FC236}">
                  <a16:creationId xmlns:a16="http://schemas.microsoft.com/office/drawing/2014/main" id="{FF9FBF65-D06C-4A6F-9B2B-2F99A48FA6E0}"/>
                </a:ext>
              </a:extLst>
            </p:cNvPr>
            <p:cNvSpPr/>
            <p:nvPr/>
          </p:nvSpPr>
          <p:spPr bwMode="auto">
            <a:xfrm>
              <a:off x="1447942" y="2513206"/>
              <a:ext cx="3782493" cy="457200"/>
            </a:xfrm>
            <a:prstGeom prst="roundRect">
              <a:avLst>
                <a:gd name="adj" fmla="val 130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Let me know at any time if you’d like to chat with a live customer service agent. </a:t>
              </a:r>
            </a:p>
          </p:txBody>
        </p:sp>
        <p:sp>
          <p:nvSpPr>
            <p:cNvPr id="145" name="Isosceles Triangle 144">
              <a:extLst>
                <a:ext uri="{FF2B5EF4-FFF2-40B4-BE49-F238E27FC236}">
                  <a16:creationId xmlns:a16="http://schemas.microsoft.com/office/drawing/2014/main" id="{83B96882-3094-4FD2-80D8-6B57E146C5CB}"/>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6" name="Group 87">
            <a:extLst>
              <a:ext uri="{FF2B5EF4-FFF2-40B4-BE49-F238E27FC236}">
                <a16:creationId xmlns:a16="http://schemas.microsoft.com/office/drawing/2014/main" id="{775B3A7F-B1FC-4B99-B95B-9E52C8CBB80F}"/>
              </a:ext>
            </a:extLst>
          </p:cNvPr>
          <p:cNvGrpSpPr/>
          <p:nvPr/>
        </p:nvGrpSpPr>
        <p:grpSpPr>
          <a:xfrm>
            <a:off x="930369" y="4736478"/>
            <a:ext cx="3995345" cy="457200"/>
            <a:chOff x="1235090" y="2513206"/>
            <a:chExt cx="3995345" cy="457200"/>
          </a:xfrm>
        </p:grpSpPr>
        <p:sp>
          <p:nvSpPr>
            <p:cNvPr id="147" name="Rectangle: Rounded Corners 146">
              <a:extLst>
                <a:ext uri="{FF2B5EF4-FFF2-40B4-BE49-F238E27FC236}">
                  <a16:creationId xmlns:a16="http://schemas.microsoft.com/office/drawing/2014/main" id="{2AC54576-1D63-4E8E-9F17-FCF8CB6C61B4}"/>
                </a:ext>
              </a:extLst>
            </p:cNvPr>
            <p:cNvSpPr/>
            <p:nvPr/>
          </p:nvSpPr>
          <p:spPr bwMode="auto">
            <a:xfrm>
              <a:off x="1447942" y="2513206"/>
              <a:ext cx="3782493" cy="457200"/>
            </a:xfrm>
            <a:prstGeom prst="roundRect">
              <a:avLst>
                <a:gd name="adj" fmla="val 130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OK. Could you provide your order number, please?</a:t>
              </a:r>
            </a:p>
          </p:txBody>
        </p:sp>
        <p:sp>
          <p:nvSpPr>
            <p:cNvPr id="148" name="Isosceles Triangle 147">
              <a:extLst>
                <a:ext uri="{FF2B5EF4-FFF2-40B4-BE49-F238E27FC236}">
                  <a16:creationId xmlns:a16="http://schemas.microsoft.com/office/drawing/2014/main" id="{94B1973C-8064-496F-AAC8-296420D9BEB7}"/>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9" name="Group 84">
            <a:extLst>
              <a:ext uri="{FF2B5EF4-FFF2-40B4-BE49-F238E27FC236}">
                <a16:creationId xmlns:a16="http://schemas.microsoft.com/office/drawing/2014/main" id="{30D6071C-3A06-4269-98C4-922F3DD4F56F}"/>
              </a:ext>
            </a:extLst>
          </p:cNvPr>
          <p:cNvGrpSpPr/>
          <p:nvPr/>
        </p:nvGrpSpPr>
        <p:grpSpPr>
          <a:xfrm>
            <a:off x="481714" y="3049355"/>
            <a:ext cx="344143" cy="344143"/>
            <a:chOff x="12510166" y="1289683"/>
            <a:chExt cx="685799" cy="685799"/>
          </a:xfrm>
        </p:grpSpPr>
        <p:sp>
          <p:nvSpPr>
            <p:cNvPr id="150" name="Oval 42">
              <a:extLst>
                <a:ext uri="{FF2B5EF4-FFF2-40B4-BE49-F238E27FC236}">
                  <a16:creationId xmlns:a16="http://schemas.microsoft.com/office/drawing/2014/main" id="{23F4159D-ADA9-4448-8081-3758CA3FCD8A}"/>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61">
              <a:extLst>
                <a:ext uri="{FF2B5EF4-FFF2-40B4-BE49-F238E27FC236}">
                  <a16:creationId xmlns:a16="http://schemas.microsoft.com/office/drawing/2014/main" id="{545B020E-1DA6-4ECD-9871-8071AC1B0787}"/>
                </a:ext>
              </a:extLst>
            </p:cNvPr>
            <p:cNvGrpSpPr/>
            <p:nvPr/>
          </p:nvGrpSpPr>
          <p:grpSpPr>
            <a:xfrm>
              <a:off x="12688064" y="1458670"/>
              <a:ext cx="330003" cy="347825"/>
              <a:chOff x="5084670" y="6673208"/>
              <a:chExt cx="2733675" cy="2881313"/>
            </a:xfrm>
          </p:grpSpPr>
          <p:sp>
            <p:nvSpPr>
              <p:cNvPr id="152" name="Freeform: Shape 151">
                <a:extLst>
                  <a:ext uri="{FF2B5EF4-FFF2-40B4-BE49-F238E27FC236}">
                    <a16:creationId xmlns:a16="http://schemas.microsoft.com/office/drawing/2014/main" id="{8E90C567-CB86-4CD3-95B0-22B84B47B8E8}"/>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3" name="Freeform: Shape 152">
                <a:extLst>
                  <a:ext uri="{FF2B5EF4-FFF2-40B4-BE49-F238E27FC236}">
                    <a16:creationId xmlns:a16="http://schemas.microsoft.com/office/drawing/2014/main" id="{709DCFE0-6545-48EA-81BB-4956BD73F122}"/>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54" name="Group 84">
            <a:extLst>
              <a:ext uri="{FF2B5EF4-FFF2-40B4-BE49-F238E27FC236}">
                <a16:creationId xmlns:a16="http://schemas.microsoft.com/office/drawing/2014/main" id="{F4B14242-EEE3-4494-8ADD-A7D26F0300FF}"/>
              </a:ext>
            </a:extLst>
          </p:cNvPr>
          <p:cNvGrpSpPr/>
          <p:nvPr/>
        </p:nvGrpSpPr>
        <p:grpSpPr>
          <a:xfrm>
            <a:off x="481714" y="4689041"/>
            <a:ext cx="344143" cy="344143"/>
            <a:chOff x="12510166" y="1289683"/>
            <a:chExt cx="685799" cy="685799"/>
          </a:xfrm>
        </p:grpSpPr>
        <p:sp>
          <p:nvSpPr>
            <p:cNvPr id="155" name="Oval 42">
              <a:extLst>
                <a:ext uri="{FF2B5EF4-FFF2-40B4-BE49-F238E27FC236}">
                  <a16:creationId xmlns:a16="http://schemas.microsoft.com/office/drawing/2014/main" id="{4C670A99-E327-4743-A3E6-C5B0F37BE46C}"/>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6" name="Group 61">
              <a:extLst>
                <a:ext uri="{FF2B5EF4-FFF2-40B4-BE49-F238E27FC236}">
                  <a16:creationId xmlns:a16="http://schemas.microsoft.com/office/drawing/2014/main" id="{3049C5B9-59BE-42B3-AD7F-588591E217DF}"/>
                </a:ext>
              </a:extLst>
            </p:cNvPr>
            <p:cNvGrpSpPr/>
            <p:nvPr/>
          </p:nvGrpSpPr>
          <p:grpSpPr>
            <a:xfrm>
              <a:off x="12688064" y="1458670"/>
              <a:ext cx="330003" cy="347825"/>
              <a:chOff x="5084670" y="6673208"/>
              <a:chExt cx="2733675" cy="2881313"/>
            </a:xfrm>
          </p:grpSpPr>
          <p:sp>
            <p:nvSpPr>
              <p:cNvPr id="157" name="Freeform: Shape 156">
                <a:extLst>
                  <a:ext uri="{FF2B5EF4-FFF2-40B4-BE49-F238E27FC236}">
                    <a16:creationId xmlns:a16="http://schemas.microsoft.com/office/drawing/2014/main" id="{D322EAE7-1706-49E7-9909-E0EBF2C97D6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8" name="Freeform: Shape 157">
                <a:extLst>
                  <a:ext uri="{FF2B5EF4-FFF2-40B4-BE49-F238E27FC236}">
                    <a16:creationId xmlns:a16="http://schemas.microsoft.com/office/drawing/2014/main" id="{D280DB0E-4A55-4313-AF34-FB28C7B5F8C3}"/>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59" name="Group 113">
            <a:extLst>
              <a:ext uri="{FF2B5EF4-FFF2-40B4-BE49-F238E27FC236}">
                <a16:creationId xmlns:a16="http://schemas.microsoft.com/office/drawing/2014/main" id="{68ACD8E9-39FE-492B-A109-F450E1FD27AB}"/>
              </a:ext>
            </a:extLst>
          </p:cNvPr>
          <p:cNvGrpSpPr/>
          <p:nvPr/>
        </p:nvGrpSpPr>
        <p:grpSpPr>
          <a:xfrm>
            <a:off x="3306456" y="3974121"/>
            <a:ext cx="1965363" cy="362649"/>
            <a:chOff x="9030273" y="3961429"/>
            <a:chExt cx="1965363" cy="362649"/>
          </a:xfrm>
        </p:grpSpPr>
        <p:sp>
          <p:nvSpPr>
            <p:cNvPr id="160" name="Rectangle: Rounded Corners 159">
              <a:extLst>
                <a:ext uri="{FF2B5EF4-FFF2-40B4-BE49-F238E27FC236}">
                  <a16:creationId xmlns:a16="http://schemas.microsoft.com/office/drawing/2014/main" id="{DE966223-51CD-4C80-9C9E-5F9F4D488694}"/>
                </a:ext>
              </a:extLst>
            </p:cNvPr>
            <p:cNvSpPr/>
            <p:nvPr/>
          </p:nvSpPr>
          <p:spPr bwMode="auto">
            <a:xfrm>
              <a:off x="9030273" y="3961429"/>
              <a:ext cx="1779384"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I want to return an item</a:t>
              </a:r>
            </a:p>
          </p:txBody>
        </p:sp>
        <p:sp>
          <p:nvSpPr>
            <p:cNvPr id="161" name="Isosceles Triangle 160">
              <a:extLst>
                <a:ext uri="{FF2B5EF4-FFF2-40B4-BE49-F238E27FC236}">
                  <a16:creationId xmlns:a16="http://schemas.microsoft.com/office/drawing/2014/main" id="{C0C6080D-0D24-4AB0-A72D-A22B3A2D370B}"/>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68" name="Group 87">
            <a:extLst>
              <a:ext uri="{FF2B5EF4-FFF2-40B4-BE49-F238E27FC236}">
                <a16:creationId xmlns:a16="http://schemas.microsoft.com/office/drawing/2014/main" id="{161328A3-2758-4874-9408-19A3751A06CD}"/>
              </a:ext>
            </a:extLst>
          </p:cNvPr>
          <p:cNvGrpSpPr/>
          <p:nvPr/>
        </p:nvGrpSpPr>
        <p:grpSpPr>
          <a:xfrm>
            <a:off x="6825814" y="2411724"/>
            <a:ext cx="3995345" cy="457200"/>
            <a:chOff x="1235090" y="2513206"/>
            <a:chExt cx="3995345" cy="457200"/>
          </a:xfrm>
        </p:grpSpPr>
        <p:sp>
          <p:nvSpPr>
            <p:cNvPr id="169" name="Rectangle: Rounded Corners 168">
              <a:extLst>
                <a:ext uri="{FF2B5EF4-FFF2-40B4-BE49-F238E27FC236}">
                  <a16:creationId xmlns:a16="http://schemas.microsoft.com/office/drawing/2014/main" id="{8896070F-26F2-4B1B-A11A-871474647053}"/>
                </a:ext>
              </a:extLst>
            </p:cNvPr>
            <p:cNvSpPr/>
            <p:nvPr/>
          </p:nvSpPr>
          <p:spPr bwMode="auto">
            <a:xfrm>
              <a:off x="1447942" y="2513206"/>
              <a:ext cx="3782493" cy="457200"/>
            </a:xfrm>
            <a:prstGeom prst="roundRect">
              <a:avLst>
                <a:gd name="adj" fmla="val 102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Hi there. Welcome to the Store Assistant. I can help you make a return or exchange.</a:t>
              </a:r>
            </a:p>
          </p:txBody>
        </p:sp>
        <p:sp>
          <p:nvSpPr>
            <p:cNvPr id="170" name="Isosceles Triangle 169">
              <a:extLst>
                <a:ext uri="{FF2B5EF4-FFF2-40B4-BE49-F238E27FC236}">
                  <a16:creationId xmlns:a16="http://schemas.microsoft.com/office/drawing/2014/main" id="{D068B441-D7C6-45C3-9717-EC94301987B3}"/>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1" name="Group 84">
            <a:extLst>
              <a:ext uri="{FF2B5EF4-FFF2-40B4-BE49-F238E27FC236}">
                <a16:creationId xmlns:a16="http://schemas.microsoft.com/office/drawing/2014/main" id="{7EF4BA25-175F-414C-A49B-E5036D5DED5C}"/>
              </a:ext>
            </a:extLst>
          </p:cNvPr>
          <p:cNvGrpSpPr/>
          <p:nvPr/>
        </p:nvGrpSpPr>
        <p:grpSpPr>
          <a:xfrm>
            <a:off x="6351759" y="2367575"/>
            <a:ext cx="344143" cy="344143"/>
            <a:chOff x="12510166" y="1289683"/>
            <a:chExt cx="685799" cy="685799"/>
          </a:xfrm>
        </p:grpSpPr>
        <p:sp>
          <p:nvSpPr>
            <p:cNvPr id="172" name="Oval 42">
              <a:extLst>
                <a:ext uri="{FF2B5EF4-FFF2-40B4-BE49-F238E27FC236}">
                  <a16:creationId xmlns:a16="http://schemas.microsoft.com/office/drawing/2014/main" id="{BA748352-D968-4D55-A3FD-A19FE2C4D57C}"/>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3" name="Group 61">
              <a:extLst>
                <a:ext uri="{FF2B5EF4-FFF2-40B4-BE49-F238E27FC236}">
                  <a16:creationId xmlns:a16="http://schemas.microsoft.com/office/drawing/2014/main" id="{A3236F64-A231-4A64-9081-A5B43393B30F}"/>
                </a:ext>
              </a:extLst>
            </p:cNvPr>
            <p:cNvGrpSpPr/>
            <p:nvPr/>
          </p:nvGrpSpPr>
          <p:grpSpPr>
            <a:xfrm>
              <a:off x="12688064" y="1458670"/>
              <a:ext cx="330003" cy="347825"/>
              <a:chOff x="5084670" y="6673208"/>
              <a:chExt cx="2733675" cy="2881313"/>
            </a:xfrm>
          </p:grpSpPr>
          <p:sp>
            <p:nvSpPr>
              <p:cNvPr id="174" name="Freeform: Shape 173">
                <a:extLst>
                  <a:ext uri="{FF2B5EF4-FFF2-40B4-BE49-F238E27FC236}">
                    <a16:creationId xmlns:a16="http://schemas.microsoft.com/office/drawing/2014/main" id="{8CC335D6-BA50-4FDD-A062-D20A3728CF63}"/>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5" name="Freeform: Shape 174">
                <a:extLst>
                  <a:ext uri="{FF2B5EF4-FFF2-40B4-BE49-F238E27FC236}">
                    <a16:creationId xmlns:a16="http://schemas.microsoft.com/office/drawing/2014/main" id="{2B89C088-B308-4EF0-A54B-5E9E653C30D8}"/>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76" name="Group 87">
            <a:extLst>
              <a:ext uri="{FF2B5EF4-FFF2-40B4-BE49-F238E27FC236}">
                <a16:creationId xmlns:a16="http://schemas.microsoft.com/office/drawing/2014/main" id="{8D6C0CB7-4803-4E95-8ACB-37BE598DE2CA}"/>
              </a:ext>
            </a:extLst>
          </p:cNvPr>
          <p:cNvGrpSpPr/>
          <p:nvPr/>
        </p:nvGrpSpPr>
        <p:grpSpPr>
          <a:xfrm>
            <a:off x="6825814" y="3096033"/>
            <a:ext cx="3995345" cy="635602"/>
            <a:chOff x="1235090" y="2513206"/>
            <a:chExt cx="3995345" cy="635602"/>
          </a:xfrm>
        </p:grpSpPr>
        <p:sp>
          <p:nvSpPr>
            <p:cNvPr id="177" name="Rectangle: Rounded Corners 176">
              <a:extLst>
                <a:ext uri="{FF2B5EF4-FFF2-40B4-BE49-F238E27FC236}">
                  <a16:creationId xmlns:a16="http://schemas.microsoft.com/office/drawing/2014/main" id="{6FD2D60C-338D-4A7A-BE58-1EF5E35FF33C}"/>
                </a:ext>
              </a:extLst>
            </p:cNvPr>
            <p:cNvSpPr/>
            <p:nvPr/>
          </p:nvSpPr>
          <p:spPr bwMode="auto">
            <a:xfrm>
              <a:off x="1447942" y="2513206"/>
              <a:ext cx="3782493" cy="635602"/>
            </a:xfrm>
            <a:prstGeom prst="roundRect">
              <a:avLst>
                <a:gd name="adj" fmla="val 1003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If you wish to be in contact with a live customer service agent in regards to your problem, please click the button below.</a:t>
              </a:r>
            </a:p>
          </p:txBody>
        </p:sp>
        <p:sp>
          <p:nvSpPr>
            <p:cNvPr id="178" name="Isosceles Triangle 177">
              <a:extLst>
                <a:ext uri="{FF2B5EF4-FFF2-40B4-BE49-F238E27FC236}">
                  <a16:creationId xmlns:a16="http://schemas.microsoft.com/office/drawing/2014/main" id="{849F5A10-08E8-4D07-A21D-0310F1032AB1}"/>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9" name="Group 84">
            <a:extLst>
              <a:ext uri="{FF2B5EF4-FFF2-40B4-BE49-F238E27FC236}">
                <a16:creationId xmlns:a16="http://schemas.microsoft.com/office/drawing/2014/main" id="{0D20C78A-9A58-4582-8697-7D5205D2023C}"/>
              </a:ext>
            </a:extLst>
          </p:cNvPr>
          <p:cNvGrpSpPr/>
          <p:nvPr/>
        </p:nvGrpSpPr>
        <p:grpSpPr>
          <a:xfrm>
            <a:off x="6351759" y="3049355"/>
            <a:ext cx="344143" cy="344143"/>
            <a:chOff x="12510166" y="1289683"/>
            <a:chExt cx="685799" cy="685799"/>
          </a:xfrm>
        </p:grpSpPr>
        <p:sp>
          <p:nvSpPr>
            <p:cNvPr id="180" name="Oval 42">
              <a:extLst>
                <a:ext uri="{FF2B5EF4-FFF2-40B4-BE49-F238E27FC236}">
                  <a16:creationId xmlns:a16="http://schemas.microsoft.com/office/drawing/2014/main" id="{C3C8A01A-48C8-44EB-BA7A-521B1F6B47B0}"/>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1" name="Group 61">
              <a:extLst>
                <a:ext uri="{FF2B5EF4-FFF2-40B4-BE49-F238E27FC236}">
                  <a16:creationId xmlns:a16="http://schemas.microsoft.com/office/drawing/2014/main" id="{ED3F6773-38A1-4498-B92C-931741EB1456}"/>
                </a:ext>
              </a:extLst>
            </p:cNvPr>
            <p:cNvGrpSpPr/>
            <p:nvPr/>
          </p:nvGrpSpPr>
          <p:grpSpPr>
            <a:xfrm>
              <a:off x="12688064" y="1458670"/>
              <a:ext cx="330003" cy="347825"/>
              <a:chOff x="5084670" y="6673208"/>
              <a:chExt cx="2733675" cy="2881313"/>
            </a:xfrm>
          </p:grpSpPr>
          <p:sp>
            <p:nvSpPr>
              <p:cNvPr id="182" name="Freeform: Shape 181">
                <a:extLst>
                  <a:ext uri="{FF2B5EF4-FFF2-40B4-BE49-F238E27FC236}">
                    <a16:creationId xmlns:a16="http://schemas.microsoft.com/office/drawing/2014/main" id="{833AE410-7877-4323-8182-502EB02365EF}"/>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3" name="Freeform: Shape 182">
                <a:extLst>
                  <a:ext uri="{FF2B5EF4-FFF2-40B4-BE49-F238E27FC236}">
                    <a16:creationId xmlns:a16="http://schemas.microsoft.com/office/drawing/2014/main" id="{2F953B0C-21E9-4691-9BB2-9AA289702E92}"/>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184" name="Picture 183">
            <a:extLst>
              <a:ext uri="{FF2B5EF4-FFF2-40B4-BE49-F238E27FC236}">
                <a16:creationId xmlns:a16="http://schemas.microsoft.com/office/drawing/2014/main" id="{E2264288-9DD0-4131-AB5A-E714BA8218FA}"/>
              </a:ext>
            </a:extLst>
          </p:cNvPr>
          <p:cNvPicPr>
            <a:picLocks noChangeAspect="1"/>
          </p:cNvPicPr>
          <p:nvPr/>
        </p:nvPicPr>
        <p:blipFill>
          <a:blip r:embed="rId3"/>
          <a:srcRect b="258"/>
          <a:stretch>
            <a:fillRect/>
          </a:stretch>
        </p:blipFill>
        <p:spPr>
          <a:xfrm>
            <a:off x="11252386" y="3933742"/>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185" name="Group 113">
            <a:extLst>
              <a:ext uri="{FF2B5EF4-FFF2-40B4-BE49-F238E27FC236}">
                <a16:creationId xmlns:a16="http://schemas.microsoft.com/office/drawing/2014/main" id="{324D7017-18F0-4001-B751-DEC9D6CB48D3}"/>
              </a:ext>
            </a:extLst>
          </p:cNvPr>
          <p:cNvGrpSpPr/>
          <p:nvPr/>
        </p:nvGrpSpPr>
        <p:grpSpPr>
          <a:xfrm>
            <a:off x="9327377" y="3974121"/>
            <a:ext cx="1881491" cy="362649"/>
            <a:chOff x="9114145" y="3961429"/>
            <a:chExt cx="1881491" cy="362649"/>
          </a:xfrm>
        </p:grpSpPr>
        <p:sp>
          <p:nvSpPr>
            <p:cNvPr id="186" name="Rectangle: Rounded Corners 185">
              <a:extLst>
                <a:ext uri="{FF2B5EF4-FFF2-40B4-BE49-F238E27FC236}">
                  <a16:creationId xmlns:a16="http://schemas.microsoft.com/office/drawing/2014/main" id="{860DE6F8-6990-4851-883C-B6ECC3B2CB62}"/>
                </a:ext>
              </a:extLst>
            </p:cNvPr>
            <p:cNvSpPr/>
            <p:nvPr/>
          </p:nvSpPr>
          <p:spPr bwMode="auto">
            <a:xfrm>
              <a:off x="9114145" y="3961429"/>
              <a:ext cx="1695511"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I want to return an item</a:t>
              </a:r>
            </a:p>
          </p:txBody>
        </p:sp>
        <p:sp>
          <p:nvSpPr>
            <p:cNvPr id="187" name="Isosceles Triangle 186">
              <a:extLst>
                <a:ext uri="{FF2B5EF4-FFF2-40B4-BE49-F238E27FC236}">
                  <a16:creationId xmlns:a16="http://schemas.microsoft.com/office/drawing/2014/main" id="{05AE4D62-4F34-4548-8BA0-E08C4CDA31F7}"/>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88" name="Group 87">
            <a:extLst>
              <a:ext uri="{FF2B5EF4-FFF2-40B4-BE49-F238E27FC236}">
                <a16:creationId xmlns:a16="http://schemas.microsoft.com/office/drawing/2014/main" id="{48000FA1-2062-4EC6-8FAC-7F42614A893B}"/>
              </a:ext>
            </a:extLst>
          </p:cNvPr>
          <p:cNvGrpSpPr/>
          <p:nvPr/>
        </p:nvGrpSpPr>
        <p:grpSpPr>
          <a:xfrm>
            <a:off x="6825814" y="4736478"/>
            <a:ext cx="3995345" cy="457200"/>
            <a:chOff x="1235090" y="2513206"/>
            <a:chExt cx="3995345" cy="457200"/>
          </a:xfrm>
        </p:grpSpPr>
        <p:sp>
          <p:nvSpPr>
            <p:cNvPr id="189" name="Rectangle: Rounded Corners 188">
              <a:extLst>
                <a:ext uri="{FF2B5EF4-FFF2-40B4-BE49-F238E27FC236}">
                  <a16:creationId xmlns:a16="http://schemas.microsoft.com/office/drawing/2014/main" id="{AD30BF83-99BD-49CE-A3A6-2C4B50923402}"/>
                </a:ext>
              </a:extLst>
            </p:cNvPr>
            <p:cNvSpPr/>
            <p:nvPr/>
          </p:nvSpPr>
          <p:spPr bwMode="auto">
            <a:xfrm>
              <a:off x="1447942" y="2513206"/>
              <a:ext cx="3782493" cy="457200"/>
            </a:xfrm>
            <a:prstGeom prst="roundRect">
              <a:avLst>
                <a:gd name="adj" fmla="val 130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OK. Provide your order number.</a:t>
              </a:r>
            </a:p>
          </p:txBody>
        </p:sp>
        <p:sp>
          <p:nvSpPr>
            <p:cNvPr id="190" name="Isosceles Triangle 189">
              <a:extLst>
                <a:ext uri="{FF2B5EF4-FFF2-40B4-BE49-F238E27FC236}">
                  <a16:creationId xmlns:a16="http://schemas.microsoft.com/office/drawing/2014/main" id="{A4F45879-BAA5-4393-9C13-8061D9533D62}"/>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1" name="Group 84">
            <a:extLst>
              <a:ext uri="{FF2B5EF4-FFF2-40B4-BE49-F238E27FC236}">
                <a16:creationId xmlns:a16="http://schemas.microsoft.com/office/drawing/2014/main" id="{0EDB5353-65C5-423E-8D85-0B3F878F1958}"/>
              </a:ext>
            </a:extLst>
          </p:cNvPr>
          <p:cNvGrpSpPr/>
          <p:nvPr/>
        </p:nvGrpSpPr>
        <p:grpSpPr>
          <a:xfrm>
            <a:off x="6351759" y="4689041"/>
            <a:ext cx="344143" cy="344143"/>
            <a:chOff x="12510166" y="1289683"/>
            <a:chExt cx="685799" cy="685799"/>
          </a:xfrm>
        </p:grpSpPr>
        <p:sp>
          <p:nvSpPr>
            <p:cNvPr id="192" name="Oval 42">
              <a:extLst>
                <a:ext uri="{FF2B5EF4-FFF2-40B4-BE49-F238E27FC236}">
                  <a16:creationId xmlns:a16="http://schemas.microsoft.com/office/drawing/2014/main" id="{81307693-CE50-4962-80F5-7927E7C58308}"/>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93" name="Group 61">
              <a:extLst>
                <a:ext uri="{FF2B5EF4-FFF2-40B4-BE49-F238E27FC236}">
                  <a16:creationId xmlns:a16="http://schemas.microsoft.com/office/drawing/2014/main" id="{A19DA6F1-C825-489C-8D8A-64E8B9F32819}"/>
                </a:ext>
              </a:extLst>
            </p:cNvPr>
            <p:cNvGrpSpPr/>
            <p:nvPr/>
          </p:nvGrpSpPr>
          <p:grpSpPr>
            <a:xfrm>
              <a:off x="12688064" y="1458670"/>
              <a:ext cx="330003" cy="347825"/>
              <a:chOff x="5084670" y="6673208"/>
              <a:chExt cx="2733675" cy="2881313"/>
            </a:xfrm>
          </p:grpSpPr>
          <p:sp>
            <p:nvSpPr>
              <p:cNvPr id="194" name="Freeform: Shape 193">
                <a:extLst>
                  <a:ext uri="{FF2B5EF4-FFF2-40B4-BE49-F238E27FC236}">
                    <a16:creationId xmlns:a16="http://schemas.microsoft.com/office/drawing/2014/main" id="{8A8F6FC3-159C-4BB7-B8B0-E18A9E5A0B0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5" name="Freeform: Shape 194">
                <a:extLst>
                  <a:ext uri="{FF2B5EF4-FFF2-40B4-BE49-F238E27FC236}">
                    <a16:creationId xmlns:a16="http://schemas.microsoft.com/office/drawing/2014/main" id="{7BC529DB-6596-46B4-9F18-D6E3A61CA54A}"/>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
        <p:nvSpPr>
          <p:cNvPr id="74" name="Rectangle 47">
            <a:extLst>
              <a:ext uri="{FF2B5EF4-FFF2-40B4-BE49-F238E27FC236}">
                <a16:creationId xmlns:a16="http://schemas.microsoft.com/office/drawing/2014/main" id="{521E5529-0A3D-48D5-BA15-A783FA9B4A0F}"/>
              </a:ext>
            </a:extLst>
          </p:cNvPr>
          <p:cNvSpPr/>
          <p:nvPr/>
        </p:nvSpPr>
        <p:spPr>
          <a:xfrm>
            <a:off x="467519" y="1885527"/>
            <a:ext cx="319881" cy="303326"/>
          </a:xfrm>
          <a:prstGeom prst="rect">
            <a:avLst/>
          </a:prstGeom>
        </p:spPr>
        <p:txBody>
          <a:bodyPr wrap="square" lIns="0" tIns="0" rIns="0" bIns="0">
            <a:noAutofit/>
          </a:bodyPr>
          <a:lstStyle/>
          <a:p>
            <a:r>
              <a:rPr lang="en-US" sz="1600">
                <a:latin typeface="Segoe UI" panose="020B0502040204020203" pitchFamily="34" charset="0"/>
                <a:cs typeface="Segoe UI" panose="020B0502040204020203" pitchFamily="34" charset="0"/>
              </a:rPr>
              <a:t>Do</a:t>
            </a:r>
            <a:endParaRPr lang="en-US" sz="1600"/>
          </a:p>
        </p:txBody>
      </p:sp>
      <p:cxnSp>
        <p:nvCxnSpPr>
          <p:cNvPr id="75" name="Straight Connector 11">
            <a:extLst>
              <a:ext uri="{FF2B5EF4-FFF2-40B4-BE49-F238E27FC236}">
                <a16:creationId xmlns:a16="http://schemas.microsoft.com/office/drawing/2014/main" id="{DC993B87-261C-49A7-AB1D-778540855EF0}"/>
              </a:ext>
            </a:extLst>
          </p:cNvPr>
          <p:cNvCxnSpPr/>
          <p:nvPr/>
        </p:nvCxnSpPr>
        <p:spPr>
          <a:xfrm>
            <a:off x="457199" y="2201863"/>
            <a:ext cx="539496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35">
            <a:extLst>
              <a:ext uri="{FF2B5EF4-FFF2-40B4-BE49-F238E27FC236}">
                <a16:creationId xmlns:a16="http://schemas.microsoft.com/office/drawing/2014/main" id="{5299C5AE-AB60-412C-A870-54C5448031FB}"/>
              </a:ext>
            </a:extLst>
          </p:cNvPr>
          <p:cNvCxnSpPr>
            <a:cxnSpLocks/>
          </p:cNvCxnSpPr>
          <p:nvPr/>
        </p:nvCxnSpPr>
        <p:spPr>
          <a:xfrm>
            <a:off x="5349023" y="2201863"/>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67">
            <a:extLst>
              <a:ext uri="{FF2B5EF4-FFF2-40B4-BE49-F238E27FC236}">
                <a16:creationId xmlns:a16="http://schemas.microsoft.com/office/drawing/2014/main" id="{44004E59-79B4-4FDB-A685-1D3C46E50DE9}"/>
              </a:ext>
            </a:extLst>
          </p:cNvPr>
          <p:cNvSpPr/>
          <p:nvPr/>
        </p:nvSpPr>
        <p:spPr>
          <a:xfrm>
            <a:off x="6365082" y="1885527"/>
            <a:ext cx="740568" cy="303326"/>
          </a:xfrm>
          <a:prstGeom prst="rect">
            <a:avLst/>
          </a:prstGeom>
        </p:spPr>
        <p:txBody>
          <a:bodyPr wrap="square" lIns="0" tIns="0" rIns="0" bIns="0" anchor="t">
            <a:noAutofit/>
          </a:bodyPr>
          <a:lstStyle/>
          <a:p>
            <a:r>
              <a:rPr lang="en-US" sz="1600">
                <a:latin typeface="Segoe UI"/>
                <a:cs typeface="Segoe UI"/>
              </a:rPr>
              <a:t>Don’t</a:t>
            </a:r>
          </a:p>
        </p:txBody>
      </p:sp>
      <p:cxnSp>
        <p:nvCxnSpPr>
          <p:cNvPr id="80" name="Straight Connector 68">
            <a:extLst>
              <a:ext uri="{FF2B5EF4-FFF2-40B4-BE49-F238E27FC236}">
                <a16:creationId xmlns:a16="http://schemas.microsoft.com/office/drawing/2014/main" id="{178F7267-86D0-4AA9-A379-CA99D89BBA41}"/>
              </a:ext>
            </a:extLst>
          </p:cNvPr>
          <p:cNvCxnSpPr/>
          <p:nvPr/>
        </p:nvCxnSpPr>
        <p:spPr>
          <a:xfrm>
            <a:off x="6354762" y="2201863"/>
            <a:ext cx="539496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35">
            <a:extLst>
              <a:ext uri="{FF2B5EF4-FFF2-40B4-BE49-F238E27FC236}">
                <a16:creationId xmlns:a16="http://schemas.microsoft.com/office/drawing/2014/main" id="{20CBC6D9-E816-46E8-BC42-B4FDC3426E48}"/>
              </a:ext>
            </a:extLst>
          </p:cNvPr>
          <p:cNvCxnSpPr>
            <a:cxnSpLocks/>
          </p:cNvCxnSpPr>
          <p:nvPr/>
        </p:nvCxnSpPr>
        <p:spPr>
          <a:xfrm>
            <a:off x="11246586" y="2201863"/>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oup 75">
            <a:extLst>
              <a:ext uri="{FF2B5EF4-FFF2-40B4-BE49-F238E27FC236}">
                <a16:creationId xmlns:a16="http://schemas.microsoft.com/office/drawing/2014/main" id="{A7FEB4AF-55F7-46CB-9E4C-C04C7F658995}"/>
              </a:ext>
            </a:extLst>
          </p:cNvPr>
          <p:cNvGrpSpPr/>
          <p:nvPr/>
        </p:nvGrpSpPr>
        <p:grpSpPr>
          <a:xfrm>
            <a:off x="5440651" y="1696778"/>
            <a:ext cx="319881" cy="442188"/>
            <a:chOff x="5934075" y="3205163"/>
            <a:chExt cx="323850" cy="447675"/>
          </a:xfrm>
          <a:solidFill>
            <a:srgbClr val="14848F"/>
          </a:solidFill>
        </p:grpSpPr>
        <p:sp>
          <p:nvSpPr>
            <p:cNvPr id="85" name="Freeform: Shape 84">
              <a:extLst>
                <a:ext uri="{FF2B5EF4-FFF2-40B4-BE49-F238E27FC236}">
                  <a16:creationId xmlns:a16="http://schemas.microsoft.com/office/drawing/2014/main" id="{7FAEF728-79D3-4BF4-B933-1E088A2CB3EB}"/>
                </a:ext>
              </a:extLst>
            </p:cNvPr>
            <p:cNvSpPr/>
            <p:nvPr/>
          </p:nvSpPr>
          <p:spPr>
            <a:xfrm>
              <a:off x="6010275" y="3205163"/>
              <a:ext cx="171450" cy="123825"/>
            </a:xfrm>
            <a:custGeom>
              <a:avLst/>
              <a:gdLst>
                <a:gd name="connsiteX0" fmla="*/ 171450 w 171450"/>
                <a:gd name="connsiteY0" fmla="*/ 123825 h 123825"/>
                <a:gd name="connsiteX1" fmla="*/ 0 w 171450"/>
                <a:gd name="connsiteY1" fmla="*/ 123825 h 123825"/>
                <a:gd name="connsiteX2" fmla="*/ 0 w 171450"/>
                <a:gd name="connsiteY2" fmla="*/ 28575 h 123825"/>
                <a:gd name="connsiteX3" fmla="*/ 48578 w 171450"/>
                <a:gd name="connsiteY3" fmla="*/ 28575 h 123825"/>
                <a:gd name="connsiteX4" fmla="*/ 85725 w 171450"/>
                <a:gd name="connsiteY4" fmla="*/ 0 h 123825"/>
                <a:gd name="connsiteX5" fmla="*/ 122873 w 171450"/>
                <a:gd name="connsiteY5" fmla="*/ 28575 h 123825"/>
                <a:gd name="connsiteX6" fmla="*/ 171450 w 171450"/>
                <a:gd name="connsiteY6" fmla="*/ 28575 h 123825"/>
                <a:gd name="connsiteX7" fmla="*/ 171450 w 171450"/>
                <a:gd name="connsiteY7" fmla="*/ 123825 h 123825"/>
                <a:gd name="connsiteX8" fmla="*/ 19050 w 171450"/>
                <a:gd name="connsiteY8" fmla="*/ 104775 h 123825"/>
                <a:gd name="connsiteX9" fmla="*/ 152400 w 171450"/>
                <a:gd name="connsiteY9" fmla="*/ 104775 h 123825"/>
                <a:gd name="connsiteX10" fmla="*/ 152400 w 171450"/>
                <a:gd name="connsiteY10" fmla="*/ 47625 h 123825"/>
                <a:gd name="connsiteX11" fmla="*/ 104775 w 171450"/>
                <a:gd name="connsiteY11" fmla="*/ 47625 h 123825"/>
                <a:gd name="connsiteX12" fmla="*/ 104775 w 171450"/>
                <a:gd name="connsiteY12" fmla="*/ 38100 h 123825"/>
                <a:gd name="connsiteX13" fmla="*/ 85725 w 171450"/>
                <a:gd name="connsiteY13" fmla="*/ 19050 h 123825"/>
                <a:gd name="connsiteX14" fmla="*/ 66675 w 171450"/>
                <a:gd name="connsiteY14" fmla="*/ 38100 h 123825"/>
                <a:gd name="connsiteX15" fmla="*/ 66675 w 171450"/>
                <a:gd name="connsiteY15" fmla="*/ 47625 h 123825"/>
                <a:gd name="connsiteX16" fmla="*/ 19050 w 171450"/>
                <a:gd name="connsiteY16" fmla="*/ 47625 h 123825"/>
                <a:gd name="connsiteX17" fmla="*/ 19050 w 171450"/>
                <a:gd name="connsiteY17" fmla="*/ 10477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23825">
                  <a:moveTo>
                    <a:pt x="171450" y="123825"/>
                  </a:moveTo>
                  <a:lnTo>
                    <a:pt x="0" y="123825"/>
                  </a:lnTo>
                  <a:lnTo>
                    <a:pt x="0" y="28575"/>
                  </a:lnTo>
                  <a:lnTo>
                    <a:pt x="48578" y="28575"/>
                  </a:lnTo>
                  <a:cubicBezTo>
                    <a:pt x="52388" y="12383"/>
                    <a:pt x="67628" y="0"/>
                    <a:pt x="85725" y="0"/>
                  </a:cubicBezTo>
                  <a:cubicBezTo>
                    <a:pt x="103823" y="0"/>
                    <a:pt x="118110" y="12383"/>
                    <a:pt x="122873" y="28575"/>
                  </a:cubicBezTo>
                  <a:lnTo>
                    <a:pt x="171450" y="28575"/>
                  </a:lnTo>
                  <a:lnTo>
                    <a:pt x="171450" y="123825"/>
                  </a:lnTo>
                  <a:close/>
                  <a:moveTo>
                    <a:pt x="19050" y="104775"/>
                  </a:moveTo>
                  <a:lnTo>
                    <a:pt x="152400" y="104775"/>
                  </a:lnTo>
                  <a:lnTo>
                    <a:pt x="152400" y="47625"/>
                  </a:lnTo>
                  <a:lnTo>
                    <a:pt x="104775" y="47625"/>
                  </a:lnTo>
                  <a:lnTo>
                    <a:pt x="104775" y="38100"/>
                  </a:lnTo>
                  <a:cubicBezTo>
                    <a:pt x="104775" y="27623"/>
                    <a:pt x="96203" y="19050"/>
                    <a:pt x="85725" y="19050"/>
                  </a:cubicBezTo>
                  <a:cubicBezTo>
                    <a:pt x="75248" y="19050"/>
                    <a:pt x="66675" y="27623"/>
                    <a:pt x="66675" y="38100"/>
                  </a:cubicBezTo>
                  <a:lnTo>
                    <a:pt x="66675" y="47625"/>
                  </a:lnTo>
                  <a:lnTo>
                    <a:pt x="19050" y="47625"/>
                  </a:lnTo>
                  <a:lnTo>
                    <a:pt x="19050" y="104775"/>
                  </a:lnTo>
                  <a:close/>
                </a:path>
              </a:pathLst>
            </a:custGeom>
            <a:grpFill/>
            <a:ln w="9525" cap="flat">
              <a:noFill/>
              <a:prstDash val="solid"/>
              <a:miter/>
            </a:ln>
          </p:spPr>
          <p:txBody>
            <a:bodyPr rtlCol="0" anchor="ctr"/>
            <a:lstStyle/>
            <a:p>
              <a:endParaRPr lang="en-IN"/>
            </a:p>
          </p:txBody>
        </p:sp>
        <p:sp>
          <p:nvSpPr>
            <p:cNvPr id="86" name="Freeform: Shape 85">
              <a:extLst>
                <a:ext uri="{FF2B5EF4-FFF2-40B4-BE49-F238E27FC236}">
                  <a16:creationId xmlns:a16="http://schemas.microsoft.com/office/drawing/2014/main" id="{8709F4BE-3501-4F99-B991-34973359F17D}"/>
                </a:ext>
              </a:extLst>
            </p:cNvPr>
            <p:cNvSpPr/>
            <p:nvPr/>
          </p:nvSpPr>
          <p:spPr>
            <a:xfrm>
              <a:off x="5934075" y="3271838"/>
              <a:ext cx="323850" cy="381000"/>
            </a:xfrm>
            <a:custGeom>
              <a:avLst/>
              <a:gdLst>
                <a:gd name="connsiteX0" fmla="*/ 323850 w 323850"/>
                <a:gd name="connsiteY0" fmla="*/ 381000 h 381000"/>
                <a:gd name="connsiteX1" fmla="*/ 0 w 323850"/>
                <a:gd name="connsiteY1" fmla="*/ 381000 h 381000"/>
                <a:gd name="connsiteX2" fmla="*/ 0 w 323850"/>
                <a:gd name="connsiteY2" fmla="*/ 0 h 381000"/>
                <a:gd name="connsiteX3" fmla="*/ 95250 w 323850"/>
                <a:gd name="connsiteY3" fmla="*/ 0 h 381000"/>
                <a:gd name="connsiteX4" fmla="*/ 95250 w 323850"/>
                <a:gd name="connsiteY4" fmla="*/ 38100 h 381000"/>
                <a:gd name="connsiteX5" fmla="*/ 228600 w 323850"/>
                <a:gd name="connsiteY5" fmla="*/ 38100 h 381000"/>
                <a:gd name="connsiteX6" fmla="*/ 228600 w 323850"/>
                <a:gd name="connsiteY6" fmla="*/ 0 h 381000"/>
                <a:gd name="connsiteX7" fmla="*/ 323850 w 323850"/>
                <a:gd name="connsiteY7" fmla="*/ 0 h 381000"/>
                <a:gd name="connsiteX8" fmla="*/ 323850 w 323850"/>
                <a:gd name="connsiteY8" fmla="*/ 381000 h 381000"/>
                <a:gd name="connsiteX9" fmla="*/ 19050 w 323850"/>
                <a:gd name="connsiteY9" fmla="*/ 361950 h 381000"/>
                <a:gd name="connsiteX10" fmla="*/ 304800 w 323850"/>
                <a:gd name="connsiteY10" fmla="*/ 361950 h 381000"/>
                <a:gd name="connsiteX11" fmla="*/ 304800 w 323850"/>
                <a:gd name="connsiteY11" fmla="*/ 19050 h 381000"/>
                <a:gd name="connsiteX12" fmla="*/ 247650 w 323850"/>
                <a:gd name="connsiteY12" fmla="*/ 19050 h 381000"/>
                <a:gd name="connsiteX13" fmla="*/ 247650 w 323850"/>
                <a:gd name="connsiteY13" fmla="*/ 57150 h 381000"/>
                <a:gd name="connsiteX14" fmla="*/ 76200 w 323850"/>
                <a:gd name="connsiteY14" fmla="*/ 57150 h 381000"/>
                <a:gd name="connsiteX15" fmla="*/ 76200 w 323850"/>
                <a:gd name="connsiteY15" fmla="*/ 19050 h 381000"/>
                <a:gd name="connsiteX16" fmla="*/ 19050 w 323850"/>
                <a:gd name="connsiteY16" fmla="*/ 19050 h 381000"/>
                <a:gd name="connsiteX17" fmla="*/ 19050 w 323850"/>
                <a:gd name="connsiteY17" fmla="*/ 36195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3850" h="381000">
                  <a:moveTo>
                    <a:pt x="323850" y="381000"/>
                  </a:moveTo>
                  <a:lnTo>
                    <a:pt x="0" y="381000"/>
                  </a:lnTo>
                  <a:lnTo>
                    <a:pt x="0" y="0"/>
                  </a:lnTo>
                  <a:lnTo>
                    <a:pt x="95250" y="0"/>
                  </a:lnTo>
                  <a:lnTo>
                    <a:pt x="95250" y="38100"/>
                  </a:lnTo>
                  <a:lnTo>
                    <a:pt x="228600" y="38100"/>
                  </a:lnTo>
                  <a:lnTo>
                    <a:pt x="228600" y="0"/>
                  </a:lnTo>
                  <a:lnTo>
                    <a:pt x="323850" y="0"/>
                  </a:lnTo>
                  <a:lnTo>
                    <a:pt x="323850" y="381000"/>
                  </a:lnTo>
                  <a:close/>
                  <a:moveTo>
                    <a:pt x="19050" y="361950"/>
                  </a:moveTo>
                  <a:lnTo>
                    <a:pt x="304800" y="361950"/>
                  </a:lnTo>
                  <a:lnTo>
                    <a:pt x="304800" y="19050"/>
                  </a:lnTo>
                  <a:lnTo>
                    <a:pt x="247650" y="19050"/>
                  </a:lnTo>
                  <a:lnTo>
                    <a:pt x="247650" y="57150"/>
                  </a:lnTo>
                  <a:lnTo>
                    <a:pt x="76200" y="57150"/>
                  </a:lnTo>
                  <a:lnTo>
                    <a:pt x="76200" y="19050"/>
                  </a:lnTo>
                  <a:lnTo>
                    <a:pt x="19050" y="19050"/>
                  </a:lnTo>
                  <a:lnTo>
                    <a:pt x="19050" y="361950"/>
                  </a:lnTo>
                  <a:close/>
                </a:path>
              </a:pathLst>
            </a:custGeom>
            <a:grpFill/>
            <a:ln w="9525" cap="flat">
              <a:noFill/>
              <a:prstDash val="solid"/>
              <a:miter/>
            </a:ln>
          </p:spPr>
          <p:txBody>
            <a:bodyPr rtlCol="0" anchor="ctr"/>
            <a:lstStyle/>
            <a:p>
              <a:endParaRPr lang="en-IN"/>
            </a:p>
          </p:txBody>
        </p:sp>
        <p:sp>
          <p:nvSpPr>
            <p:cNvPr id="88" name="Freeform: Shape 87">
              <a:extLst>
                <a:ext uri="{FF2B5EF4-FFF2-40B4-BE49-F238E27FC236}">
                  <a16:creationId xmlns:a16="http://schemas.microsoft.com/office/drawing/2014/main" id="{1B9D7C60-3D03-47BF-BD63-8E72E3E5AF8E}"/>
                </a:ext>
              </a:extLst>
            </p:cNvPr>
            <p:cNvSpPr/>
            <p:nvPr/>
          </p:nvSpPr>
          <p:spPr>
            <a:xfrm>
              <a:off x="6012180" y="3398520"/>
              <a:ext cx="161925" cy="133350"/>
            </a:xfrm>
            <a:custGeom>
              <a:avLst/>
              <a:gdLst>
                <a:gd name="connsiteX0" fmla="*/ 46673 w 161925"/>
                <a:gd name="connsiteY0" fmla="*/ 134303 h 133350"/>
                <a:gd name="connsiteX1" fmla="*/ 0 w 161925"/>
                <a:gd name="connsiteY1" fmla="*/ 87630 h 133350"/>
                <a:gd name="connsiteX2" fmla="*/ 13335 w 161925"/>
                <a:gd name="connsiteY2" fmla="*/ 74295 h 133350"/>
                <a:gd name="connsiteX3" fmla="*/ 46673 w 161925"/>
                <a:gd name="connsiteY3" fmla="*/ 107632 h 133350"/>
                <a:gd name="connsiteX4" fmla="*/ 154305 w 161925"/>
                <a:gd name="connsiteY4" fmla="*/ 0 h 133350"/>
                <a:gd name="connsiteX5" fmla="*/ 167640 w 161925"/>
                <a:gd name="connsiteY5" fmla="*/ 1333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133350">
                  <a:moveTo>
                    <a:pt x="46673" y="134303"/>
                  </a:moveTo>
                  <a:lnTo>
                    <a:pt x="0" y="87630"/>
                  </a:lnTo>
                  <a:lnTo>
                    <a:pt x="13335" y="74295"/>
                  </a:lnTo>
                  <a:lnTo>
                    <a:pt x="46673" y="107632"/>
                  </a:lnTo>
                  <a:lnTo>
                    <a:pt x="154305" y="0"/>
                  </a:lnTo>
                  <a:lnTo>
                    <a:pt x="167640" y="13335"/>
                  </a:lnTo>
                  <a:close/>
                </a:path>
              </a:pathLst>
            </a:custGeom>
            <a:grpFill/>
            <a:ln w="9525" cap="flat">
              <a:noFill/>
              <a:prstDash val="solid"/>
              <a:miter/>
            </a:ln>
          </p:spPr>
          <p:txBody>
            <a:bodyPr rtlCol="0" anchor="ctr"/>
            <a:lstStyle/>
            <a:p>
              <a:endParaRPr lang="en-IN"/>
            </a:p>
          </p:txBody>
        </p:sp>
      </p:grpSp>
      <p:sp>
        <p:nvSpPr>
          <p:cNvPr id="89" name="Freeform 79">
            <a:extLst>
              <a:ext uri="{FF2B5EF4-FFF2-40B4-BE49-F238E27FC236}">
                <a16:creationId xmlns:a16="http://schemas.microsoft.com/office/drawing/2014/main" id="{0194BBDB-263C-4B82-826A-0C9F3A9080A0}"/>
              </a:ext>
            </a:extLst>
          </p:cNvPr>
          <p:cNvSpPr/>
          <p:nvPr/>
        </p:nvSpPr>
        <p:spPr>
          <a:xfrm>
            <a:off x="11300906" y="1744470"/>
            <a:ext cx="394496" cy="394496"/>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spTree>
    <p:extLst>
      <p:ext uri="{BB962C8B-B14F-4D97-AF65-F5344CB8AC3E}">
        <p14:creationId xmlns:p14="http://schemas.microsoft.com/office/powerpoint/2010/main" val="41329725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p:txBody>
          <a:bodyPr/>
          <a:lstStyle/>
          <a:p>
            <a:r>
              <a:rPr lang="en-US"/>
              <a:t>Style: How to sound conversational</a:t>
            </a:r>
            <a:br>
              <a:rPr lang="en-US"/>
            </a:br>
            <a:endParaRPr lang="en-US"/>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If you’re using website documentation to answer a question, break sections down into short, scannable graphs</a:t>
            </a:r>
          </a:p>
        </p:txBody>
      </p:sp>
      <p:cxnSp>
        <p:nvCxnSpPr>
          <p:cNvPr id="40" name="Straight Connector 15">
            <a:extLst>
              <a:ext uri="{FF2B5EF4-FFF2-40B4-BE49-F238E27FC236}">
                <a16:creationId xmlns:a16="http://schemas.microsoft.com/office/drawing/2014/main" id="{7986CBEC-DB14-4DE4-81CF-08A5AC865EB3}"/>
              </a:ext>
            </a:extLst>
          </p:cNvPr>
          <p:cNvCxnSpPr>
            <a:cxnSpLocks/>
          </p:cNvCxnSpPr>
          <p:nvPr/>
        </p:nvCxnSpPr>
        <p:spPr>
          <a:xfrm>
            <a:off x="6104057" y="2439722"/>
            <a:ext cx="0" cy="25603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87">
            <a:extLst>
              <a:ext uri="{FF2B5EF4-FFF2-40B4-BE49-F238E27FC236}">
                <a16:creationId xmlns:a16="http://schemas.microsoft.com/office/drawing/2014/main" id="{D9BA4D31-5503-49F5-90F1-EBEF81FA4A8E}"/>
              </a:ext>
            </a:extLst>
          </p:cNvPr>
          <p:cNvGrpSpPr/>
          <p:nvPr/>
        </p:nvGrpSpPr>
        <p:grpSpPr>
          <a:xfrm>
            <a:off x="930369" y="2411723"/>
            <a:ext cx="3995345" cy="2900501"/>
            <a:chOff x="1235090" y="2513205"/>
            <a:chExt cx="3995345" cy="2900501"/>
          </a:xfrm>
        </p:grpSpPr>
        <p:sp>
          <p:nvSpPr>
            <p:cNvPr id="49" name="Rectangle: Rounded Corners 48">
              <a:extLst>
                <a:ext uri="{FF2B5EF4-FFF2-40B4-BE49-F238E27FC236}">
                  <a16:creationId xmlns:a16="http://schemas.microsoft.com/office/drawing/2014/main" id="{908DEB6E-E332-4753-9D3A-9CE41B257549}"/>
                </a:ext>
              </a:extLst>
            </p:cNvPr>
            <p:cNvSpPr/>
            <p:nvPr/>
          </p:nvSpPr>
          <p:spPr bwMode="auto">
            <a:xfrm>
              <a:off x="1447942" y="2513205"/>
              <a:ext cx="3782493" cy="2900501"/>
            </a:xfrm>
            <a:prstGeom prst="roundRect">
              <a:avLst>
                <a:gd name="adj" fmla="val 37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Aft>
                  <a:spcPts val="600"/>
                </a:spcAft>
              </a:pPr>
              <a:r>
                <a:rPr lang="en-US" sz="1400">
                  <a:solidFill>
                    <a:schemeClr val="tx1"/>
                  </a:solidFill>
                  <a:ea typeface="Segoe UI" panose="020B0502040204020203" pitchFamily="34" charset="0"/>
                  <a:cs typeface="Segoe UI" panose="020B0502040204020203" pitchFamily="34" charset="0"/>
                </a:rPr>
                <a:t>How to reset your password:</a:t>
              </a:r>
              <a:br>
                <a:rPr lang="en-US" sz="1400">
                  <a:solidFill>
                    <a:schemeClr val="tx1"/>
                  </a:solidFill>
                  <a:ea typeface="Segoe UI" panose="020B0502040204020203" pitchFamily="34" charset="0"/>
                  <a:cs typeface="Segoe UI" panose="020B0502040204020203" pitchFamily="34" charset="0"/>
                </a:rPr>
              </a:br>
              <a:br>
                <a:rPr lang="en-US" sz="1400">
                  <a:solidFill>
                    <a:schemeClr val="tx1"/>
                  </a:solidFill>
                  <a:ea typeface="Segoe UI" panose="020B0502040204020203" pitchFamily="34" charset="0"/>
                  <a:cs typeface="Segoe UI" panose="020B0502040204020203" pitchFamily="34" charset="0"/>
                </a:rPr>
              </a:br>
              <a:r>
                <a:rPr lang="en-US" sz="1400">
                  <a:solidFill>
                    <a:schemeClr val="tx1"/>
                  </a:solidFill>
                  <a:ea typeface="Segoe UI" panose="020B0502040204020203" pitchFamily="34" charset="0"/>
                  <a:cs typeface="Segoe UI" panose="020B0502040204020203" pitchFamily="34" charset="0"/>
                </a:rPr>
                <a:t>1. Go to </a:t>
              </a:r>
              <a:r>
                <a:rPr lang="en-US" sz="1400">
                  <a:solidFill>
                    <a:schemeClr val="tx2"/>
                  </a:solidFill>
                  <a:ea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https://account.live.com/password/reset</a:t>
              </a:r>
              <a:r>
                <a:rPr lang="en-US" sz="1400">
                  <a:solidFill>
                    <a:schemeClr val="tx1"/>
                  </a:solidFill>
                  <a:ea typeface="Segoe UI" panose="020B0502040204020203" pitchFamily="34" charset="0"/>
                  <a:cs typeface="Segoe UI" panose="020B0502040204020203" pitchFamily="34" charset="0"/>
                </a:rPr>
                <a:t>.</a:t>
              </a:r>
              <a:br>
                <a:rPr lang="en-US" sz="1400">
                  <a:solidFill>
                    <a:schemeClr val="tx1"/>
                  </a:solidFill>
                  <a:ea typeface="Segoe UI" panose="020B0502040204020203" pitchFamily="34" charset="0"/>
                  <a:cs typeface="Segoe UI" panose="020B0502040204020203" pitchFamily="34" charset="0"/>
                </a:rPr>
              </a:br>
              <a:br>
                <a:rPr lang="en-US" sz="1400">
                  <a:solidFill>
                    <a:schemeClr val="tx1"/>
                  </a:solidFill>
                  <a:ea typeface="Segoe UI" panose="020B0502040204020203" pitchFamily="34" charset="0"/>
                  <a:cs typeface="Segoe UI" panose="020B0502040204020203" pitchFamily="34" charset="0"/>
                </a:rPr>
              </a:br>
              <a:r>
                <a:rPr lang="en-US" sz="1400">
                  <a:solidFill>
                    <a:schemeClr val="tx1"/>
                  </a:solidFill>
                  <a:ea typeface="Segoe UI" panose="020B0502040204020203" pitchFamily="34" charset="0"/>
                  <a:cs typeface="Segoe UI" panose="020B0502040204020203" pitchFamily="34" charset="0"/>
                </a:rPr>
                <a:t>2. Select the reason for resetting your password and the alternate contact info where you can receive a security code to verify your identity.</a:t>
              </a:r>
              <a:br>
                <a:rPr lang="en-US" sz="1400">
                  <a:solidFill>
                    <a:schemeClr val="tx1"/>
                  </a:solidFill>
                  <a:ea typeface="Segoe UI" panose="020B0502040204020203" pitchFamily="34" charset="0"/>
                  <a:cs typeface="Segoe UI" panose="020B0502040204020203" pitchFamily="34" charset="0"/>
                </a:rPr>
              </a:br>
              <a:br>
                <a:rPr lang="en-US" sz="1400">
                  <a:solidFill>
                    <a:schemeClr val="tx1"/>
                  </a:solidFill>
                  <a:ea typeface="Segoe UI" panose="020B0502040204020203" pitchFamily="34" charset="0"/>
                  <a:cs typeface="Segoe UI" panose="020B0502040204020203" pitchFamily="34" charset="0"/>
                </a:rPr>
              </a:br>
              <a:r>
                <a:rPr lang="en-US" sz="1400">
                  <a:solidFill>
                    <a:schemeClr val="tx1"/>
                  </a:solidFill>
                  <a:ea typeface="Segoe UI" panose="020B0502040204020203" pitchFamily="34" charset="0"/>
                  <a:cs typeface="Segoe UI" panose="020B0502040204020203" pitchFamily="34" charset="0"/>
                </a:rPr>
                <a:t>Note: This alternate contact info is part of the security info you already added to your Microsoft account.</a:t>
              </a:r>
            </a:p>
          </p:txBody>
        </p:sp>
        <p:sp>
          <p:nvSpPr>
            <p:cNvPr id="50" name="Isosceles Triangle 49">
              <a:extLst>
                <a:ext uri="{FF2B5EF4-FFF2-40B4-BE49-F238E27FC236}">
                  <a16:creationId xmlns:a16="http://schemas.microsoft.com/office/drawing/2014/main" id="{C603EDBB-8F9A-4DA2-84E6-23FF2376F2A8}"/>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84">
            <a:extLst>
              <a:ext uri="{FF2B5EF4-FFF2-40B4-BE49-F238E27FC236}">
                <a16:creationId xmlns:a16="http://schemas.microsoft.com/office/drawing/2014/main" id="{8BF4741D-E28D-49DE-8027-B7A8DDCA6861}"/>
              </a:ext>
            </a:extLst>
          </p:cNvPr>
          <p:cNvGrpSpPr/>
          <p:nvPr/>
        </p:nvGrpSpPr>
        <p:grpSpPr>
          <a:xfrm>
            <a:off x="481714" y="2367575"/>
            <a:ext cx="344143" cy="344143"/>
            <a:chOff x="12510166" y="1289683"/>
            <a:chExt cx="685799" cy="685799"/>
          </a:xfrm>
        </p:grpSpPr>
        <p:sp>
          <p:nvSpPr>
            <p:cNvPr id="52" name="Oval 42">
              <a:extLst>
                <a:ext uri="{FF2B5EF4-FFF2-40B4-BE49-F238E27FC236}">
                  <a16:creationId xmlns:a16="http://schemas.microsoft.com/office/drawing/2014/main" id="{CCB11C45-8388-4B00-8053-D57C9256500E}"/>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61">
              <a:extLst>
                <a:ext uri="{FF2B5EF4-FFF2-40B4-BE49-F238E27FC236}">
                  <a16:creationId xmlns:a16="http://schemas.microsoft.com/office/drawing/2014/main" id="{C6F73BDF-D5E3-4DBF-887F-7BE180D17529}"/>
                </a:ext>
              </a:extLst>
            </p:cNvPr>
            <p:cNvGrpSpPr/>
            <p:nvPr/>
          </p:nvGrpSpPr>
          <p:grpSpPr>
            <a:xfrm>
              <a:off x="12688064" y="1458670"/>
              <a:ext cx="330003" cy="347825"/>
              <a:chOff x="5084670" y="6673208"/>
              <a:chExt cx="2733675" cy="2881313"/>
            </a:xfrm>
          </p:grpSpPr>
          <p:sp>
            <p:nvSpPr>
              <p:cNvPr id="54" name="Freeform: Shape 53">
                <a:extLst>
                  <a:ext uri="{FF2B5EF4-FFF2-40B4-BE49-F238E27FC236}">
                    <a16:creationId xmlns:a16="http://schemas.microsoft.com/office/drawing/2014/main" id="{0D7CA4AA-77F8-4890-8078-86A16800416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5" name="Freeform: Shape 54">
                <a:extLst>
                  <a:ext uri="{FF2B5EF4-FFF2-40B4-BE49-F238E27FC236}">
                    <a16:creationId xmlns:a16="http://schemas.microsoft.com/office/drawing/2014/main" id="{5F972388-0253-4B37-9226-D817AB95929B}"/>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64" name="Group 84">
            <a:extLst>
              <a:ext uri="{FF2B5EF4-FFF2-40B4-BE49-F238E27FC236}">
                <a16:creationId xmlns:a16="http://schemas.microsoft.com/office/drawing/2014/main" id="{EC0FABF4-27D8-457C-A364-AEB38F732ED0}"/>
              </a:ext>
            </a:extLst>
          </p:cNvPr>
          <p:cNvGrpSpPr/>
          <p:nvPr/>
        </p:nvGrpSpPr>
        <p:grpSpPr>
          <a:xfrm>
            <a:off x="6351759" y="2367575"/>
            <a:ext cx="344143" cy="344143"/>
            <a:chOff x="12510166" y="1289683"/>
            <a:chExt cx="685799" cy="685799"/>
          </a:xfrm>
        </p:grpSpPr>
        <p:sp>
          <p:nvSpPr>
            <p:cNvPr id="65" name="Oval 42">
              <a:extLst>
                <a:ext uri="{FF2B5EF4-FFF2-40B4-BE49-F238E27FC236}">
                  <a16:creationId xmlns:a16="http://schemas.microsoft.com/office/drawing/2014/main" id="{C880BA63-8A50-4EBF-BCBD-AF5CB16DA939}"/>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1">
              <a:extLst>
                <a:ext uri="{FF2B5EF4-FFF2-40B4-BE49-F238E27FC236}">
                  <a16:creationId xmlns:a16="http://schemas.microsoft.com/office/drawing/2014/main" id="{80911AD4-E0FC-4A9C-959E-9708E1AE1E31}"/>
                </a:ext>
              </a:extLst>
            </p:cNvPr>
            <p:cNvGrpSpPr/>
            <p:nvPr/>
          </p:nvGrpSpPr>
          <p:grpSpPr>
            <a:xfrm>
              <a:off x="12688064" y="1458670"/>
              <a:ext cx="330003" cy="347825"/>
              <a:chOff x="5084670" y="6673208"/>
              <a:chExt cx="2733675" cy="2881313"/>
            </a:xfrm>
          </p:grpSpPr>
          <p:sp>
            <p:nvSpPr>
              <p:cNvPr id="67" name="Freeform: Shape 66">
                <a:extLst>
                  <a:ext uri="{FF2B5EF4-FFF2-40B4-BE49-F238E27FC236}">
                    <a16:creationId xmlns:a16="http://schemas.microsoft.com/office/drawing/2014/main" id="{CA644F2D-4028-4CCC-A4A0-50BC0FE40FD4}"/>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Freeform: Shape 67">
                <a:extLst>
                  <a:ext uri="{FF2B5EF4-FFF2-40B4-BE49-F238E27FC236}">
                    <a16:creationId xmlns:a16="http://schemas.microsoft.com/office/drawing/2014/main" id="{793375DA-FC39-4D07-AFC4-BCAF4920DFD3}"/>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69" name="Group 87">
            <a:extLst>
              <a:ext uri="{FF2B5EF4-FFF2-40B4-BE49-F238E27FC236}">
                <a16:creationId xmlns:a16="http://schemas.microsoft.com/office/drawing/2014/main" id="{1E210B82-0743-4FF3-AFCE-65FFF4B8D4F4}"/>
              </a:ext>
            </a:extLst>
          </p:cNvPr>
          <p:cNvGrpSpPr/>
          <p:nvPr/>
        </p:nvGrpSpPr>
        <p:grpSpPr>
          <a:xfrm>
            <a:off x="6825814" y="2411723"/>
            <a:ext cx="3995345" cy="2588309"/>
            <a:chOff x="1235090" y="2513205"/>
            <a:chExt cx="3995345" cy="2588309"/>
          </a:xfrm>
        </p:grpSpPr>
        <p:sp>
          <p:nvSpPr>
            <p:cNvPr id="70" name="Rectangle: Rounded Corners 69">
              <a:extLst>
                <a:ext uri="{FF2B5EF4-FFF2-40B4-BE49-F238E27FC236}">
                  <a16:creationId xmlns:a16="http://schemas.microsoft.com/office/drawing/2014/main" id="{7169FFFB-E112-46A5-8884-CA35F190A325}"/>
                </a:ext>
              </a:extLst>
            </p:cNvPr>
            <p:cNvSpPr/>
            <p:nvPr/>
          </p:nvSpPr>
          <p:spPr bwMode="auto">
            <a:xfrm>
              <a:off x="1447942" y="2513205"/>
              <a:ext cx="3782493" cy="2588309"/>
            </a:xfrm>
            <a:prstGeom prst="roundRect">
              <a:avLst>
                <a:gd name="adj" fmla="val 421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36"/>
                </a:spcAft>
              </a:pPr>
              <a:r>
                <a:rPr lang="en-US" sz="1100">
                  <a:solidFill>
                    <a:schemeClr val="tx1"/>
                  </a:solidFill>
                  <a:cs typeface="Segoe UI" panose="020B0502040204020203" pitchFamily="34" charset="0"/>
                </a:rPr>
                <a:t>How to reset your Password</a:t>
              </a:r>
              <a:br>
                <a:rPr lang="en-US" sz="1100" b="1">
                  <a:cs typeface="Segoe UI" panose="020B0502040204020203" pitchFamily="34" charset="0"/>
                </a:rPr>
              </a:br>
              <a:r>
                <a:rPr lang="en-US" sz="1100">
                  <a:solidFill>
                    <a:schemeClr val="tx1"/>
                  </a:solidFill>
                  <a:cs typeface="Segoe UI" panose="020B0502040204020203" pitchFamily="34" charset="0"/>
                </a:rPr>
                <a:t>If you cannot remember your password,</a:t>
              </a:r>
              <a:br>
                <a:rPr lang="en-US" sz="1100">
                  <a:solidFill>
                    <a:schemeClr val="tx1"/>
                  </a:solidFill>
                  <a:cs typeface="Segoe UI" panose="020B0502040204020203" pitchFamily="34" charset="0"/>
                </a:rPr>
              </a:br>
              <a:r>
                <a:rPr lang="en-US" sz="1100">
                  <a:solidFill>
                    <a:schemeClr val="tx1"/>
                  </a:solidFill>
                  <a:cs typeface="Segoe UI" panose="020B0502040204020203" pitchFamily="34" charset="0"/>
                </a:rPr>
                <a:t>go to </a:t>
              </a:r>
              <a:r>
                <a:rPr lang="en-US" sz="1100" u="sng">
                  <a:solidFill>
                    <a:schemeClr val="tx2"/>
                  </a:solidFill>
                  <a:cs typeface="Segoe UI" panose="020B0502040204020203" pitchFamily="34" charset="0"/>
                  <a:hlinkClick r:id="rId4">
                    <a:extLst>
                      <a:ext uri="{A12FA001-AC4F-418D-AE19-62706E023703}">
                        <ahyp:hlinkClr xmlns:ahyp="http://schemas.microsoft.com/office/drawing/2018/hyperlinkcolor" val="tx"/>
                      </a:ext>
                    </a:extLst>
                  </a:hlinkClick>
                </a:rPr>
                <a:t>https://acount.live.com/password/reset</a:t>
              </a:r>
              <a:r>
                <a:rPr lang="en-US" sz="1100">
                  <a:solidFill>
                    <a:srgbClr val="5B65C2"/>
                  </a:solidFill>
                  <a:cs typeface="Segoe UI" panose="020B0502040204020203" pitchFamily="34" charset="0"/>
                </a:rPr>
                <a:t> </a:t>
              </a:r>
              <a:r>
                <a:rPr lang="en-US" sz="1100">
                  <a:solidFill>
                    <a:schemeClr val="tx1"/>
                  </a:solidFill>
                  <a:cs typeface="Segoe UI" panose="020B0502040204020203" pitchFamily="34" charset="0"/>
                </a:rPr>
                <a:t>and select the reason for resetting your password. Then include the alternate contact info where you can receive a security code to verify your identity. Note: This alternate contact info is part of the security info you already added to your Microsoft account.</a:t>
              </a:r>
            </a:p>
          </p:txBody>
        </p:sp>
        <p:sp>
          <p:nvSpPr>
            <p:cNvPr id="71" name="Isosceles Triangle 70">
              <a:extLst>
                <a:ext uri="{FF2B5EF4-FFF2-40B4-BE49-F238E27FC236}">
                  <a16:creationId xmlns:a16="http://schemas.microsoft.com/office/drawing/2014/main" id="{F3D76E33-086A-4D09-B226-622CDB0325DB}"/>
                </a:ext>
              </a:extLst>
            </p:cNvPr>
            <p:cNvSpPr/>
            <p:nvPr/>
          </p:nvSpPr>
          <p:spPr bwMode="auto">
            <a:xfrm rot="16200000">
              <a:off x="1253501" y="2590169"/>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8" name="Rectangle 47">
            <a:extLst>
              <a:ext uri="{FF2B5EF4-FFF2-40B4-BE49-F238E27FC236}">
                <a16:creationId xmlns:a16="http://schemas.microsoft.com/office/drawing/2014/main" id="{9C43F812-E518-414D-93A9-95B5A69E4849}"/>
              </a:ext>
            </a:extLst>
          </p:cNvPr>
          <p:cNvSpPr/>
          <p:nvPr/>
        </p:nvSpPr>
        <p:spPr>
          <a:xfrm>
            <a:off x="467519" y="1885527"/>
            <a:ext cx="319881" cy="303326"/>
          </a:xfrm>
          <a:prstGeom prst="rect">
            <a:avLst/>
          </a:prstGeom>
        </p:spPr>
        <p:txBody>
          <a:bodyPr wrap="square" lIns="0" tIns="0" rIns="0" bIns="0">
            <a:noAutofit/>
          </a:bodyPr>
          <a:lstStyle/>
          <a:p>
            <a:r>
              <a:rPr lang="en-US" sz="1600">
                <a:latin typeface="Segoe UI" panose="020B0502040204020203" pitchFamily="34" charset="0"/>
                <a:cs typeface="Segoe UI" panose="020B0502040204020203" pitchFamily="34" charset="0"/>
              </a:rPr>
              <a:t>Do</a:t>
            </a:r>
            <a:endParaRPr lang="en-US" sz="1600"/>
          </a:p>
        </p:txBody>
      </p:sp>
      <p:cxnSp>
        <p:nvCxnSpPr>
          <p:cNvPr id="39" name="Straight Connector 11">
            <a:extLst>
              <a:ext uri="{FF2B5EF4-FFF2-40B4-BE49-F238E27FC236}">
                <a16:creationId xmlns:a16="http://schemas.microsoft.com/office/drawing/2014/main" id="{87BF979B-A7F9-43A1-91B2-D19F78391B77}"/>
              </a:ext>
            </a:extLst>
          </p:cNvPr>
          <p:cNvCxnSpPr/>
          <p:nvPr/>
        </p:nvCxnSpPr>
        <p:spPr>
          <a:xfrm>
            <a:off x="457199" y="2201863"/>
            <a:ext cx="539496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35">
            <a:extLst>
              <a:ext uri="{FF2B5EF4-FFF2-40B4-BE49-F238E27FC236}">
                <a16:creationId xmlns:a16="http://schemas.microsoft.com/office/drawing/2014/main" id="{B512DD6D-DED0-4BA1-8058-6860259CC03C}"/>
              </a:ext>
            </a:extLst>
          </p:cNvPr>
          <p:cNvCxnSpPr>
            <a:cxnSpLocks/>
          </p:cNvCxnSpPr>
          <p:nvPr/>
        </p:nvCxnSpPr>
        <p:spPr>
          <a:xfrm>
            <a:off x="5349023" y="2201863"/>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67">
            <a:extLst>
              <a:ext uri="{FF2B5EF4-FFF2-40B4-BE49-F238E27FC236}">
                <a16:creationId xmlns:a16="http://schemas.microsoft.com/office/drawing/2014/main" id="{9B1AC53A-D300-45D1-94F2-373B9E77ACED}"/>
              </a:ext>
            </a:extLst>
          </p:cNvPr>
          <p:cNvSpPr/>
          <p:nvPr/>
        </p:nvSpPr>
        <p:spPr>
          <a:xfrm>
            <a:off x="6365082" y="1885527"/>
            <a:ext cx="740568" cy="303326"/>
          </a:xfrm>
          <a:prstGeom prst="rect">
            <a:avLst/>
          </a:prstGeom>
        </p:spPr>
        <p:txBody>
          <a:bodyPr wrap="square" lIns="0" tIns="0" rIns="0" bIns="0" anchor="t">
            <a:noAutofit/>
          </a:bodyPr>
          <a:lstStyle/>
          <a:p>
            <a:r>
              <a:rPr lang="en-US" sz="1600">
                <a:latin typeface="Segoe UI"/>
                <a:cs typeface="Segoe UI"/>
              </a:rPr>
              <a:t>Don’t</a:t>
            </a:r>
          </a:p>
        </p:txBody>
      </p:sp>
      <p:cxnSp>
        <p:nvCxnSpPr>
          <p:cNvPr id="43" name="Straight Connector 68">
            <a:extLst>
              <a:ext uri="{FF2B5EF4-FFF2-40B4-BE49-F238E27FC236}">
                <a16:creationId xmlns:a16="http://schemas.microsoft.com/office/drawing/2014/main" id="{AE9C8F95-40BA-4850-BAE3-2D7B42356C86}"/>
              </a:ext>
            </a:extLst>
          </p:cNvPr>
          <p:cNvCxnSpPr/>
          <p:nvPr/>
        </p:nvCxnSpPr>
        <p:spPr>
          <a:xfrm>
            <a:off x="6354762" y="2201863"/>
            <a:ext cx="539496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35">
            <a:extLst>
              <a:ext uri="{FF2B5EF4-FFF2-40B4-BE49-F238E27FC236}">
                <a16:creationId xmlns:a16="http://schemas.microsoft.com/office/drawing/2014/main" id="{B0232FAE-A532-4368-AAD6-B97288B11375}"/>
              </a:ext>
            </a:extLst>
          </p:cNvPr>
          <p:cNvCxnSpPr>
            <a:cxnSpLocks/>
          </p:cNvCxnSpPr>
          <p:nvPr/>
        </p:nvCxnSpPr>
        <p:spPr>
          <a:xfrm>
            <a:off x="11246586" y="2201863"/>
            <a:ext cx="503136" cy="0"/>
          </a:xfrm>
          <a:prstGeom prst="line">
            <a:avLst/>
          </a:prstGeom>
          <a:ln w="222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5" name="Group 75">
            <a:extLst>
              <a:ext uri="{FF2B5EF4-FFF2-40B4-BE49-F238E27FC236}">
                <a16:creationId xmlns:a16="http://schemas.microsoft.com/office/drawing/2014/main" id="{0DACD64C-53A6-4534-BCC7-1D3D6F082F7A}"/>
              </a:ext>
            </a:extLst>
          </p:cNvPr>
          <p:cNvGrpSpPr/>
          <p:nvPr/>
        </p:nvGrpSpPr>
        <p:grpSpPr>
          <a:xfrm>
            <a:off x="5440651" y="1696778"/>
            <a:ext cx="319881" cy="442188"/>
            <a:chOff x="5934075" y="3205163"/>
            <a:chExt cx="323850" cy="447675"/>
          </a:xfrm>
          <a:solidFill>
            <a:srgbClr val="14848F"/>
          </a:solidFill>
        </p:grpSpPr>
        <p:sp>
          <p:nvSpPr>
            <p:cNvPr id="46" name="Freeform: Shape 45">
              <a:extLst>
                <a:ext uri="{FF2B5EF4-FFF2-40B4-BE49-F238E27FC236}">
                  <a16:creationId xmlns:a16="http://schemas.microsoft.com/office/drawing/2014/main" id="{29C3824B-0D8E-404A-B32D-A450306906C8}"/>
                </a:ext>
              </a:extLst>
            </p:cNvPr>
            <p:cNvSpPr/>
            <p:nvPr/>
          </p:nvSpPr>
          <p:spPr>
            <a:xfrm>
              <a:off x="6010275" y="3205163"/>
              <a:ext cx="171450" cy="123825"/>
            </a:xfrm>
            <a:custGeom>
              <a:avLst/>
              <a:gdLst>
                <a:gd name="connsiteX0" fmla="*/ 171450 w 171450"/>
                <a:gd name="connsiteY0" fmla="*/ 123825 h 123825"/>
                <a:gd name="connsiteX1" fmla="*/ 0 w 171450"/>
                <a:gd name="connsiteY1" fmla="*/ 123825 h 123825"/>
                <a:gd name="connsiteX2" fmla="*/ 0 w 171450"/>
                <a:gd name="connsiteY2" fmla="*/ 28575 h 123825"/>
                <a:gd name="connsiteX3" fmla="*/ 48578 w 171450"/>
                <a:gd name="connsiteY3" fmla="*/ 28575 h 123825"/>
                <a:gd name="connsiteX4" fmla="*/ 85725 w 171450"/>
                <a:gd name="connsiteY4" fmla="*/ 0 h 123825"/>
                <a:gd name="connsiteX5" fmla="*/ 122873 w 171450"/>
                <a:gd name="connsiteY5" fmla="*/ 28575 h 123825"/>
                <a:gd name="connsiteX6" fmla="*/ 171450 w 171450"/>
                <a:gd name="connsiteY6" fmla="*/ 28575 h 123825"/>
                <a:gd name="connsiteX7" fmla="*/ 171450 w 171450"/>
                <a:gd name="connsiteY7" fmla="*/ 123825 h 123825"/>
                <a:gd name="connsiteX8" fmla="*/ 19050 w 171450"/>
                <a:gd name="connsiteY8" fmla="*/ 104775 h 123825"/>
                <a:gd name="connsiteX9" fmla="*/ 152400 w 171450"/>
                <a:gd name="connsiteY9" fmla="*/ 104775 h 123825"/>
                <a:gd name="connsiteX10" fmla="*/ 152400 w 171450"/>
                <a:gd name="connsiteY10" fmla="*/ 47625 h 123825"/>
                <a:gd name="connsiteX11" fmla="*/ 104775 w 171450"/>
                <a:gd name="connsiteY11" fmla="*/ 47625 h 123825"/>
                <a:gd name="connsiteX12" fmla="*/ 104775 w 171450"/>
                <a:gd name="connsiteY12" fmla="*/ 38100 h 123825"/>
                <a:gd name="connsiteX13" fmla="*/ 85725 w 171450"/>
                <a:gd name="connsiteY13" fmla="*/ 19050 h 123825"/>
                <a:gd name="connsiteX14" fmla="*/ 66675 w 171450"/>
                <a:gd name="connsiteY14" fmla="*/ 38100 h 123825"/>
                <a:gd name="connsiteX15" fmla="*/ 66675 w 171450"/>
                <a:gd name="connsiteY15" fmla="*/ 47625 h 123825"/>
                <a:gd name="connsiteX16" fmla="*/ 19050 w 171450"/>
                <a:gd name="connsiteY16" fmla="*/ 47625 h 123825"/>
                <a:gd name="connsiteX17" fmla="*/ 19050 w 171450"/>
                <a:gd name="connsiteY17" fmla="*/ 10477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23825">
                  <a:moveTo>
                    <a:pt x="171450" y="123825"/>
                  </a:moveTo>
                  <a:lnTo>
                    <a:pt x="0" y="123825"/>
                  </a:lnTo>
                  <a:lnTo>
                    <a:pt x="0" y="28575"/>
                  </a:lnTo>
                  <a:lnTo>
                    <a:pt x="48578" y="28575"/>
                  </a:lnTo>
                  <a:cubicBezTo>
                    <a:pt x="52388" y="12383"/>
                    <a:pt x="67628" y="0"/>
                    <a:pt x="85725" y="0"/>
                  </a:cubicBezTo>
                  <a:cubicBezTo>
                    <a:pt x="103823" y="0"/>
                    <a:pt x="118110" y="12383"/>
                    <a:pt x="122873" y="28575"/>
                  </a:cubicBezTo>
                  <a:lnTo>
                    <a:pt x="171450" y="28575"/>
                  </a:lnTo>
                  <a:lnTo>
                    <a:pt x="171450" y="123825"/>
                  </a:lnTo>
                  <a:close/>
                  <a:moveTo>
                    <a:pt x="19050" y="104775"/>
                  </a:moveTo>
                  <a:lnTo>
                    <a:pt x="152400" y="104775"/>
                  </a:lnTo>
                  <a:lnTo>
                    <a:pt x="152400" y="47625"/>
                  </a:lnTo>
                  <a:lnTo>
                    <a:pt x="104775" y="47625"/>
                  </a:lnTo>
                  <a:lnTo>
                    <a:pt x="104775" y="38100"/>
                  </a:lnTo>
                  <a:cubicBezTo>
                    <a:pt x="104775" y="27623"/>
                    <a:pt x="96203" y="19050"/>
                    <a:pt x="85725" y="19050"/>
                  </a:cubicBezTo>
                  <a:cubicBezTo>
                    <a:pt x="75248" y="19050"/>
                    <a:pt x="66675" y="27623"/>
                    <a:pt x="66675" y="38100"/>
                  </a:cubicBezTo>
                  <a:lnTo>
                    <a:pt x="66675" y="47625"/>
                  </a:lnTo>
                  <a:lnTo>
                    <a:pt x="19050" y="47625"/>
                  </a:lnTo>
                  <a:lnTo>
                    <a:pt x="19050" y="104775"/>
                  </a:lnTo>
                  <a:close/>
                </a:path>
              </a:pathLst>
            </a:custGeom>
            <a:grpFill/>
            <a:ln w="952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E6FF63B4-9FC3-4713-B605-8F75992470C2}"/>
                </a:ext>
              </a:extLst>
            </p:cNvPr>
            <p:cNvSpPr/>
            <p:nvPr/>
          </p:nvSpPr>
          <p:spPr>
            <a:xfrm>
              <a:off x="5934075" y="3271838"/>
              <a:ext cx="323850" cy="381000"/>
            </a:xfrm>
            <a:custGeom>
              <a:avLst/>
              <a:gdLst>
                <a:gd name="connsiteX0" fmla="*/ 323850 w 323850"/>
                <a:gd name="connsiteY0" fmla="*/ 381000 h 381000"/>
                <a:gd name="connsiteX1" fmla="*/ 0 w 323850"/>
                <a:gd name="connsiteY1" fmla="*/ 381000 h 381000"/>
                <a:gd name="connsiteX2" fmla="*/ 0 w 323850"/>
                <a:gd name="connsiteY2" fmla="*/ 0 h 381000"/>
                <a:gd name="connsiteX3" fmla="*/ 95250 w 323850"/>
                <a:gd name="connsiteY3" fmla="*/ 0 h 381000"/>
                <a:gd name="connsiteX4" fmla="*/ 95250 w 323850"/>
                <a:gd name="connsiteY4" fmla="*/ 38100 h 381000"/>
                <a:gd name="connsiteX5" fmla="*/ 228600 w 323850"/>
                <a:gd name="connsiteY5" fmla="*/ 38100 h 381000"/>
                <a:gd name="connsiteX6" fmla="*/ 228600 w 323850"/>
                <a:gd name="connsiteY6" fmla="*/ 0 h 381000"/>
                <a:gd name="connsiteX7" fmla="*/ 323850 w 323850"/>
                <a:gd name="connsiteY7" fmla="*/ 0 h 381000"/>
                <a:gd name="connsiteX8" fmla="*/ 323850 w 323850"/>
                <a:gd name="connsiteY8" fmla="*/ 381000 h 381000"/>
                <a:gd name="connsiteX9" fmla="*/ 19050 w 323850"/>
                <a:gd name="connsiteY9" fmla="*/ 361950 h 381000"/>
                <a:gd name="connsiteX10" fmla="*/ 304800 w 323850"/>
                <a:gd name="connsiteY10" fmla="*/ 361950 h 381000"/>
                <a:gd name="connsiteX11" fmla="*/ 304800 w 323850"/>
                <a:gd name="connsiteY11" fmla="*/ 19050 h 381000"/>
                <a:gd name="connsiteX12" fmla="*/ 247650 w 323850"/>
                <a:gd name="connsiteY12" fmla="*/ 19050 h 381000"/>
                <a:gd name="connsiteX13" fmla="*/ 247650 w 323850"/>
                <a:gd name="connsiteY13" fmla="*/ 57150 h 381000"/>
                <a:gd name="connsiteX14" fmla="*/ 76200 w 323850"/>
                <a:gd name="connsiteY14" fmla="*/ 57150 h 381000"/>
                <a:gd name="connsiteX15" fmla="*/ 76200 w 323850"/>
                <a:gd name="connsiteY15" fmla="*/ 19050 h 381000"/>
                <a:gd name="connsiteX16" fmla="*/ 19050 w 323850"/>
                <a:gd name="connsiteY16" fmla="*/ 19050 h 381000"/>
                <a:gd name="connsiteX17" fmla="*/ 19050 w 323850"/>
                <a:gd name="connsiteY17" fmla="*/ 36195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3850" h="381000">
                  <a:moveTo>
                    <a:pt x="323850" y="381000"/>
                  </a:moveTo>
                  <a:lnTo>
                    <a:pt x="0" y="381000"/>
                  </a:lnTo>
                  <a:lnTo>
                    <a:pt x="0" y="0"/>
                  </a:lnTo>
                  <a:lnTo>
                    <a:pt x="95250" y="0"/>
                  </a:lnTo>
                  <a:lnTo>
                    <a:pt x="95250" y="38100"/>
                  </a:lnTo>
                  <a:lnTo>
                    <a:pt x="228600" y="38100"/>
                  </a:lnTo>
                  <a:lnTo>
                    <a:pt x="228600" y="0"/>
                  </a:lnTo>
                  <a:lnTo>
                    <a:pt x="323850" y="0"/>
                  </a:lnTo>
                  <a:lnTo>
                    <a:pt x="323850" y="381000"/>
                  </a:lnTo>
                  <a:close/>
                  <a:moveTo>
                    <a:pt x="19050" y="361950"/>
                  </a:moveTo>
                  <a:lnTo>
                    <a:pt x="304800" y="361950"/>
                  </a:lnTo>
                  <a:lnTo>
                    <a:pt x="304800" y="19050"/>
                  </a:lnTo>
                  <a:lnTo>
                    <a:pt x="247650" y="19050"/>
                  </a:lnTo>
                  <a:lnTo>
                    <a:pt x="247650" y="57150"/>
                  </a:lnTo>
                  <a:lnTo>
                    <a:pt x="76200" y="57150"/>
                  </a:lnTo>
                  <a:lnTo>
                    <a:pt x="76200" y="19050"/>
                  </a:lnTo>
                  <a:lnTo>
                    <a:pt x="19050" y="19050"/>
                  </a:lnTo>
                  <a:lnTo>
                    <a:pt x="19050" y="361950"/>
                  </a:lnTo>
                  <a:close/>
                </a:path>
              </a:pathLst>
            </a:custGeom>
            <a:grpFill/>
            <a:ln w="9525" cap="flat">
              <a:noFill/>
              <a:prstDash val="solid"/>
              <a:miter/>
            </a:ln>
          </p:spPr>
          <p:txBody>
            <a:bodyPr rtlCol="0" anchor="ctr"/>
            <a:lstStyle/>
            <a:p>
              <a:endParaRPr lang="en-IN"/>
            </a:p>
          </p:txBody>
        </p:sp>
        <p:sp>
          <p:nvSpPr>
            <p:cNvPr id="56" name="Freeform: Shape 55">
              <a:extLst>
                <a:ext uri="{FF2B5EF4-FFF2-40B4-BE49-F238E27FC236}">
                  <a16:creationId xmlns:a16="http://schemas.microsoft.com/office/drawing/2014/main" id="{0CCD12B6-BA6A-46D7-A8B1-1C9A68F4713D}"/>
                </a:ext>
              </a:extLst>
            </p:cNvPr>
            <p:cNvSpPr/>
            <p:nvPr/>
          </p:nvSpPr>
          <p:spPr>
            <a:xfrm>
              <a:off x="6012180" y="3398520"/>
              <a:ext cx="161925" cy="133350"/>
            </a:xfrm>
            <a:custGeom>
              <a:avLst/>
              <a:gdLst>
                <a:gd name="connsiteX0" fmla="*/ 46673 w 161925"/>
                <a:gd name="connsiteY0" fmla="*/ 134303 h 133350"/>
                <a:gd name="connsiteX1" fmla="*/ 0 w 161925"/>
                <a:gd name="connsiteY1" fmla="*/ 87630 h 133350"/>
                <a:gd name="connsiteX2" fmla="*/ 13335 w 161925"/>
                <a:gd name="connsiteY2" fmla="*/ 74295 h 133350"/>
                <a:gd name="connsiteX3" fmla="*/ 46673 w 161925"/>
                <a:gd name="connsiteY3" fmla="*/ 107632 h 133350"/>
                <a:gd name="connsiteX4" fmla="*/ 154305 w 161925"/>
                <a:gd name="connsiteY4" fmla="*/ 0 h 133350"/>
                <a:gd name="connsiteX5" fmla="*/ 167640 w 161925"/>
                <a:gd name="connsiteY5" fmla="*/ 1333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133350">
                  <a:moveTo>
                    <a:pt x="46673" y="134303"/>
                  </a:moveTo>
                  <a:lnTo>
                    <a:pt x="0" y="87630"/>
                  </a:lnTo>
                  <a:lnTo>
                    <a:pt x="13335" y="74295"/>
                  </a:lnTo>
                  <a:lnTo>
                    <a:pt x="46673" y="107632"/>
                  </a:lnTo>
                  <a:lnTo>
                    <a:pt x="154305" y="0"/>
                  </a:lnTo>
                  <a:lnTo>
                    <a:pt x="167640" y="13335"/>
                  </a:lnTo>
                  <a:close/>
                </a:path>
              </a:pathLst>
            </a:custGeom>
            <a:grpFill/>
            <a:ln w="9525" cap="flat">
              <a:noFill/>
              <a:prstDash val="solid"/>
              <a:miter/>
            </a:ln>
          </p:spPr>
          <p:txBody>
            <a:bodyPr rtlCol="0" anchor="ctr"/>
            <a:lstStyle/>
            <a:p>
              <a:endParaRPr lang="en-IN"/>
            </a:p>
          </p:txBody>
        </p:sp>
      </p:grpSp>
      <p:sp>
        <p:nvSpPr>
          <p:cNvPr id="57" name="Freeform 79">
            <a:extLst>
              <a:ext uri="{FF2B5EF4-FFF2-40B4-BE49-F238E27FC236}">
                <a16:creationId xmlns:a16="http://schemas.microsoft.com/office/drawing/2014/main" id="{93530BA9-C9CE-4C3D-8E9A-39F4A2E98E74}"/>
              </a:ext>
            </a:extLst>
          </p:cNvPr>
          <p:cNvSpPr/>
          <p:nvPr/>
        </p:nvSpPr>
        <p:spPr>
          <a:xfrm>
            <a:off x="11300906" y="1744470"/>
            <a:ext cx="394496" cy="394496"/>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spTree>
    <p:extLst>
      <p:ext uri="{BB962C8B-B14F-4D97-AF65-F5344CB8AC3E}">
        <p14:creationId xmlns:p14="http://schemas.microsoft.com/office/powerpoint/2010/main" val="180384854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a:t>Style: How to sound conversational</a:t>
            </a:r>
          </a:p>
        </p:txBody>
      </p:sp>
      <p:sp>
        <p:nvSpPr>
          <p:cNvPr id="23" name="Content Placeholder 2">
            <a:extLst>
              <a:ext uri="{FF2B5EF4-FFF2-40B4-BE49-F238E27FC236}">
                <a16:creationId xmlns:a16="http://schemas.microsoft.com/office/drawing/2014/main" id="{56C674FA-BDC8-4D1F-8BC6-03FEC5006345}"/>
              </a:ext>
            </a:extLst>
          </p:cNvPr>
          <p:cNvSpPr txBox="1">
            <a:spLocks/>
          </p:cNvSpPr>
          <p:nvPr/>
        </p:nvSpPr>
        <p:spPr>
          <a:xfrm>
            <a:off x="477669" y="1398616"/>
            <a:ext cx="5248656" cy="3636756"/>
          </a:xfrm>
          <a:prstGeom prst="rect">
            <a:avLst/>
          </a:prstGeom>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pPr>
            <a:r>
              <a:rPr lang="en-US" sz="2000" spc="0">
                <a:solidFill>
                  <a:schemeClr val="tx2"/>
                </a:solidFill>
                <a:latin typeface="Segoe UI Semibold" panose="020B0702040204020203" pitchFamily="34" charset="0"/>
                <a:cs typeface="Segoe UI Semibold" panose="020B0702040204020203" pitchFamily="34" charset="0"/>
              </a:rPr>
              <a:t>Pace the conversation in short,</a:t>
            </a:r>
            <a:br>
              <a:rPr lang="en-US" sz="2000" spc="0">
                <a:solidFill>
                  <a:schemeClr val="tx2"/>
                </a:solidFill>
                <a:latin typeface="Segoe UI Semibold" panose="020B0702040204020203" pitchFamily="34" charset="0"/>
                <a:cs typeface="Segoe UI Semibold" panose="020B0702040204020203" pitchFamily="34" charset="0"/>
              </a:rPr>
            </a:br>
            <a:r>
              <a:rPr lang="en-US" sz="2000" spc="0">
                <a:solidFill>
                  <a:schemeClr val="tx2"/>
                </a:solidFill>
                <a:latin typeface="Segoe UI Semibold" panose="020B0702040204020203" pitchFamily="34" charset="0"/>
                <a:cs typeface="Segoe UI Semibold" panose="020B0702040204020203" pitchFamily="34" charset="0"/>
              </a:rPr>
              <a:t>scannable units</a:t>
            </a:r>
          </a:p>
          <a:p>
            <a:pPr>
              <a:spcBef>
                <a:spcPts val="1200"/>
              </a:spcBef>
            </a:pPr>
            <a:r>
              <a:rPr lang="en-US" sz="1800" spc="0">
                <a:latin typeface="Segoe UI" panose="020B0502040204020203" pitchFamily="34" charset="0"/>
                <a:cs typeface="Segoe UI" panose="020B0502040204020203" pitchFamily="34" charset="0"/>
              </a:rPr>
              <a:t>Break up messages into separate, readable blocks to make the pace of the conversation feel</a:t>
            </a:r>
            <a:br>
              <a:rPr lang="en-US" sz="1800" spc="0">
                <a:latin typeface="Segoe UI" panose="020B0502040204020203" pitchFamily="34" charset="0"/>
                <a:cs typeface="Segoe UI" panose="020B0502040204020203" pitchFamily="34" charset="0"/>
              </a:rPr>
            </a:br>
            <a:r>
              <a:rPr lang="en-US" sz="1800" spc="0">
                <a:latin typeface="Segoe UI" panose="020B0502040204020203" pitchFamily="34" charset="0"/>
                <a:cs typeface="Segoe UI" panose="020B0502040204020203" pitchFamily="34" charset="0"/>
              </a:rPr>
              <a:t>more natural</a:t>
            </a:r>
          </a:p>
          <a:p>
            <a:pPr>
              <a:spcBef>
                <a:spcPts val="1200"/>
              </a:spcBef>
            </a:pPr>
            <a:r>
              <a:rPr lang="en-US" sz="1800" spc="0">
                <a:latin typeface="Segoe UI" panose="020B0502040204020203" pitchFamily="34" charset="0"/>
                <a:cs typeface="Segoe UI" panose="020B0502040204020203" pitchFamily="34" charset="0"/>
              </a:rPr>
              <a:t>Make sure the agent doesn’t respond so quickly that it rushes the customer. Add a minimum delay</a:t>
            </a:r>
            <a:br>
              <a:rPr lang="en-US" sz="1800" spc="0">
                <a:latin typeface="Segoe UI" panose="020B0502040204020203" pitchFamily="34" charset="0"/>
                <a:cs typeface="Segoe UI" panose="020B0502040204020203" pitchFamily="34" charset="0"/>
              </a:rPr>
            </a:br>
            <a:r>
              <a:rPr lang="en-US" sz="1800" spc="0">
                <a:latin typeface="Segoe UI" panose="020B0502040204020203" pitchFamily="34" charset="0"/>
                <a:cs typeface="Segoe UI" panose="020B0502040204020203" pitchFamily="34" charset="0"/>
              </a:rPr>
              <a:t>if necessary</a:t>
            </a:r>
          </a:p>
          <a:p>
            <a:pPr>
              <a:spcBef>
                <a:spcPts val="1200"/>
              </a:spcBef>
            </a:pPr>
            <a:r>
              <a:rPr lang="en-US" sz="1800" spc="0">
                <a:latin typeface="Segoe UI" panose="020B0502040204020203" pitchFamily="34" charset="0"/>
                <a:cs typeface="Segoe UI" panose="020B0502040204020203" pitchFamily="34" charset="0"/>
              </a:rPr>
              <a:t>Check in to make sure the user is following the conversation after explaining or answering a question, particularly a complex one</a:t>
            </a:r>
          </a:p>
        </p:txBody>
      </p:sp>
      <p:grpSp>
        <p:nvGrpSpPr>
          <p:cNvPr id="4" name="Group 3">
            <a:extLst>
              <a:ext uri="{FF2B5EF4-FFF2-40B4-BE49-F238E27FC236}">
                <a16:creationId xmlns:a16="http://schemas.microsoft.com/office/drawing/2014/main" id="{687717DD-E5A4-446D-B61D-9EE367AF983C}"/>
              </a:ext>
            </a:extLst>
          </p:cNvPr>
          <p:cNvGrpSpPr/>
          <p:nvPr/>
        </p:nvGrpSpPr>
        <p:grpSpPr>
          <a:xfrm>
            <a:off x="6388177" y="1770380"/>
            <a:ext cx="5092547" cy="4112633"/>
            <a:chOff x="6354763" y="1770380"/>
            <a:chExt cx="5092547" cy="4112633"/>
          </a:xfrm>
        </p:grpSpPr>
        <p:grpSp>
          <p:nvGrpSpPr>
            <p:cNvPr id="124" name="Group 123">
              <a:extLst>
                <a:ext uri="{FF2B5EF4-FFF2-40B4-BE49-F238E27FC236}">
                  <a16:creationId xmlns:a16="http://schemas.microsoft.com/office/drawing/2014/main" id="{C32541B9-B226-46A1-BD34-6D0EFC70F4F5}"/>
                </a:ext>
              </a:extLst>
            </p:cNvPr>
            <p:cNvGrpSpPr/>
            <p:nvPr/>
          </p:nvGrpSpPr>
          <p:grpSpPr>
            <a:xfrm>
              <a:off x="6805335" y="5471207"/>
              <a:ext cx="3461850" cy="411806"/>
              <a:chOff x="7156454" y="1900890"/>
              <a:chExt cx="3461850" cy="411806"/>
            </a:xfrm>
          </p:grpSpPr>
          <p:sp>
            <p:nvSpPr>
              <p:cNvPr id="125" name="Rectangle: Rounded Corners 124">
                <a:extLst>
                  <a:ext uri="{FF2B5EF4-FFF2-40B4-BE49-F238E27FC236}">
                    <a16:creationId xmlns:a16="http://schemas.microsoft.com/office/drawing/2014/main" id="{B0D1B4CD-B4BD-4BD5-AEAE-124227216118}"/>
                  </a:ext>
                </a:extLst>
              </p:cNvPr>
              <p:cNvSpPr/>
              <p:nvPr/>
            </p:nvSpPr>
            <p:spPr bwMode="auto">
              <a:xfrm>
                <a:off x="7369308" y="1900890"/>
                <a:ext cx="3248996" cy="41180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Then search for and open </a:t>
                </a:r>
                <a:r>
                  <a:rPr lang="en-US" sz="1100" err="1">
                    <a:solidFill>
                      <a:schemeClr val="tx1"/>
                    </a:solidFill>
                    <a:latin typeface="Segoe UI Semibold" panose="020B0702040204020203" pitchFamily="34" charset="0"/>
                    <a:cs typeface="Segoe UI Semibold" panose="020B0702040204020203" pitchFamily="34" charset="0"/>
                  </a:rPr>
                  <a:t>CountrySetting</a:t>
                </a:r>
                <a:r>
                  <a:rPr lang="en-US" sz="1100" b="1">
                    <a:solidFill>
                      <a:schemeClr val="tx1"/>
                    </a:solidFill>
                    <a:latin typeface="Segoe UI Semibold" panose="020B0702040204020203" pitchFamily="34" charset="0"/>
                    <a:cs typeface="Segoe UI Semibold" panose="020B0702040204020203" pitchFamily="34" charset="0"/>
                  </a:rPr>
                  <a:t>.</a:t>
                </a:r>
              </a:p>
            </p:txBody>
          </p:sp>
          <p:sp>
            <p:nvSpPr>
              <p:cNvPr id="126" name="Isosceles Triangle 125">
                <a:extLst>
                  <a:ext uri="{FF2B5EF4-FFF2-40B4-BE49-F238E27FC236}">
                    <a16:creationId xmlns:a16="http://schemas.microsoft.com/office/drawing/2014/main" id="{DEC5D2DC-8AAA-489C-A3D1-2E74B676ABA0}"/>
                  </a:ext>
                </a:extLst>
              </p:cNvPr>
              <p:cNvSpPr/>
              <p:nvPr/>
            </p:nvSpPr>
            <p:spPr bwMode="auto">
              <a:xfrm rot="16200000">
                <a:off x="7174865" y="194167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F889DDB2-BD2E-4317-812F-B407BD0B3199}"/>
                </a:ext>
              </a:extLst>
            </p:cNvPr>
            <p:cNvGrpSpPr/>
            <p:nvPr/>
          </p:nvGrpSpPr>
          <p:grpSpPr>
            <a:xfrm>
              <a:off x="6354763" y="1770380"/>
              <a:ext cx="5092547" cy="4016917"/>
              <a:chOff x="6354763" y="1770380"/>
              <a:chExt cx="5092547" cy="4016917"/>
            </a:xfrm>
          </p:grpSpPr>
          <p:grpSp>
            <p:nvGrpSpPr>
              <p:cNvPr id="77" name="Group 115">
                <a:extLst>
                  <a:ext uri="{FF2B5EF4-FFF2-40B4-BE49-F238E27FC236}">
                    <a16:creationId xmlns:a16="http://schemas.microsoft.com/office/drawing/2014/main" id="{AA7AA67A-CCBB-4B36-8DB7-DC6DAF0489BD}"/>
                  </a:ext>
                </a:extLst>
              </p:cNvPr>
              <p:cNvGrpSpPr/>
              <p:nvPr/>
            </p:nvGrpSpPr>
            <p:grpSpPr>
              <a:xfrm>
                <a:off x="6805335" y="1798433"/>
                <a:ext cx="3461850" cy="485349"/>
                <a:chOff x="7156454" y="1900890"/>
                <a:chExt cx="3461850" cy="485349"/>
              </a:xfrm>
            </p:grpSpPr>
            <p:sp>
              <p:nvSpPr>
                <p:cNvPr id="78" name="Rectangle: Rounded Corners 77">
                  <a:extLst>
                    <a:ext uri="{FF2B5EF4-FFF2-40B4-BE49-F238E27FC236}">
                      <a16:creationId xmlns:a16="http://schemas.microsoft.com/office/drawing/2014/main" id="{9FA41936-3BFF-4D17-8108-0113D0342FF4}"/>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Before we begin, what type of account do you have?</a:t>
                  </a:r>
                </a:p>
              </p:txBody>
            </p:sp>
            <p:sp>
              <p:nvSpPr>
                <p:cNvPr id="79" name="Isosceles Triangle 78">
                  <a:extLst>
                    <a:ext uri="{FF2B5EF4-FFF2-40B4-BE49-F238E27FC236}">
                      <a16:creationId xmlns:a16="http://schemas.microsoft.com/office/drawing/2014/main" id="{B83F7C5F-66C9-40EE-B2E3-06B2C66085D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84">
                <a:extLst>
                  <a:ext uri="{FF2B5EF4-FFF2-40B4-BE49-F238E27FC236}">
                    <a16:creationId xmlns:a16="http://schemas.microsoft.com/office/drawing/2014/main" id="{04BBCB41-2244-4143-AE51-409C6DE6C90C}"/>
                  </a:ext>
                </a:extLst>
              </p:cNvPr>
              <p:cNvGrpSpPr/>
              <p:nvPr/>
            </p:nvGrpSpPr>
            <p:grpSpPr>
              <a:xfrm>
                <a:off x="6354763" y="1770380"/>
                <a:ext cx="344143" cy="344143"/>
                <a:chOff x="12510166" y="1289683"/>
                <a:chExt cx="685799" cy="685799"/>
              </a:xfrm>
            </p:grpSpPr>
            <p:sp>
              <p:nvSpPr>
                <p:cNvPr id="81" name="Oval 42">
                  <a:extLst>
                    <a:ext uri="{FF2B5EF4-FFF2-40B4-BE49-F238E27FC236}">
                      <a16:creationId xmlns:a16="http://schemas.microsoft.com/office/drawing/2014/main" id="{A25831F6-FC87-41C6-91BE-30160E64A191}"/>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61">
                  <a:extLst>
                    <a:ext uri="{FF2B5EF4-FFF2-40B4-BE49-F238E27FC236}">
                      <a16:creationId xmlns:a16="http://schemas.microsoft.com/office/drawing/2014/main" id="{1C817DD4-4401-4599-BC1D-06BD0E336A69}"/>
                    </a:ext>
                  </a:extLst>
                </p:cNvPr>
                <p:cNvGrpSpPr/>
                <p:nvPr/>
              </p:nvGrpSpPr>
              <p:grpSpPr>
                <a:xfrm>
                  <a:off x="12688064" y="1458670"/>
                  <a:ext cx="330003" cy="347825"/>
                  <a:chOff x="5084670" y="6673208"/>
                  <a:chExt cx="2733675" cy="2881313"/>
                </a:xfrm>
              </p:grpSpPr>
              <p:sp>
                <p:nvSpPr>
                  <p:cNvPr id="83" name="Freeform: Shape 82">
                    <a:extLst>
                      <a:ext uri="{FF2B5EF4-FFF2-40B4-BE49-F238E27FC236}">
                        <a16:creationId xmlns:a16="http://schemas.microsoft.com/office/drawing/2014/main" id="{8FF812D2-7282-4CD1-A158-2F64F76DBA36}"/>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4" name="Freeform: Shape 83">
                    <a:extLst>
                      <a:ext uri="{FF2B5EF4-FFF2-40B4-BE49-F238E27FC236}">
                        <a16:creationId xmlns:a16="http://schemas.microsoft.com/office/drawing/2014/main" id="{4EDCD632-1ACC-46C2-8887-2183288E9529}"/>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87" name="Picture 183">
                <a:extLst>
                  <a:ext uri="{FF2B5EF4-FFF2-40B4-BE49-F238E27FC236}">
                    <a16:creationId xmlns:a16="http://schemas.microsoft.com/office/drawing/2014/main" id="{5BA7C188-394F-4ACA-9B34-03BC9A6C5C1C}"/>
                  </a:ext>
                </a:extLst>
              </p:cNvPr>
              <p:cNvPicPr>
                <a:picLocks noChangeAspect="1"/>
              </p:cNvPicPr>
              <p:nvPr/>
            </p:nvPicPr>
            <p:blipFill>
              <a:blip r:embed="rId3"/>
              <a:srcRect b="258"/>
              <a:stretch>
                <a:fillRect/>
              </a:stretch>
            </p:blipFill>
            <p:spPr>
              <a:xfrm>
                <a:off x="11076904" y="2395950"/>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88" name="Group 113">
                <a:extLst>
                  <a:ext uri="{FF2B5EF4-FFF2-40B4-BE49-F238E27FC236}">
                    <a16:creationId xmlns:a16="http://schemas.microsoft.com/office/drawing/2014/main" id="{539DF50E-443F-40F9-AFE0-7CD595A6CEB0}"/>
                  </a:ext>
                </a:extLst>
              </p:cNvPr>
              <p:cNvGrpSpPr/>
              <p:nvPr/>
            </p:nvGrpSpPr>
            <p:grpSpPr>
              <a:xfrm>
                <a:off x="10037763" y="2436329"/>
                <a:ext cx="995623" cy="291071"/>
                <a:chOff x="10000013" y="3961429"/>
                <a:chExt cx="995623" cy="291071"/>
              </a:xfrm>
            </p:grpSpPr>
            <p:sp>
              <p:nvSpPr>
                <p:cNvPr id="89" name="Rectangle: Rounded Corners 88">
                  <a:extLst>
                    <a:ext uri="{FF2B5EF4-FFF2-40B4-BE49-F238E27FC236}">
                      <a16:creationId xmlns:a16="http://schemas.microsoft.com/office/drawing/2014/main" id="{44B5341E-363C-41AF-AA7D-062DEEA3B95F}"/>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Student</a:t>
                  </a:r>
                </a:p>
              </p:txBody>
            </p:sp>
            <p:sp>
              <p:nvSpPr>
                <p:cNvPr id="90" name="Isosceles Triangle 89">
                  <a:extLst>
                    <a:ext uri="{FF2B5EF4-FFF2-40B4-BE49-F238E27FC236}">
                      <a16:creationId xmlns:a16="http://schemas.microsoft.com/office/drawing/2014/main" id="{61E46B99-BD61-4AD9-81B0-1851980E500F}"/>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91" name="Group 115">
                <a:extLst>
                  <a:ext uri="{FF2B5EF4-FFF2-40B4-BE49-F238E27FC236}">
                    <a16:creationId xmlns:a16="http://schemas.microsoft.com/office/drawing/2014/main" id="{13003E64-BFCE-475A-BFCA-1CFB7912F7D7}"/>
                  </a:ext>
                </a:extLst>
              </p:cNvPr>
              <p:cNvGrpSpPr/>
              <p:nvPr/>
            </p:nvGrpSpPr>
            <p:grpSpPr>
              <a:xfrm>
                <a:off x="6805335" y="2906577"/>
                <a:ext cx="3461850" cy="469093"/>
                <a:chOff x="7156454" y="1900890"/>
                <a:chExt cx="3461850" cy="469093"/>
              </a:xfrm>
            </p:grpSpPr>
            <p:sp>
              <p:nvSpPr>
                <p:cNvPr id="92" name="Rectangle: Rounded Corners 91">
                  <a:extLst>
                    <a:ext uri="{FF2B5EF4-FFF2-40B4-BE49-F238E27FC236}">
                      <a16:creationId xmlns:a16="http://schemas.microsoft.com/office/drawing/2014/main" id="{97E64705-169B-4002-B10F-C1738AB9B390}"/>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OK, what type of device are you using? </a:t>
                  </a:r>
                </a:p>
              </p:txBody>
            </p:sp>
            <p:sp>
              <p:nvSpPr>
                <p:cNvPr id="93" name="Isosceles Triangle 92">
                  <a:extLst>
                    <a:ext uri="{FF2B5EF4-FFF2-40B4-BE49-F238E27FC236}">
                      <a16:creationId xmlns:a16="http://schemas.microsoft.com/office/drawing/2014/main" id="{A7CFDAE0-BE57-42DF-A0F5-5FF92F17B0E7}"/>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84">
                <a:extLst>
                  <a:ext uri="{FF2B5EF4-FFF2-40B4-BE49-F238E27FC236}">
                    <a16:creationId xmlns:a16="http://schemas.microsoft.com/office/drawing/2014/main" id="{0B5BB947-5AF0-4394-A1C6-685CC2BF6A5A}"/>
                  </a:ext>
                </a:extLst>
              </p:cNvPr>
              <p:cNvGrpSpPr/>
              <p:nvPr/>
            </p:nvGrpSpPr>
            <p:grpSpPr>
              <a:xfrm>
                <a:off x="6354763" y="2878524"/>
                <a:ext cx="344143" cy="344143"/>
                <a:chOff x="12510166" y="1289683"/>
                <a:chExt cx="685799" cy="685799"/>
              </a:xfrm>
            </p:grpSpPr>
            <p:sp>
              <p:nvSpPr>
                <p:cNvPr id="95" name="Oval 42">
                  <a:extLst>
                    <a:ext uri="{FF2B5EF4-FFF2-40B4-BE49-F238E27FC236}">
                      <a16:creationId xmlns:a16="http://schemas.microsoft.com/office/drawing/2014/main" id="{6C45D9B2-E3FE-4D3C-98C9-7CFD8A5B0D17}"/>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61">
                  <a:extLst>
                    <a:ext uri="{FF2B5EF4-FFF2-40B4-BE49-F238E27FC236}">
                      <a16:creationId xmlns:a16="http://schemas.microsoft.com/office/drawing/2014/main" id="{8DE63C0D-9BD7-4D83-8298-789C265E1597}"/>
                    </a:ext>
                  </a:extLst>
                </p:cNvPr>
                <p:cNvGrpSpPr/>
                <p:nvPr/>
              </p:nvGrpSpPr>
              <p:grpSpPr>
                <a:xfrm>
                  <a:off x="12688064" y="1458670"/>
                  <a:ext cx="330003" cy="347825"/>
                  <a:chOff x="5084670" y="6673208"/>
                  <a:chExt cx="2733675" cy="2881313"/>
                </a:xfrm>
              </p:grpSpPr>
              <p:sp>
                <p:nvSpPr>
                  <p:cNvPr id="97" name="Freeform: Shape 96">
                    <a:extLst>
                      <a:ext uri="{FF2B5EF4-FFF2-40B4-BE49-F238E27FC236}">
                        <a16:creationId xmlns:a16="http://schemas.microsoft.com/office/drawing/2014/main" id="{FDCF1F80-C020-47B3-8C7E-B7B092A20748}"/>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8" name="Freeform: Shape 97">
                    <a:extLst>
                      <a:ext uri="{FF2B5EF4-FFF2-40B4-BE49-F238E27FC236}">
                        <a16:creationId xmlns:a16="http://schemas.microsoft.com/office/drawing/2014/main" id="{9EB73D18-B133-4CCE-8C7F-367BE0A0F03D}"/>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04" name="Group 113">
                <a:extLst>
                  <a:ext uri="{FF2B5EF4-FFF2-40B4-BE49-F238E27FC236}">
                    <a16:creationId xmlns:a16="http://schemas.microsoft.com/office/drawing/2014/main" id="{E4395A5A-755F-4D6D-8CC6-927D89A242D5}"/>
                  </a:ext>
                </a:extLst>
              </p:cNvPr>
              <p:cNvGrpSpPr/>
              <p:nvPr/>
            </p:nvGrpSpPr>
            <p:grpSpPr>
              <a:xfrm>
                <a:off x="10190392" y="3608737"/>
                <a:ext cx="842994" cy="291071"/>
                <a:chOff x="10152642" y="3961429"/>
                <a:chExt cx="842994" cy="291071"/>
              </a:xfrm>
            </p:grpSpPr>
            <p:sp>
              <p:nvSpPr>
                <p:cNvPr id="105" name="Rectangle: Rounded Corners 104">
                  <a:extLst>
                    <a:ext uri="{FF2B5EF4-FFF2-40B4-BE49-F238E27FC236}">
                      <a16:creationId xmlns:a16="http://schemas.microsoft.com/office/drawing/2014/main" id="{811B1464-42B6-46C1-924B-27CEC5F1CE6D}"/>
                    </a:ext>
                  </a:extLst>
                </p:cNvPr>
                <p:cNvSpPr/>
                <p:nvPr/>
              </p:nvSpPr>
              <p:spPr bwMode="auto">
                <a:xfrm>
                  <a:off x="10152642" y="3961429"/>
                  <a:ext cx="657014"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Tablet</a:t>
                  </a:r>
                </a:p>
              </p:txBody>
            </p:sp>
            <p:sp>
              <p:nvSpPr>
                <p:cNvPr id="106" name="Isosceles Triangle 105">
                  <a:extLst>
                    <a:ext uri="{FF2B5EF4-FFF2-40B4-BE49-F238E27FC236}">
                      <a16:creationId xmlns:a16="http://schemas.microsoft.com/office/drawing/2014/main" id="{0EFFA3B8-EBF0-42BE-A2EF-FB5306B00D27}"/>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07" name="Picture 183">
                <a:extLst>
                  <a:ext uri="{FF2B5EF4-FFF2-40B4-BE49-F238E27FC236}">
                    <a16:creationId xmlns:a16="http://schemas.microsoft.com/office/drawing/2014/main" id="{59CD7249-B729-43AC-87B4-B19E2EA0ECAF}"/>
                  </a:ext>
                </a:extLst>
              </p:cNvPr>
              <p:cNvPicPr>
                <a:picLocks noChangeAspect="1"/>
              </p:cNvPicPr>
              <p:nvPr/>
            </p:nvPicPr>
            <p:blipFill>
              <a:blip r:embed="rId3"/>
              <a:srcRect b="258"/>
              <a:stretch>
                <a:fillRect/>
              </a:stretch>
            </p:blipFill>
            <p:spPr>
              <a:xfrm>
                <a:off x="11076904" y="348783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108" name="Group 115">
                <a:extLst>
                  <a:ext uri="{FF2B5EF4-FFF2-40B4-BE49-F238E27FC236}">
                    <a16:creationId xmlns:a16="http://schemas.microsoft.com/office/drawing/2014/main" id="{3A2B3597-63B7-4435-A081-0A2C23468792}"/>
                  </a:ext>
                </a:extLst>
              </p:cNvPr>
              <p:cNvGrpSpPr/>
              <p:nvPr/>
            </p:nvGrpSpPr>
            <p:grpSpPr>
              <a:xfrm>
                <a:off x="6805335" y="4040029"/>
                <a:ext cx="3461850" cy="573150"/>
                <a:chOff x="7156454" y="1900890"/>
                <a:chExt cx="3461850" cy="573150"/>
              </a:xfrm>
            </p:grpSpPr>
            <p:sp>
              <p:nvSpPr>
                <p:cNvPr id="109" name="Rectangle: Rounded Corners 108">
                  <a:extLst>
                    <a:ext uri="{FF2B5EF4-FFF2-40B4-BE49-F238E27FC236}">
                      <a16:creationId xmlns:a16="http://schemas.microsoft.com/office/drawing/2014/main" id="{675A2D5D-9563-41FC-9555-9957CA70963D}"/>
                    </a:ext>
                  </a:extLst>
                </p:cNvPr>
                <p:cNvSpPr/>
                <p:nvPr/>
              </p:nvSpPr>
              <p:spPr bwMode="auto">
                <a:xfrm>
                  <a:off x="7369308" y="1900890"/>
                  <a:ext cx="3248996" cy="573150"/>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Great! First, we need to reset your credentials. I’ll walk you through how to do this.</a:t>
                  </a:r>
                </a:p>
              </p:txBody>
            </p:sp>
            <p:sp>
              <p:nvSpPr>
                <p:cNvPr id="110" name="Isosceles Triangle 109">
                  <a:extLst>
                    <a:ext uri="{FF2B5EF4-FFF2-40B4-BE49-F238E27FC236}">
                      <a16:creationId xmlns:a16="http://schemas.microsoft.com/office/drawing/2014/main" id="{A916F3A8-4B38-4F44-AFAE-EADADFE71E86}"/>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1" name="Group 84">
                <a:extLst>
                  <a:ext uri="{FF2B5EF4-FFF2-40B4-BE49-F238E27FC236}">
                    <a16:creationId xmlns:a16="http://schemas.microsoft.com/office/drawing/2014/main" id="{ECBFFCFE-F64D-471A-A312-68AB3F36846C}"/>
                  </a:ext>
                </a:extLst>
              </p:cNvPr>
              <p:cNvGrpSpPr/>
              <p:nvPr/>
            </p:nvGrpSpPr>
            <p:grpSpPr>
              <a:xfrm>
                <a:off x="6354763" y="4011976"/>
                <a:ext cx="344143" cy="344143"/>
                <a:chOff x="12510166" y="1289683"/>
                <a:chExt cx="685799" cy="685799"/>
              </a:xfrm>
            </p:grpSpPr>
            <p:sp>
              <p:nvSpPr>
                <p:cNvPr id="112" name="Oval 42">
                  <a:extLst>
                    <a:ext uri="{FF2B5EF4-FFF2-40B4-BE49-F238E27FC236}">
                      <a16:creationId xmlns:a16="http://schemas.microsoft.com/office/drawing/2014/main" id="{257AF6AD-16B4-4C31-86C4-8617551EF4BA}"/>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61">
                  <a:extLst>
                    <a:ext uri="{FF2B5EF4-FFF2-40B4-BE49-F238E27FC236}">
                      <a16:creationId xmlns:a16="http://schemas.microsoft.com/office/drawing/2014/main" id="{835E4ABE-6635-45AD-8F1F-582952EFF2EF}"/>
                    </a:ext>
                  </a:extLst>
                </p:cNvPr>
                <p:cNvGrpSpPr/>
                <p:nvPr/>
              </p:nvGrpSpPr>
              <p:grpSpPr>
                <a:xfrm>
                  <a:off x="12688064" y="1458670"/>
                  <a:ext cx="330003" cy="347825"/>
                  <a:chOff x="5084670" y="6673208"/>
                  <a:chExt cx="2733675" cy="2881313"/>
                </a:xfrm>
              </p:grpSpPr>
              <p:sp>
                <p:nvSpPr>
                  <p:cNvPr id="114" name="Freeform: Shape 113">
                    <a:extLst>
                      <a:ext uri="{FF2B5EF4-FFF2-40B4-BE49-F238E27FC236}">
                        <a16:creationId xmlns:a16="http://schemas.microsoft.com/office/drawing/2014/main" id="{95419706-E6F4-4470-BFA1-D41093E360A3}"/>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5" name="Freeform: Shape 114">
                    <a:extLst>
                      <a:ext uri="{FF2B5EF4-FFF2-40B4-BE49-F238E27FC236}">
                        <a16:creationId xmlns:a16="http://schemas.microsoft.com/office/drawing/2014/main" id="{6E105BF2-1679-43E1-A07C-C8B01DC00586}"/>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16" name="Group 115">
                <a:extLst>
                  <a:ext uri="{FF2B5EF4-FFF2-40B4-BE49-F238E27FC236}">
                    <a16:creationId xmlns:a16="http://schemas.microsoft.com/office/drawing/2014/main" id="{8E5DFF4E-1C3E-49E9-840C-F63B9BAC0E2C}"/>
                  </a:ext>
                </a:extLst>
              </p:cNvPr>
              <p:cNvGrpSpPr/>
              <p:nvPr/>
            </p:nvGrpSpPr>
            <p:grpSpPr>
              <a:xfrm>
                <a:off x="6805335" y="4818662"/>
                <a:ext cx="3461850" cy="487447"/>
                <a:chOff x="7156454" y="1876010"/>
                <a:chExt cx="3461850" cy="487447"/>
              </a:xfrm>
            </p:grpSpPr>
            <p:sp>
              <p:nvSpPr>
                <p:cNvPr id="117" name="Rectangle: Rounded Corners 116">
                  <a:extLst>
                    <a:ext uri="{FF2B5EF4-FFF2-40B4-BE49-F238E27FC236}">
                      <a16:creationId xmlns:a16="http://schemas.microsoft.com/office/drawing/2014/main" id="{30F10C65-E195-42E7-B403-CAF68D57F4A4}"/>
                    </a:ext>
                  </a:extLst>
                </p:cNvPr>
                <p:cNvSpPr/>
                <p:nvPr/>
              </p:nvSpPr>
              <p:spPr bwMode="auto">
                <a:xfrm>
                  <a:off x="7369308" y="1876010"/>
                  <a:ext cx="3248996" cy="48744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Open </a:t>
                  </a:r>
                  <a:r>
                    <a:rPr lang="en-US" sz="1100">
                      <a:solidFill>
                        <a:schemeClr val="tx1"/>
                      </a:solidFill>
                      <a:latin typeface="Segoe UI Semibold" panose="020B0702040204020203" pitchFamily="34" charset="0"/>
                      <a:cs typeface="Segoe UI Semibold" panose="020B0702040204020203" pitchFamily="34" charset="0"/>
                    </a:rPr>
                    <a:t>Spotlight</a:t>
                  </a:r>
                  <a:r>
                    <a:rPr lang="en-US" sz="1100">
                      <a:solidFill>
                        <a:schemeClr val="tx1"/>
                      </a:solidFill>
                      <a:cs typeface="Segoe UI" pitchFamily="34" charset="0"/>
                    </a:rPr>
                    <a:t> by selecting the magnifying glass at the top right of your setting.</a:t>
                  </a:r>
                </a:p>
              </p:txBody>
            </p:sp>
            <p:sp>
              <p:nvSpPr>
                <p:cNvPr id="118" name="Isosceles Triangle 117">
                  <a:extLst>
                    <a:ext uri="{FF2B5EF4-FFF2-40B4-BE49-F238E27FC236}">
                      <a16:creationId xmlns:a16="http://schemas.microsoft.com/office/drawing/2014/main" id="{8BC83ACE-C08A-4A8E-8C2C-FE2AFBF5DAF8}"/>
                    </a:ext>
                  </a:extLst>
                </p:cNvPr>
                <p:cNvSpPr/>
                <p:nvPr/>
              </p:nvSpPr>
              <p:spPr bwMode="auto">
                <a:xfrm rot="16200000">
                  <a:off x="7174865" y="195489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9" name="Group 84">
                <a:extLst>
                  <a:ext uri="{FF2B5EF4-FFF2-40B4-BE49-F238E27FC236}">
                    <a16:creationId xmlns:a16="http://schemas.microsoft.com/office/drawing/2014/main" id="{4B90A11B-5EF9-4D41-AC10-9F6956924BD9}"/>
                  </a:ext>
                </a:extLst>
              </p:cNvPr>
              <p:cNvGrpSpPr/>
              <p:nvPr/>
            </p:nvGrpSpPr>
            <p:grpSpPr>
              <a:xfrm>
                <a:off x="6354763" y="4815489"/>
                <a:ext cx="344143" cy="344143"/>
                <a:chOff x="12510166" y="1289683"/>
                <a:chExt cx="685799" cy="685799"/>
              </a:xfrm>
            </p:grpSpPr>
            <p:sp>
              <p:nvSpPr>
                <p:cNvPr id="120" name="Oval 42">
                  <a:extLst>
                    <a:ext uri="{FF2B5EF4-FFF2-40B4-BE49-F238E27FC236}">
                      <a16:creationId xmlns:a16="http://schemas.microsoft.com/office/drawing/2014/main" id="{13E883BF-B77E-41B7-8868-17FD99BAD38C}"/>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1" name="Group 61">
                  <a:extLst>
                    <a:ext uri="{FF2B5EF4-FFF2-40B4-BE49-F238E27FC236}">
                      <a16:creationId xmlns:a16="http://schemas.microsoft.com/office/drawing/2014/main" id="{81CAC4AF-691A-426B-8E5E-852B9A67B8C5}"/>
                    </a:ext>
                  </a:extLst>
                </p:cNvPr>
                <p:cNvGrpSpPr/>
                <p:nvPr/>
              </p:nvGrpSpPr>
              <p:grpSpPr>
                <a:xfrm>
                  <a:off x="12688064" y="1458670"/>
                  <a:ext cx="330003" cy="347825"/>
                  <a:chOff x="5084670" y="6673208"/>
                  <a:chExt cx="2733675" cy="2881313"/>
                </a:xfrm>
              </p:grpSpPr>
              <p:sp>
                <p:nvSpPr>
                  <p:cNvPr id="122" name="Freeform: Shape 121">
                    <a:extLst>
                      <a:ext uri="{FF2B5EF4-FFF2-40B4-BE49-F238E27FC236}">
                        <a16:creationId xmlns:a16="http://schemas.microsoft.com/office/drawing/2014/main" id="{D8AB0EA9-EFF6-4FC0-B160-52C7ABA7D6A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3" name="Freeform: Shape 122">
                    <a:extLst>
                      <a:ext uri="{FF2B5EF4-FFF2-40B4-BE49-F238E27FC236}">
                        <a16:creationId xmlns:a16="http://schemas.microsoft.com/office/drawing/2014/main" id="{2D21C3A8-DC06-426A-8264-E42FBED6DFE2}"/>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27" name="Group 84">
                <a:extLst>
                  <a:ext uri="{FF2B5EF4-FFF2-40B4-BE49-F238E27FC236}">
                    <a16:creationId xmlns:a16="http://schemas.microsoft.com/office/drawing/2014/main" id="{9160AC19-A8BC-49DA-8FDE-2815E7ABE398}"/>
                  </a:ext>
                </a:extLst>
              </p:cNvPr>
              <p:cNvGrpSpPr/>
              <p:nvPr/>
            </p:nvGrpSpPr>
            <p:grpSpPr>
              <a:xfrm>
                <a:off x="6354763" y="5443154"/>
                <a:ext cx="344143" cy="344143"/>
                <a:chOff x="12510166" y="1289683"/>
                <a:chExt cx="685799" cy="685799"/>
              </a:xfrm>
            </p:grpSpPr>
            <p:sp>
              <p:nvSpPr>
                <p:cNvPr id="128" name="Oval 42">
                  <a:extLst>
                    <a:ext uri="{FF2B5EF4-FFF2-40B4-BE49-F238E27FC236}">
                      <a16:creationId xmlns:a16="http://schemas.microsoft.com/office/drawing/2014/main" id="{3A315804-BEA2-4CE3-9CA5-4BFB487E7B61}"/>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61">
                  <a:extLst>
                    <a:ext uri="{FF2B5EF4-FFF2-40B4-BE49-F238E27FC236}">
                      <a16:creationId xmlns:a16="http://schemas.microsoft.com/office/drawing/2014/main" id="{8E8EE75C-9CF7-4962-9F50-4667F064D59D}"/>
                    </a:ext>
                  </a:extLst>
                </p:cNvPr>
                <p:cNvGrpSpPr/>
                <p:nvPr/>
              </p:nvGrpSpPr>
              <p:grpSpPr>
                <a:xfrm>
                  <a:off x="12688064" y="1458670"/>
                  <a:ext cx="330003" cy="347825"/>
                  <a:chOff x="5084670" y="6673208"/>
                  <a:chExt cx="2733675" cy="2881313"/>
                </a:xfrm>
              </p:grpSpPr>
              <p:sp>
                <p:nvSpPr>
                  <p:cNvPr id="130" name="Freeform: Shape 129">
                    <a:extLst>
                      <a:ext uri="{FF2B5EF4-FFF2-40B4-BE49-F238E27FC236}">
                        <a16:creationId xmlns:a16="http://schemas.microsoft.com/office/drawing/2014/main" id="{E1A1AE1D-6236-4C1A-8C85-30B0B8608D6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1" name="Freeform: Shape 130">
                    <a:extLst>
                      <a:ext uri="{FF2B5EF4-FFF2-40B4-BE49-F238E27FC236}">
                        <a16:creationId xmlns:a16="http://schemas.microsoft.com/office/drawing/2014/main" id="{334FBBA8-85D1-4D7C-8825-D9D20A4FC9AB}"/>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grpSp>
        <p:nvGrpSpPr>
          <p:cNvPr id="141" name="Group 13">
            <a:extLst>
              <a:ext uri="{FF2B5EF4-FFF2-40B4-BE49-F238E27FC236}">
                <a16:creationId xmlns:a16="http://schemas.microsoft.com/office/drawing/2014/main" id="{7FDE69AE-6BC1-496A-8AB4-C5231C487DDC}"/>
              </a:ext>
            </a:extLst>
          </p:cNvPr>
          <p:cNvGrpSpPr/>
          <p:nvPr/>
        </p:nvGrpSpPr>
        <p:grpSpPr>
          <a:xfrm>
            <a:off x="6134100" y="1398616"/>
            <a:ext cx="5605272" cy="4838956"/>
            <a:chOff x="6134100" y="1398616"/>
            <a:chExt cx="5600700" cy="5053134"/>
          </a:xfrm>
        </p:grpSpPr>
        <p:sp>
          <p:nvSpPr>
            <p:cNvPr id="142" name="Rectangle 7">
              <a:extLst>
                <a:ext uri="{FF2B5EF4-FFF2-40B4-BE49-F238E27FC236}">
                  <a16:creationId xmlns:a16="http://schemas.microsoft.com/office/drawing/2014/main" id="{8969AC50-E529-44C9-BEA0-1A035FA9D3A6}"/>
                </a:ext>
              </a:extLst>
            </p:cNvPr>
            <p:cNvSpPr/>
            <p:nvPr/>
          </p:nvSpPr>
          <p:spPr bwMode="auto">
            <a:xfrm>
              <a:off x="6134100" y="1398616"/>
              <a:ext cx="5600700" cy="5053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36">
              <a:extLst>
                <a:ext uri="{FF2B5EF4-FFF2-40B4-BE49-F238E27FC236}">
                  <a16:creationId xmlns:a16="http://schemas.microsoft.com/office/drawing/2014/main" id="{F5A3A07C-ECCC-47D9-AD5E-879CC38498E1}"/>
                </a:ext>
              </a:extLst>
            </p:cNvPr>
            <p:cNvSpPr/>
            <p:nvPr/>
          </p:nvSpPr>
          <p:spPr bwMode="auto">
            <a:xfrm>
              <a:off x="11432729" y="6047191"/>
              <a:ext cx="302071" cy="4045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91440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914400" y="0"/>
                  </a:moveTo>
                  <a:lnTo>
                    <a:pt x="914400" y="914400"/>
                  </a:lnTo>
                  <a:lnTo>
                    <a:pt x="0" y="91440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37">
              <a:extLst>
                <a:ext uri="{FF2B5EF4-FFF2-40B4-BE49-F238E27FC236}">
                  <a16:creationId xmlns:a16="http://schemas.microsoft.com/office/drawing/2014/main" id="{5161D479-FBAC-4C5A-B7AD-2246A0E37941}"/>
                </a:ext>
              </a:extLst>
            </p:cNvPr>
            <p:cNvSpPr/>
            <p:nvPr/>
          </p:nvSpPr>
          <p:spPr bwMode="auto">
            <a:xfrm>
              <a:off x="6134100" y="1398616"/>
              <a:ext cx="308898" cy="41472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76934472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a:t>Style: How to sound conversational</a:t>
            </a:r>
          </a:p>
        </p:txBody>
      </p:sp>
      <p:sp>
        <p:nvSpPr>
          <p:cNvPr id="23" name="Content Placeholder 2">
            <a:extLst>
              <a:ext uri="{FF2B5EF4-FFF2-40B4-BE49-F238E27FC236}">
                <a16:creationId xmlns:a16="http://schemas.microsoft.com/office/drawing/2014/main" id="{56C674FA-BDC8-4D1F-8BC6-03FEC5006345}"/>
              </a:ext>
            </a:extLst>
          </p:cNvPr>
          <p:cNvSpPr txBox="1">
            <a:spLocks/>
          </p:cNvSpPr>
          <p:nvPr/>
        </p:nvSpPr>
        <p:spPr>
          <a:xfrm>
            <a:off x="477670" y="1398616"/>
            <a:ext cx="5241453" cy="3721160"/>
          </a:xfrm>
          <a:prstGeom prst="rect">
            <a:avLst/>
          </a:prstGeom>
        </p:spPr>
        <p:txBody>
          <a:bodyPr vert="horz" wrap="square" lIns="0" tIns="0" rIns="0" bIns="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pPr>
            <a:r>
              <a:rPr lang="en-US" sz="2000" spc="0">
                <a:solidFill>
                  <a:schemeClr val="tx2"/>
                </a:solidFill>
                <a:latin typeface="Segoe UI Semibold"/>
                <a:cs typeface="Segoe UI Semibold"/>
              </a:rPr>
              <a:t>Maintain a friendly tone when helping to complete the task</a:t>
            </a:r>
          </a:p>
          <a:p>
            <a:pPr>
              <a:spcBef>
                <a:spcPts val="1200"/>
              </a:spcBef>
            </a:pPr>
            <a:r>
              <a:rPr lang="en-US" sz="1800" spc="0">
                <a:latin typeface="Segoe UI"/>
                <a:cs typeface="Segoe UI"/>
              </a:rPr>
              <a:t>Tailor the tone of the agent’s responses to the context. If it’s something serious—like billing or cybersecurity—be empathetic but brief and straightforward. If it’s a more mundane situation (like creating a new account), the tone can be</a:t>
            </a:r>
            <a:br>
              <a:rPr lang="en-US" sz="1800" spc="0">
                <a:latin typeface="Segoe UI" panose="020B0502040204020203" pitchFamily="34" charset="0"/>
                <a:cs typeface="Segoe UI" panose="020B0502040204020203" pitchFamily="34" charset="0"/>
              </a:rPr>
            </a:br>
            <a:r>
              <a:rPr lang="en-US" sz="1800" spc="0">
                <a:latin typeface="Segoe UI"/>
                <a:cs typeface="Segoe UI"/>
              </a:rPr>
              <a:t>more relaxed.</a:t>
            </a:r>
            <a:endParaRPr lang="en-US" sz="2350">
              <a:latin typeface="Segoe UI"/>
              <a:cs typeface="Segoe UI"/>
            </a:endParaRPr>
          </a:p>
          <a:p>
            <a:pPr>
              <a:spcBef>
                <a:spcPts val="1200"/>
              </a:spcBef>
            </a:pPr>
            <a:r>
              <a:rPr lang="en-US" sz="1800" spc="0">
                <a:latin typeface="Segoe UI"/>
                <a:cs typeface="Segoe UI"/>
              </a:rPr>
              <a:t>Exclamation points don’t express energy or excitement. Strong writing does, particularly strong verbs. In your desire to help, avoid sounding condescending or insincerely enthusiastic.</a:t>
            </a:r>
          </a:p>
        </p:txBody>
      </p:sp>
      <p:grpSp>
        <p:nvGrpSpPr>
          <p:cNvPr id="2" name="Group 1">
            <a:extLst>
              <a:ext uri="{FF2B5EF4-FFF2-40B4-BE49-F238E27FC236}">
                <a16:creationId xmlns:a16="http://schemas.microsoft.com/office/drawing/2014/main" id="{0C0F1BA8-BDAE-47C2-B358-68E0597667A5}"/>
              </a:ext>
            </a:extLst>
          </p:cNvPr>
          <p:cNvGrpSpPr/>
          <p:nvPr/>
        </p:nvGrpSpPr>
        <p:grpSpPr>
          <a:xfrm>
            <a:off x="6590694" y="1781655"/>
            <a:ext cx="4687513" cy="4409446"/>
            <a:chOff x="6354763" y="1781655"/>
            <a:chExt cx="4687513" cy="4409446"/>
          </a:xfrm>
        </p:grpSpPr>
        <p:sp>
          <p:nvSpPr>
            <p:cNvPr id="21" name="Rectangle 67">
              <a:extLst>
                <a:ext uri="{FF2B5EF4-FFF2-40B4-BE49-F238E27FC236}">
                  <a16:creationId xmlns:a16="http://schemas.microsoft.com/office/drawing/2014/main" id="{D9EE9F9A-1995-4635-8B45-45E9612DA31B}"/>
                </a:ext>
              </a:extLst>
            </p:cNvPr>
            <p:cNvSpPr/>
            <p:nvPr/>
          </p:nvSpPr>
          <p:spPr>
            <a:xfrm>
              <a:off x="6827023" y="1835300"/>
              <a:ext cx="740568" cy="303326"/>
            </a:xfrm>
            <a:prstGeom prst="rect">
              <a:avLst/>
            </a:prstGeom>
          </p:spPr>
          <p:txBody>
            <a:bodyPr wrap="square" lIns="0" tIns="0" rIns="0" bIns="0">
              <a:noAutofit/>
            </a:bodyPr>
            <a:lstStyle/>
            <a:p>
              <a:r>
                <a:rPr lang="en-US" sz="1800">
                  <a:latin typeface="Segoe UI Semibold" panose="020B0702040204020203" pitchFamily="34" charset="0"/>
                  <a:cs typeface="Segoe UI Semibold" panose="020B0702040204020203" pitchFamily="34" charset="0"/>
                </a:rPr>
                <a:t>Don’t</a:t>
              </a:r>
            </a:p>
          </p:txBody>
        </p:sp>
        <p:sp>
          <p:nvSpPr>
            <p:cNvPr id="25" name="Freeform 79">
              <a:extLst>
                <a:ext uri="{FF2B5EF4-FFF2-40B4-BE49-F238E27FC236}">
                  <a16:creationId xmlns:a16="http://schemas.microsoft.com/office/drawing/2014/main" id="{0994CBB6-4C9A-4DBD-A055-90F0D4997363}"/>
                </a:ext>
              </a:extLst>
            </p:cNvPr>
            <p:cNvSpPr/>
            <p:nvPr/>
          </p:nvSpPr>
          <p:spPr>
            <a:xfrm>
              <a:off x="6366534" y="1781655"/>
              <a:ext cx="308898" cy="308898"/>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cxnSp>
          <p:nvCxnSpPr>
            <p:cNvPr id="4" name="Straight Connector 3">
              <a:extLst>
                <a:ext uri="{FF2B5EF4-FFF2-40B4-BE49-F238E27FC236}">
                  <a16:creationId xmlns:a16="http://schemas.microsoft.com/office/drawing/2014/main" id="{DD16EEF2-F515-46B7-9EC8-4F49B97636DF}"/>
                </a:ext>
              </a:extLst>
            </p:cNvPr>
            <p:cNvCxnSpPr/>
            <p:nvPr/>
          </p:nvCxnSpPr>
          <p:spPr>
            <a:xfrm>
              <a:off x="6366534" y="2138626"/>
              <a:ext cx="107515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04C5561-E813-4EEB-A6EC-2101B4E8FF0F}"/>
                </a:ext>
              </a:extLst>
            </p:cNvPr>
            <p:cNvCxnSpPr>
              <a:cxnSpLocks/>
            </p:cNvCxnSpPr>
            <p:nvPr/>
          </p:nvCxnSpPr>
          <p:spPr>
            <a:xfrm>
              <a:off x="6366534" y="2138626"/>
              <a:ext cx="308898"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67">
              <a:extLst>
                <a:ext uri="{FF2B5EF4-FFF2-40B4-BE49-F238E27FC236}">
                  <a16:creationId xmlns:a16="http://schemas.microsoft.com/office/drawing/2014/main" id="{386D5E34-C81A-4BAC-8C65-D0F991B15F29}"/>
                </a:ext>
              </a:extLst>
            </p:cNvPr>
            <p:cNvSpPr/>
            <p:nvPr/>
          </p:nvSpPr>
          <p:spPr>
            <a:xfrm>
              <a:off x="6827023" y="4044112"/>
              <a:ext cx="308898" cy="303326"/>
            </a:xfrm>
            <a:prstGeom prst="rect">
              <a:avLst/>
            </a:prstGeom>
          </p:spPr>
          <p:txBody>
            <a:bodyPr wrap="square" lIns="0" tIns="0" rIns="0" bIns="0">
              <a:noAutofit/>
            </a:bodyPr>
            <a:lstStyle/>
            <a:p>
              <a:r>
                <a:rPr lang="en-US" sz="1800">
                  <a:latin typeface="Segoe UI Semibold" panose="020B0702040204020203" pitchFamily="34" charset="0"/>
                  <a:cs typeface="Segoe UI Semibold" panose="020B0702040204020203" pitchFamily="34" charset="0"/>
                </a:rPr>
                <a:t>Do</a:t>
              </a:r>
            </a:p>
          </p:txBody>
        </p:sp>
        <p:grpSp>
          <p:nvGrpSpPr>
            <p:cNvPr id="27" name="Group 75">
              <a:extLst>
                <a:ext uri="{FF2B5EF4-FFF2-40B4-BE49-F238E27FC236}">
                  <a16:creationId xmlns:a16="http://schemas.microsoft.com/office/drawing/2014/main" id="{AE113CD9-8A28-4002-B44D-A10B5710D47C}"/>
                </a:ext>
              </a:extLst>
            </p:cNvPr>
            <p:cNvGrpSpPr/>
            <p:nvPr/>
          </p:nvGrpSpPr>
          <p:grpSpPr>
            <a:xfrm>
              <a:off x="6355551" y="3849410"/>
              <a:ext cx="319881" cy="442188"/>
              <a:chOff x="5934075" y="3205163"/>
              <a:chExt cx="323850" cy="447675"/>
            </a:xfrm>
            <a:solidFill>
              <a:schemeClr val="accent5"/>
            </a:solidFill>
          </p:grpSpPr>
          <p:sp>
            <p:nvSpPr>
              <p:cNvPr id="28" name="Freeform: Shape 27">
                <a:extLst>
                  <a:ext uri="{FF2B5EF4-FFF2-40B4-BE49-F238E27FC236}">
                    <a16:creationId xmlns:a16="http://schemas.microsoft.com/office/drawing/2014/main" id="{1B7D28A7-1464-415B-9164-A01D6E6DB785}"/>
                  </a:ext>
                </a:extLst>
              </p:cNvPr>
              <p:cNvSpPr/>
              <p:nvPr/>
            </p:nvSpPr>
            <p:spPr>
              <a:xfrm>
                <a:off x="6010275" y="3205163"/>
                <a:ext cx="171450" cy="123825"/>
              </a:xfrm>
              <a:custGeom>
                <a:avLst/>
                <a:gdLst>
                  <a:gd name="connsiteX0" fmla="*/ 171450 w 171450"/>
                  <a:gd name="connsiteY0" fmla="*/ 123825 h 123825"/>
                  <a:gd name="connsiteX1" fmla="*/ 0 w 171450"/>
                  <a:gd name="connsiteY1" fmla="*/ 123825 h 123825"/>
                  <a:gd name="connsiteX2" fmla="*/ 0 w 171450"/>
                  <a:gd name="connsiteY2" fmla="*/ 28575 h 123825"/>
                  <a:gd name="connsiteX3" fmla="*/ 48578 w 171450"/>
                  <a:gd name="connsiteY3" fmla="*/ 28575 h 123825"/>
                  <a:gd name="connsiteX4" fmla="*/ 85725 w 171450"/>
                  <a:gd name="connsiteY4" fmla="*/ 0 h 123825"/>
                  <a:gd name="connsiteX5" fmla="*/ 122873 w 171450"/>
                  <a:gd name="connsiteY5" fmla="*/ 28575 h 123825"/>
                  <a:gd name="connsiteX6" fmla="*/ 171450 w 171450"/>
                  <a:gd name="connsiteY6" fmla="*/ 28575 h 123825"/>
                  <a:gd name="connsiteX7" fmla="*/ 171450 w 171450"/>
                  <a:gd name="connsiteY7" fmla="*/ 123825 h 123825"/>
                  <a:gd name="connsiteX8" fmla="*/ 19050 w 171450"/>
                  <a:gd name="connsiteY8" fmla="*/ 104775 h 123825"/>
                  <a:gd name="connsiteX9" fmla="*/ 152400 w 171450"/>
                  <a:gd name="connsiteY9" fmla="*/ 104775 h 123825"/>
                  <a:gd name="connsiteX10" fmla="*/ 152400 w 171450"/>
                  <a:gd name="connsiteY10" fmla="*/ 47625 h 123825"/>
                  <a:gd name="connsiteX11" fmla="*/ 104775 w 171450"/>
                  <a:gd name="connsiteY11" fmla="*/ 47625 h 123825"/>
                  <a:gd name="connsiteX12" fmla="*/ 104775 w 171450"/>
                  <a:gd name="connsiteY12" fmla="*/ 38100 h 123825"/>
                  <a:gd name="connsiteX13" fmla="*/ 85725 w 171450"/>
                  <a:gd name="connsiteY13" fmla="*/ 19050 h 123825"/>
                  <a:gd name="connsiteX14" fmla="*/ 66675 w 171450"/>
                  <a:gd name="connsiteY14" fmla="*/ 38100 h 123825"/>
                  <a:gd name="connsiteX15" fmla="*/ 66675 w 171450"/>
                  <a:gd name="connsiteY15" fmla="*/ 47625 h 123825"/>
                  <a:gd name="connsiteX16" fmla="*/ 19050 w 171450"/>
                  <a:gd name="connsiteY16" fmla="*/ 47625 h 123825"/>
                  <a:gd name="connsiteX17" fmla="*/ 19050 w 171450"/>
                  <a:gd name="connsiteY17" fmla="*/ 10477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23825">
                    <a:moveTo>
                      <a:pt x="171450" y="123825"/>
                    </a:moveTo>
                    <a:lnTo>
                      <a:pt x="0" y="123825"/>
                    </a:lnTo>
                    <a:lnTo>
                      <a:pt x="0" y="28575"/>
                    </a:lnTo>
                    <a:lnTo>
                      <a:pt x="48578" y="28575"/>
                    </a:lnTo>
                    <a:cubicBezTo>
                      <a:pt x="52388" y="12383"/>
                      <a:pt x="67628" y="0"/>
                      <a:pt x="85725" y="0"/>
                    </a:cubicBezTo>
                    <a:cubicBezTo>
                      <a:pt x="103823" y="0"/>
                      <a:pt x="118110" y="12383"/>
                      <a:pt x="122873" y="28575"/>
                    </a:cubicBezTo>
                    <a:lnTo>
                      <a:pt x="171450" y="28575"/>
                    </a:lnTo>
                    <a:lnTo>
                      <a:pt x="171450" y="123825"/>
                    </a:lnTo>
                    <a:close/>
                    <a:moveTo>
                      <a:pt x="19050" y="104775"/>
                    </a:moveTo>
                    <a:lnTo>
                      <a:pt x="152400" y="104775"/>
                    </a:lnTo>
                    <a:lnTo>
                      <a:pt x="152400" y="47625"/>
                    </a:lnTo>
                    <a:lnTo>
                      <a:pt x="104775" y="47625"/>
                    </a:lnTo>
                    <a:lnTo>
                      <a:pt x="104775" y="38100"/>
                    </a:lnTo>
                    <a:cubicBezTo>
                      <a:pt x="104775" y="27623"/>
                      <a:pt x="96203" y="19050"/>
                      <a:pt x="85725" y="19050"/>
                    </a:cubicBezTo>
                    <a:cubicBezTo>
                      <a:pt x="75248" y="19050"/>
                      <a:pt x="66675" y="27623"/>
                      <a:pt x="66675" y="38100"/>
                    </a:cubicBezTo>
                    <a:lnTo>
                      <a:pt x="66675" y="47625"/>
                    </a:lnTo>
                    <a:lnTo>
                      <a:pt x="19050" y="47625"/>
                    </a:lnTo>
                    <a:lnTo>
                      <a:pt x="19050" y="104775"/>
                    </a:lnTo>
                    <a:close/>
                  </a:path>
                </a:pathLst>
              </a:custGeom>
              <a:grpFill/>
              <a:ln w="9525" cap="flat">
                <a:no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FB53BB4C-42E1-4B9B-8D43-96ED3C9FE39A}"/>
                  </a:ext>
                </a:extLst>
              </p:cNvPr>
              <p:cNvSpPr/>
              <p:nvPr/>
            </p:nvSpPr>
            <p:spPr>
              <a:xfrm>
                <a:off x="5934075" y="3271838"/>
                <a:ext cx="323850" cy="381000"/>
              </a:xfrm>
              <a:custGeom>
                <a:avLst/>
                <a:gdLst>
                  <a:gd name="connsiteX0" fmla="*/ 323850 w 323850"/>
                  <a:gd name="connsiteY0" fmla="*/ 381000 h 381000"/>
                  <a:gd name="connsiteX1" fmla="*/ 0 w 323850"/>
                  <a:gd name="connsiteY1" fmla="*/ 381000 h 381000"/>
                  <a:gd name="connsiteX2" fmla="*/ 0 w 323850"/>
                  <a:gd name="connsiteY2" fmla="*/ 0 h 381000"/>
                  <a:gd name="connsiteX3" fmla="*/ 95250 w 323850"/>
                  <a:gd name="connsiteY3" fmla="*/ 0 h 381000"/>
                  <a:gd name="connsiteX4" fmla="*/ 95250 w 323850"/>
                  <a:gd name="connsiteY4" fmla="*/ 38100 h 381000"/>
                  <a:gd name="connsiteX5" fmla="*/ 228600 w 323850"/>
                  <a:gd name="connsiteY5" fmla="*/ 38100 h 381000"/>
                  <a:gd name="connsiteX6" fmla="*/ 228600 w 323850"/>
                  <a:gd name="connsiteY6" fmla="*/ 0 h 381000"/>
                  <a:gd name="connsiteX7" fmla="*/ 323850 w 323850"/>
                  <a:gd name="connsiteY7" fmla="*/ 0 h 381000"/>
                  <a:gd name="connsiteX8" fmla="*/ 323850 w 323850"/>
                  <a:gd name="connsiteY8" fmla="*/ 381000 h 381000"/>
                  <a:gd name="connsiteX9" fmla="*/ 19050 w 323850"/>
                  <a:gd name="connsiteY9" fmla="*/ 361950 h 381000"/>
                  <a:gd name="connsiteX10" fmla="*/ 304800 w 323850"/>
                  <a:gd name="connsiteY10" fmla="*/ 361950 h 381000"/>
                  <a:gd name="connsiteX11" fmla="*/ 304800 w 323850"/>
                  <a:gd name="connsiteY11" fmla="*/ 19050 h 381000"/>
                  <a:gd name="connsiteX12" fmla="*/ 247650 w 323850"/>
                  <a:gd name="connsiteY12" fmla="*/ 19050 h 381000"/>
                  <a:gd name="connsiteX13" fmla="*/ 247650 w 323850"/>
                  <a:gd name="connsiteY13" fmla="*/ 57150 h 381000"/>
                  <a:gd name="connsiteX14" fmla="*/ 76200 w 323850"/>
                  <a:gd name="connsiteY14" fmla="*/ 57150 h 381000"/>
                  <a:gd name="connsiteX15" fmla="*/ 76200 w 323850"/>
                  <a:gd name="connsiteY15" fmla="*/ 19050 h 381000"/>
                  <a:gd name="connsiteX16" fmla="*/ 19050 w 323850"/>
                  <a:gd name="connsiteY16" fmla="*/ 19050 h 381000"/>
                  <a:gd name="connsiteX17" fmla="*/ 19050 w 323850"/>
                  <a:gd name="connsiteY17" fmla="*/ 36195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3850" h="381000">
                    <a:moveTo>
                      <a:pt x="323850" y="381000"/>
                    </a:moveTo>
                    <a:lnTo>
                      <a:pt x="0" y="381000"/>
                    </a:lnTo>
                    <a:lnTo>
                      <a:pt x="0" y="0"/>
                    </a:lnTo>
                    <a:lnTo>
                      <a:pt x="95250" y="0"/>
                    </a:lnTo>
                    <a:lnTo>
                      <a:pt x="95250" y="38100"/>
                    </a:lnTo>
                    <a:lnTo>
                      <a:pt x="228600" y="38100"/>
                    </a:lnTo>
                    <a:lnTo>
                      <a:pt x="228600" y="0"/>
                    </a:lnTo>
                    <a:lnTo>
                      <a:pt x="323850" y="0"/>
                    </a:lnTo>
                    <a:lnTo>
                      <a:pt x="323850" y="381000"/>
                    </a:lnTo>
                    <a:close/>
                    <a:moveTo>
                      <a:pt x="19050" y="361950"/>
                    </a:moveTo>
                    <a:lnTo>
                      <a:pt x="304800" y="361950"/>
                    </a:lnTo>
                    <a:lnTo>
                      <a:pt x="304800" y="19050"/>
                    </a:lnTo>
                    <a:lnTo>
                      <a:pt x="247650" y="19050"/>
                    </a:lnTo>
                    <a:lnTo>
                      <a:pt x="247650" y="57150"/>
                    </a:lnTo>
                    <a:lnTo>
                      <a:pt x="76200" y="57150"/>
                    </a:lnTo>
                    <a:lnTo>
                      <a:pt x="76200" y="19050"/>
                    </a:lnTo>
                    <a:lnTo>
                      <a:pt x="19050" y="19050"/>
                    </a:lnTo>
                    <a:lnTo>
                      <a:pt x="19050" y="361950"/>
                    </a:lnTo>
                    <a:close/>
                  </a:path>
                </a:pathLst>
              </a:custGeom>
              <a:grp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938D8B2D-E59F-4BB6-B242-93DC2156A08F}"/>
                  </a:ext>
                </a:extLst>
              </p:cNvPr>
              <p:cNvSpPr/>
              <p:nvPr/>
            </p:nvSpPr>
            <p:spPr>
              <a:xfrm>
                <a:off x="6012180" y="3398520"/>
                <a:ext cx="161925" cy="133350"/>
              </a:xfrm>
              <a:custGeom>
                <a:avLst/>
                <a:gdLst>
                  <a:gd name="connsiteX0" fmla="*/ 46673 w 161925"/>
                  <a:gd name="connsiteY0" fmla="*/ 134303 h 133350"/>
                  <a:gd name="connsiteX1" fmla="*/ 0 w 161925"/>
                  <a:gd name="connsiteY1" fmla="*/ 87630 h 133350"/>
                  <a:gd name="connsiteX2" fmla="*/ 13335 w 161925"/>
                  <a:gd name="connsiteY2" fmla="*/ 74295 h 133350"/>
                  <a:gd name="connsiteX3" fmla="*/ 46673 w 161925"/>
                  <a:gd name="connsiteY3" fmla="*/ 107632 h 133350"/>
                  <a:gd name="connsiteX4" fmla="*/ 154305 w 161925"/>
                  <a:gd name="connsiteY4" fmla="*/ 0 h 133350"/>
                  <a:gd name="connsiteX5" fmla="*/ 167640 w 161925"/>
                  <a:gd name="connsiteY5" fmla="*/ 1333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133350">
                    <a:moveTo>
                      <a:pt x="46673" y="134303"/>
                    </a:moveTo>
                    <a:lnTo>
                      <a:pt x="0" y="87630"/>
                    </a:lnTo>
                    <a:lnTo>
                      <a:pt x="13335" y="74295"/>
                    </a:lnTo>
                    <a:lnTo>
                      <a:pt x="46673" y="107632"/>
                    </a:lnTo>
                    <a:lnTo>
                      <a:pt x="154305" y="0"/>
                    </a:lnTo>
                    <a:lnTo>
                      <a:pt x="167640" y="13335"/>
                    </a:lnTo>
                    <a:close/>
                  </a:path>
                </a:pathLst>
              </a:custGeom>
              <a:grpFill/>
              <a:ln w="9525" cap="flat">
                <a:noFill/>
                <a:prstDash val="solid"/>
                <a:miter/>
              </a:ln>
            </p:spPr>
            <p:txBody>
              <a:bodyPr rtlCol="0" anchor="ctr"/>
              <a:lstStyle/>
              <a:p>
                <a:endParaRPr lang="en-IN"/>
              </a:p>
            </p:txBody>
          </p:sp>
        </p:grpSp>
        <p:cxnSp>
          <p:nvCxnSpPr>
            <p:cNvPr id="35" name="Straight Connector 34">
              <a:extLst>
                <a:ext uri="{FF2B5EF4-FFF2-40B4-BE49-F238E27FC236}">
                  <a16:creationId xmlns:a16="http://schemas.microsoft.com/office/drawing/2014/main" id="{57B9D96B-BD9E-4250-9C88-EBB05D5803B7}"/>
                </a:ext>
              </a:extLst>
            </p:cNvPr>
            <p:cNvCxnSpPr/>
            <p:nvPr/>
          </p:nvCxnSpPr>
          <p:spPr>
            <a:xfrm>
              <a:off x="6366534" y="4347438"/>
              <a:ext cx="107515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253B3B8-A1AE-4D1E-892C-289973EB8BFE}"/>
                </a:ext>
              </a:extLst>
            </p:cNvPr>
            <p:cNvCxnSpPr>
              <a:cxnSpLocks/>
            </p:cNvCxnSpPr>
            <p:nvPr/>
          </p:nvCxnSpPr>
          <p:spPr>
            <a:xfrm>
              <a:off x="6366534" y="4347438"/>
              <a:ext cx="308898"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13ED5B2-0526-462B-A266-B42267302C59}"/>
                </a:ext>
              </a:extLst>
            </p:cNvPr>
            <p:cNvSpPr/>
            <p:nvPr/>
          </p:nvSpPr>
          <p:spPr bwMode="auto">
            <a:xfrm>
              <a:off x="7756067" y="5185064"/>
              <a:ext cx="1579418" cy="274320"/>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3C3C41"/>
                  </a:solidFill>
                  <a:latin typeface="Segoe UI" panose="020B0502040204020203" pitchFamily="34" charset="0"/>
                  <a:cs typeface="Segoe UI" panose="020B0502040204020203" pitchFamily="34" charset="0"/>
                </a:rPr>
                <a:t>Charges</a:t>
              </a:r>
              <a:endParaRPr lang="en-IN" sz="1050" err="1">
                <a:solidFill>
                  <a:srgbClr val="3C3C41"/>
                </a:solidFill>
                <a:latin typeface="Segoe UI" panose="020B0502040204020203" pitchFamily="34" charset="0"/>
                <a:cs typeface="Segoe UI" panose="020B0502040204020203" pitchFamily="34" charset="0"/>
              </a:endParaRPr>
            </a:p>
          </p:txBody>
        </p:sp>
        <p:sp>
          <p:nvSpPr>
            <p:cNvPr id="39" name="Rectangle: Rounded Corners 38">
              <a:extLst>
                <a:ext uri="{FF2B5EF4-FFF2-40B4-BE49-F238E27FC236}">
                  <a16:creationId xmlns:a16="http://schemas.microsoft.com/office/drawing/2014/main" id="{320989A3-E137-48C5-9C02-75799149865A}"/>
                </a:ext>
              </a:extLst>
            </p:cNvPr>
            <p:cNvSpPr/>
            <p:nvPr/>
          </p:nvSpPr>
          <p:spPr bwMode="auto">
            <a:xfrm>
              <a:off x="7756067" y="5550923"/>
              <a:ext cx="1579418" cy="274320"/>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3C3C41"/>
                  </a:solidFill>
                  <a:latin typeface="Segoe UI" panose="020B0502040204020203" pitchFamily="34" charset="0"/>
                  <a:cs typeface="Segoe UI" panose="020B0502040204020203" pitchFamily="34" charset="0"/>
                </a:rPr>
                <a:t>Account Settings</a:t>
              </a:r>
              <a:endParaRPr lang="en-IN" sz="1050">
                <a:solidFill>
                  <a:srgbClr val="3C3C41"/>
                </a:solidFill>
                <a:latin typeface="Segoe UI" panose="020B0502040204020203" pitchFamily="34" charset="0"/>
                <a:cs typeface="Segoe UI" panose="020B0502040204020203" pitchFamily="34" charset="0"/>
              </a:endParaRPr>
            </a:p>
          </p:txBody>
        </p:sp>
        <p:sp>
          <p:nvSpPr>
            <p:cNvPr id="40" name="Rectangle: Rounded Corners 39">
              <a:extLst>
                <a:ext uri="{FF2B5EF4-FFF2-40B4-BE49-F238E27FC236}">
                  <a16:creationId xmlns:a16="http://schemas.microsoft.com/office/drawing/2014/main" id="{9A02F5C8-5893-4882-B5A5-8A4B2E38A4E2}"/>
                </a:ext>
              </a:extLst>
            </p:cNvPr>
            <p:cNvSpPr/>
            <p:nvPr/>
          </p:nvSpPr>
          <p:spPr bwMode="auto">
            <a:xfrm>
              <a:off x="7756067" y="5916781"/>
              <a:ext cx="1579418" cy="274320"/>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3C3C41"/>
                  </a:solidFill>
                  <a:latin typeface="Segoe UI" panose="020B0502040204020203" pitchFamily="34" charset="0"/>
                  <a:cs typeface="Segoe UI" panose="020B0502040204020203" pitchFamily="34" charset="0"/>
                </a:rPr>
                <a:t>Payment</a:t>
              </a:r>
              <a:endParaRPr lang="en-IN" sz="1050">
                <a:solidFill>
                  <a:srgbClr val="3C3C41"/>
                </a:solidFill>
                <a:latin typeface="Segoe UI" panose="020B0502040204020203" pitchFamily="34" charset="0"/>
                <a:cs typeface="Segoe UI" panose="020B0502040204020203" pitchFamily="34" charset="0"/>
              </a:endParaRPr>
            </a:p>
          </p:txBody>
        </p:sp>
        <p:grpSp>
          <p:nvGrpSpPr>
            <p:cNvPr id="66" name="Group 115">
              <a:extLst>
                <a:ext uri="{FF2B5EF4-FFF2-40B4-BE49-F238E27FC236}">
                  <a16:creationId xmlns:a16="http://schemas.microsoft.com/office/drawing/2014/main" id="{E3F2B5E4-C9E7-4410-BDB7-69D0979D940B}"/>
                </a:ext>
              </a:extLst>
            </p:cNvPr>
            <p:cNvGrpSpPr/>
            <p:nvPr/>
          </p:nvGrpSpPr>
          <p:grpSpPr>
            <a:xfrm>
              <a:off x="6805335" y="2608184"/>
              <a:ext cx="3461850" cy="485349"/>
              <a:chOff x="7156454" y="1900890"/>
              <a:chExt cx="3461850" cy="485349"/>
            </a:xfrm>
          </p:grpSpPr>
          <p:sp>
            <p:nvSpPr>
              <p:cNvPr id="67" name="Rectangle: Rounded Corners 66">
                <a:extLst>
                  <a:ext uri="{FF2B5EF4-FFF2-40B4-BE49-F238E27FC236}">
                    <a16:creationId xmlns:a16="http://schemas.microsoft.com/office/drawing/2014/main" id="{0B437122-86CE-4B4F-8808-34B1B0494239}"/>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Oh! The first step is understanding how your service is billed.</a:t>
                </a:r>
              </a:p>
            </p:txBody>
          </p:sp>
          <p:sp>
            <p:nvSpPr>
              <p:cNvPr id="68" name="Isosceles Triangle 67">
                <a:extLst>
                  <a:ext uri="{FF2B5EF4-FFF2-40B4-BE49-F238E27FC236}">
                    <a16:creationId xmlns:a16="http://schemas.microsoft.com/office/drawing/2014/main" id="{165DDDEE-8F59-433E-8C21-32CBC82D091E}"/>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84">
              <a:extLst>
                <a:ext uri="{FF2B5EF4-FFF2-40B4-BE49-F238E27FC236}">
                  <a16:creationId xmlns:a16="http://schemas.microsoft.com/office/drawing/2014/main" id="{D6B5E86C-F958-4B65-8E9C-06253C5ABB7F}"/>
                </a:ext>
              </a:extLst>
            </p:cNvPr>
            <p:cNvGrpSpPr/>
            <p:nvPr/>
          </p:nvGrpSpPr>
          <p:grpSpPr>
            <a:xfrm>
              <a:off x="6354763" y="2580131"/>
              <a:ext cx="344143" cy="344143"/>
              <a:chOff x="12510166" y="1289683"/>
              <a:chExt cx="685799" cy="685799"/>
            </a:xfrm>
          </p:grpSpPr>
          <p:sp>
            <p:nvSpPr>
              <p:cNvPr id="70" name="Oval 42">
                <a:extLst>
                  <a:ext uri="{FF2B5EF4-FFF2-40B4-BE49-F238E27FC236}">
                    <a16:creationId xmlns:a16="http://schemas.microsoft.com/office/drawing/2014/main" id="{4926D066-BE7C-44D6-80BD-35B1AF570E34}"/>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61">
                <a:extLst>
                  <a:ext uri="{FF2B5EF4-FFF2-40B4-BE49-F238E27FC236}">
                    <a16:creationId xmlns:a16="http://schemas.microsoft.com/office/drawing/2014/main" id="{C6D739A8-E5DC-461B-A0B9-CFF6393E7D63}"/>
                  </a:ext>
                </a:extLst>
              </p:cNvPr>
              <p:cNvGrpSpPr/>
              <p:nvPr/>
            </p:nvGrpSpPr>
            <p:grpSpPr>
              <a:xfrm>
                <a:off x="12688064" y="1458670"/>
                <a:ext cx="330003" cy="347825"/>
                <a:chOff x="5084670" y="6673208"/>
                <a:chExt cx="2733675" cy="2881313"/>
              </a:xfrm>
            </p:grpSpPr>
            <p:sp>
              <p:nvSpPr>
                <p:cNvPr id="72" name="Freeform: Shape 71">
                  <a:extLst>
                    <a:ext uri="{FF2B5EF4-FFF2-40B4-BE49-F238E27FC236}">
                      <a16:creationId xmlns:a16="http://schemas.microsoft.com/office/drawing/2014/main" id="{88511D7A-1927-456A-83E4-BD0659F98D9C}"/>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3" name="Freeform: Shape 72">
                  <a:extLst>
                    <a:ext uri="{FF2B5EF4-FFF2-40B4-BE49-F238E27FC236}">
                      <a16:creationId xmlns:a16="http://schemas.microsoft.com/office/drawing/2014/main" id="{D01F86D5-290F-44D7-B1E9-A79D7F5079A0}"/>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74" name="Picture 183">
              <a:extLst>
                <a:ext uri="{FF2B5EF4-FFF2-40B4-BE49-F238E27FC236}">
                  <a16:creationId xmlns:a16="http://schemas.microsoft.com/office/drawing/2014/main" id="{956EEBC9-6FAA-445B-97D6-4E00BF9189B0}"/>
                </a:ext>
              </a:extLst>
            </p:cNvPr>
            <p:cNvPicPr>
              <a:picLocks noChangeAspect="1"/>
            </p:cNvPicPr>
            <p:nvPr/>
          </p:nvPicPr>
          <p:blipFill>
            <a:blip r:embed="rId3"/>
            <a:srcRect b="258"/>
            <a:stretch>
              <a:fillRect/>
            </a:stretch>
          </p:blipFill>
          <p:spPr>
            <a:xfrm>
              <a:off x="10671870" y="2180552"/>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75" name="Group 113">
              <a:extLst>
                <a:ext uri="{FF2B5EF4-FFF2-40B4-BE49-F238E27FC236}">
                  <a16:creationId xmlns:a16="http://schemas.microsoft.com/office/drawing/2014/main" id="{6E6AA915-48A8-41D5-8F0F-5F488525C76E}"/>
                </a:ext>
              </a:extLst>
            </p:cNvPr>
            <p:cNvGrpSpPr/>
            <p:nvPr/>
          </p:nvGrpSpPr>
          <p:grpSpPr>
            <a:xfrm>
              <a:off x="8499765" y="2220931"/>
              <a:ext cx="2128587" cy="291071"/>
              <a:chOff x="8867049" y="3961429"/>
              <a:chExt cx="2128587" cy="291071"/>
            </a:xfrm>
          </p:grpSpPr>
          <p:sp>
            <p:nvSpPr>
              <p:cNvPr id="76" name="Rectangle: Rounded Corners 75">
                <a:extLst>
                  <a:ext uri="{FF2B5EF4-FFF2-40B4-BE49-F238E27FC236}">
                    <a16:creationId xmlns:a16="http://schemas.microsoft.com/office/drawing/2014/main" id="{74372303-153E-451F-BE00-9E5FDAD5A4F8}"/>
                  </a:ext>
                </a:extLst>
              </p:cNvPr>
              <p:cNvSpPr/>
              <p:nvPr/>
            </p:nvSpPr>
            <p:spPr bwMode="auto">
              <a:xfrm>
                <a:off x="8867049" y="3961429"/>
                <a:ext cx="1942608"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latin typeface="Segoe UI" panose="020B0502040204020203" pitchFamily="34" charset="0"/>
                    <a:ea typeface="Segoe UI" panose="020B0502040204020203" pitchFamily="34" charset="0"/>
                    <a:cs typeface="Segoe UI" panose="020B0502040204020203" pitchFamily="34" charset="0"/>
                  </a:rPr>
                  <a:t>Hi, I need help with my bill.</a:t>
                </a:r>
              </a:p>
            </p:txBody>
          </p:sp>
          <p:sp>
            <p:nvSpPr>
              <p:cNvPr id="77" name="Isosceles Triangle 76">
                <a:extLst>
                  <a:ext uri="{FF2B5EF4-FFF2-40B4-BE49-F238E27FC236}">
                    <a16:creationId xmlns:a16="http://schemas.microsoft.com/office/drawing/2014/main" id="{3A472F90-DA36-484A-8DDE-C290F6AE789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78" name="Group 115">
              <a:extLst>
                <a:ext uri="{FF2B5EF4-FFF2-40B4-BE49-F238E27FC236}">
                  <a16:creationId xmlns:a16="http://schemas.microsoft.com/office/drawing/2014/main" id="{2D4010C0-0A00-42ED-8273-2A3F7F7E7C04}"/>
                </a:ext>
              </a:extLst>
            </p:cNvPr>
            <p:cNvGrpSpPr/>
            <p:nvPr/>
          </p:nvGrpSpPr>
          <p:grpSpPr>
            <a:xfrm>
              <a:off x="6805335" y="3263008"/>
              <a:ext cx="3461850" cy="344144"/>
              <a:chOff x="7156454" y="1900891"/>
              <a:chExt cx="3461850" cy="344144"/>
            </a:xfrm>
          </p:grpSpPr>
          <p:sp>
            <p:nvSpPr>
              <p:cNvPr id="79" name="Rectangle: Rounded Corners 78">
                <a:extLst>
                  <a:ext uri="{FF2B5EF4-FFF2-40B4-BE49-F238E27FC236}">
                    <a16:creationId xmlns:a16="http://schemas.microsoft.com/office/drawing/2014/main" id="{0C3F826A-CAE0-43C0-B630-78154E1AB13A}"/>
                  </a:ext>
                </a:extLst>
              </p:cNvPr>
              <p:cNvSpPr/>
              <p:nvPr/>
            </p:nvSpPr>
            <p:spPr bwMode="auto">
              <a:xfrm>
                <a:off x="7369308" y="1900891"/>
                <a:ext cx="3248996" cy="34414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a:solidFill>
                      <a:srgbClr val="3C3C41"/>
                    </a:solidFill>
                    <a:latin typeface="Segoe UI" panose="020B0502040204020203" pitchFamily="34" charset="0"/>
                    <a:ea typeface="Segoe UI" panose="020B0502040204020203" pitchFamily="34" charset="0"/>
                    <a:cs typeface="Segoe UI" panose="020B0502040204020203" pitchFamily="34" charset="0"/>
                  </a:rPr>
                  <a:t>Bills can be complex!</a:t>
                </a:r>
              </a:p>
            </p:txBody>
          </p:sp>
          <p:sp>
            <p:nvSpPr>
              <p:cNvPr id="80" name="Isosceles Triangle 79">
                <a:extLst>
                  <a:ext uri="{FF2B5EF4-FFF2-40B4-BE49-F238E27FC236}">
                    <a16:creationId xmlns:a16="http://schemas.microsoft.com/office/drawing/2014/main" id="{7C6F09FB-C7A7-4B8E-AED5-8C5204887760}"/>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4">
              <a:extLst>
                <a:ext uri="{FF2B5EF4-FFF2-40B4-BE49-F238E27FC236}">
                  <a16:creationId xmlns:a16="http://schemas.microsoft.com/office/drawing/2014/main" id="{7F91DF8D-B3A7-4707-A53D-8C1228271DB9}"/>
                </a:ext>
              </a:extLst>
            </p:cNvPr>
            <p:cNvGrpSpPr/>
            <p:nvPr/>
          </p:nvGrpSpPr>
          <p:grpSpPr>
            <a:xfrm>
              <a:off x="6354763" y="3234954"/>
              <a:ext cx="344143" cy="344143"/>
              <a:chOff x="12510166" y="1289683"/>
              <a:chExt cx="685799" cy="685799"/>
            </a:xfrm>
          </p:grpSpPr>
          <p:sp>
            <p:nvSpPr>
              <p:cNvPr id="82" name="Oval 42">
                <a:extLst>
                  <a:ext uri="{FF2B5EF4-FFF2-40B4-BE49-F238E27FC236}">
                    <a16:creationId xmlns:a16="http://schemas.microsoft.com/office/drawing/2014/main" id="{8F8DC8CF-0C1C-4A29-B531-F9446FBE5178}"/>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61">
                <a:extLst>
                  <a:ext uri="{FF2B5EF4-FFF2-40B4-BE49-F238E27FC236}">
                    <a16:creationId xmlns:a16="http://schemas.microsoft.com/office/drawing/2014/main" id="{DF86E4BB-8A36-4897-A660-084D180F073E}"/>
                  </a:ext>
                </a:extLst>
              </p:cNvPr>
              <p:cNvGrpSpPr/>
              <p:nvPr/>
            </p:nvGrpSpPr>
            <p:grpSpPr>
              <a:xfrm>
                <a:off x="12688064" y="1458670"/>
                <a:ext cx="330003" cy="347825"/>
                <a:chOff x="5084670" y="6673208"/>
                <a:chExt cx="2733675" cy="2881313"/>
              </a:xfrm>
            </p:grpSpPr>
            <p:sp>
              <p:nvSpPr>
                <p:cNvPr id="84" name="Freeform: Shape 83">
                  <a:extLst>
                    <a:ext uri="{FF2B5EF4-FFF2-40B4-BE49-F238E27FC236}">
                      <a16:creationId xmlns:a16="http://schemas.microsoft.com/office/drawing/2014/main" id="{40994615-48B8-4F8D-A145-611F80AF677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5" name="Freeform: Shape 84">
                  <a:extLst>
                    <a:ext uri="{FF2B5EF4-FFF2-40B4-BE49-F238E27FC236}">
                      <a16:creationId xmlns:a16="http://schemas.microsoft.com/office/drawing/2014/main" id="{A04818A5-99AE-49B9-8A7C-FDD32092205A}"/>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86" name="Group 115">
              <a:extLst>
                <a:ext uri="{FF2B5EF4-FFF2-40B4-BE49-F238E27FC236}">
                  <a16:creationId xmlns:a16="http://schemas.microsoft.com/office/drawing/2014/main" id="{D1659AAF-CF4B-4F0D-8211-C78B19C15D7B}"/>
                </a:ext>
              </a:extLst>
            </p:cNvPr>
            <p:cNvGrpSpPr/>
            <p:nvPr/>
          </p:nvGrpSpPr>
          <p:grpSpPr>
            <a:xfrm>
              <a:off x="6805335" y="4479700"/>
              <a:ext cx="3461850" cy="556057"/>
              <a:chOff x="7156454" y="1900890"/>
              <a:chExt cx="3461850" cy="556057"/>
            </a:xfrm>
          </p:grpSpPr>
          <p:sp>
            <p:nvSpPr>
              <p:cNvPr id="87" name="Rectangle: Rounded Corners 86">
                <a:extLst>
                  <a:ext uri="{FF2B5EF4-FFF2-40B4-BE49-F238E27FC236}">
                    <a16:creationId xmlns:a16="http://schemas.microsoft.com/office/drawing/2014/main" id="{20F8FDF0-929B-4B1E-83E7-8406CC98FA34}"/>
                  </a:ext>
                </a:extLst>
              </p:cNvPr>
              <p:cNvSpPr/>
              <p:nvPr/>
            </p:nvSpPr>
            <p:spPr bwMode="auto">
              <a:xfrm>
                <a:off x="7369308" y="1900890"/>
                <a:ext cx="3248996" cy="55605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a:solidFill>
                      <a:srgbClr val="3C3C41"/>
                    </a:solidFill>
                    <a:latin typeface="Segoe UI" panose="020B0502040204020203" pitchFamily="34" charset="0"/>
                    <a:ea typeface="Segoe UI" panose="020B0502040204020203" pitchFamily="34" charset="0"/>
                    <a:cs typeface="Segoe UI" panose="020B0502040204020203" pitchFamily="34" charset="0"/>
                  </a:rPr>
                  <a:t>I understand you need help with your bill. Can you tell me in a few words what the issue is?</a:t>
                </a:r>
              </a:p>
            </p:txBody>
          </p:sp>
          <p:sp>
            <p:nvSpPr>
              <p:cNvPr id="88" name="Isosceles Triangle 87">
                <a:extLst>
                  <a:ext uri="{FF2B5EF4-FFF2-40B4-BE49-F238E27FC236}">
                    <a16:creationId xmlns:a16="http://schemas.microsoft.com/office/drawing/2014/main" id="{2BD0E555-FDC5-46C6-9649-02815C6071C6}"/>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4">
              <a:extLst>
                <a:ext uri="{FF2B5EF4-FFF2-40B4-BE49-F238E27FC236}">
                  <a16:creationId xmlns:a16="http://schemas.microsoft.com/office/drawing/2014/main" id="{59C9772E-5AD2-4D14-8B52-6CDC5D93A72C}"/>
                </a:ext>
              </a:extLst>
            </p:cNvPr>
            <p:cNvGrpSpPr/>
            <p:nvPr/>
          </p:nvGrpSpPr>
          <p:grpSpPr>
            <a:xfrm>
              <a:off x="6354763" y="4451647"/>
              <a:ext cx="344143" cy="344143"/>
              <a:chOff x="12510166" y="1289683"/>
              <a:chExt cx="685799" cy="685799"/>
            </a:xfrm>
          </p:grpSpPr>
          <p:sp>
            <p:nvSpPr>
              <p:cNvPr id="90" name="Oval 42">
                <a:extLst>
                  <a:ext uri="{FF2B5EF4-FFF2-40B4-BE49-F238E27FC236}">
                    <a16:creationId xmlns:a16="http://schemas.microsoft.com/office/drawing/2014/main" id="{B14D3E82-BB36-4F5F-A6CD-A447252896E9}"/>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1" name="Group 61">
                <a:extLst>
                  <a:ext uri="{FF2B5EF4-FFF2-40B4-BE49-F238E27FC236}">
                    <a16:creationId xmlns:a16="http://schemas.microsoft.com/office/drawing/2014/main" id="{6CB8B4CE-F54A-4CC4-A7B8-A6E1FB150A44}"/>
                  </a:ext>
                </a:extLst>
              </p:cNvPr>
              <p:cNvGrpSpPr/>
              <p:nvPr/>
            </p:nvGrpSpPr>
            <p:grpSpPr>
              <a:xfrm>
                <a:off x="12688064" y="1458670"/>
                <a:ext cx="330003" cy="347825"/>
                <a:chOff x="5084670" y="6673208"/>
                <a:chExt cx="2733675" cy="2881313"/>
              </a:xfrm>
            </p:grpSpPr>
            <p:sp>
              <p:nvSpPr>
                <p:cNvPr id="92" name="Freeform: Shape 91">
                  <a:extLst>
                    <a:ext uri="{FF2B5EF4-FFF2-40B4-BE49-F238E27FC236}">
                      <a16:creationId xmlns:a16="http://schemas.microsoft.com/office/drawing/2014/main" id="{8BEA7A27-1173-497D-8D3C-17A2E3664C1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3" name="Freeform: Shape 92">
                  <a:extLst>
                    <a:ext uri="{FF2B5EF4-FFF2-40B4-BE49-F238E27FC236}">
                      <a16:creationId xmlns:a16="http://schemas.microsoft.com/office/drawing/2014/main" id="{2C3E6443-8C01-4481-8C0C-695E78AA4081}"/>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14" name="Group 13">
            <a:extLst>
              <a:ext uri="{FF2B5EF4-FFF2-40B4-BE49-F238E27FC236}">
                <a16:creationId xmlns:a16="http://schemas.microsoft.com/office/drawing/2014/main" id="{A0148691-E0CB-4117-BFA8-5C14C399DFB5}"/>
              </a:ext>
            </a:extLst>
          </p:cNvPr>
          <p:cNvGrpSpPr/>
          <p:nvPr/>
        </p:nvGrpSpPr>
        <p:grpSpPr>
          <a:xfrm>
            <a:off x="6134100" y="1398616"/>
            <a:ext cx="5605272" cy="4837176"/>
            <a:chOff x="6134100" y="1398616"/>
            <a:chExt cx="5600700" cy="5053134"/>
          </a:xfrm>
        </p:grpSpPr>
        <p:sp>
          <p:nvSpPr>
            <p:cNvPr id="95" name="Rectangle 7">
              <a:extLst>
                <a:ext uri="{FF2B5EF4-FFF2-40B4-BE49-F238E27FC236}">
                  <a16:creationId xmlns:a16="http://schemas.microsoft.com/office/drawing/2014/main" id="{0C959E31-C147-4DF3-A83B-147570B8BBD6}"/>
                </a:ext>
              </a:extLst>
            </p:cNvPr>
            <p:cNvSpPr/>
            <p:nvPr/>
          </p:nvSpPr>
          <p:spPr bwMode="auto">
            <a:xfrm>
              <a:off x="6134100" y="1398616"/>
              <a:ext cx="5600700" cy="5053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36">
              <a:extLst>
                <a:ext uri="{FF2B5EF4-FFF2-40B4-BE49-F238E27FC236}">
                  <a16:creationId xmlns:a16="http://schemas.microsoft.com/office/drawing/2014/main" id="{BCC7E203-8874-4B38-B916-5E3AC8D6010C}"/>
                </a:ext>
              </a:extLst>
            </p:cNvPr>
            <p:cNvSpPr/>
            <p:nvPr/>
          </p:nvSpPr>
          <p:spPr bwMode="auto">
            <a:xfrm>
              <a:off x="11432729" y="6047191"/>
              <a:ext cx="302071" cy="4045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91440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914400" y="0"/>
                  </a:moveTo>
                  <a:lnTo>
                    <a:pt x="914400" y="914400"/>
                  </a:lnTo>
                  <a:lnTo>
                    <a:pt x="0" y="91440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37">
              <a:extLst>
                <a:ext uri="{FF2B5EF4-FFF2-40B4-BE49-F238E27FC236}">
                  <a16:creationId xmlns:a16="http://schemas.microsoft.com/office/drawing/2014/main" id="{E86DEFE7-E74C-4FFA-9336-24CC07268E6A}"/>
                </a:ext>
              </a:extLst>
            </p:cNvPr>
            <p:cNvSpPr/>
            <p:nvPr/>
          </p:nvSpPr>
          <p:spPr bwMode="auto">
            <a:xfrm>
              <a:off x="6134100" y="1398616"/>
              <a:ext cx="308898" cy="41472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11344443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a:t>Style: How to sound conversational</a:t>
            </a:r>
          </a:p>
        </p:txBody>
      </p:sp>
      <p:sp>
        <p:nvSpPr>
          <p:cNvPr id="23" name="Content Placeholder 2">
            <a:extLst>
              <a:ext uri="{FF2B5EF4-FFF2-40B4-BE49-F238E27FC236}">
                <a16:creationId xmlns:a16="http://schemas.microsoft.com/office/drawing/2014/main" id="{56C674FA-BDC8-4D1F-8BC6-03FEC5006345}"/>
              </a:ext>
            </a:extLst>
          </p:cNvPr>
          <p:cNvSpPr txBox="1">
            <a:spLocks/>
          </p:cNvSpPr>
          <p:nvPr/>
        </p:nvSpPr>
        <p:spPr>
          <a:xfrm>
            <a:off x="477670" y="1398616"/>
            <a:ext cx="5241453" cy="2519097"/>
          </a:xfrm>
          <a:prstGeom prst="rect">
            <a:avLst/>
          </a:prstGeom>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pPr>
            <a:r>
              <a:rPr lang="en-US" sz="2000" spc="0">
                <a:latin typeface="Segoe UI" panose="020B0502040204020203" pitchFamily="34" charset="0"/>
                <a:cs typeface="Segoe UI" panose="020B0502040204020203" pitchFamily="34" charset="0"/>
              </a:rPr>
              <a:t>Invite the user into the conversation on a regular basis by asking questions or making suggestions. </a:t>
            </a:r>
          </a:p>
          <a:p>
            <a:pPr>
              <a:spcBef>
                <a:spcPts val="1200"/>
              </a:spcBef>
            </a:pPr>
            <a:r>
              <a:rPr lang="en-US" sz="2000" spc="0">
                <a:latin typeface="Segoe UI" panose="020B0502040204020203" pitchFamily="34" charset="0"/>
                <a:cs typeface="Segoe UI" panose="020B0502040204020203" pitchFamily="34" charset="0"/>
              </a:rPr>
              <a:t>Respond to the customer in a timely manner. </a:t>
            </a:r>
          </a:p>
          <a:p>
            <a:pPr>
              <a:spcBef>
                <a:spcPts val="1200"/>
              </a:spcBef>
            </a:pPr>
            <a:r>
              <a:rPr lang="en-US" sz="2000" spc="0">
                <a:latin typeface="Segoe UI" panose="020B0502040204020203" pitchFamily="34" charset="0"/>
                <a:cs typeface="Segoe UI" panose="020B0502040204020203" pitchFamily="34" charset="0"/>
              </a:rPr>
              <a:t>If the Virtual Agent may take a while to process the customer’s request, let the customer know what to expect.  </a:t>
            </a:r>
          </a:p>
        </p:txBody>
      </p:sp>
      <p:grpSp>
        <p:nvGrpSpPr>
          <p:cNvPr id="3" name="Group 2">
            <a:extLst>
              <a:ext uri="{FF2B5EF4-FFF2-40B4-BE49-F238E27FC236}">
                <a16:creationId xmlns:a16="http://schemas.microsoft.com/office/drawing/2014/main" id="{70CA011F-CFF5-4908-A9E0-784EACE6288E}"/>
              </a:ext>
            </a:extLst>
          </p:cNvPr>
          <p:cNvGrpSpPr/>
          <p:nvPr/>
        </p:nvGrpSpPr>
        <p:grpSpPr>
          <a:xfrm>
            <a:off x="6382981" y="1770380"/>
            <a:ext cx="5102938" cy="3980454"/>
            <a:chOff x="6354763" y="1770380"/>
            <a:chExt cx="5102938" cy="3980454"/>
          </a:xfrm>
        </p:grpSpPr>
        <p:grpSp>
          <p:nvGrpSpPr>
            <p:cNvPr id="83" name="Group 115">
              <a:extLst>
                <a:ext uri="{FF2B5EF4-FFF2-40B4-BE49-F238E27FC236}">
                  <a16:creationId xmlns:a16="http://schemas.microsoft.com/office/drawing/2014/main" id="{DDA5A5AE-E37B-40C0-8679-631CFF1CDCA5}"/>
                </a:ext>
              </a:extLst>
            </p:cNvPr>
            <p:cNvGrpSpPr/>
            <p:nvPr/>
          </p:nvGrpSpPr>
          <p:grpSpPr>
            <a:xfrm>
              <a:off x="6805335" y="1798433"/>
              <a:ext cx="3461850" cy="485349"/>
              <a:chOff x="7156454" y="1900890"/>
              <a:chExt cx="3461850" cy="485349"/>
            </a:xfrm>
          </p:grpSpPr>
          <p:sp>
            <p:nvSpPr>
              <p:cNvPr id="84" name="Rectangle: Rounded Corners 83">
                <a:extLst>
                  <a:ext uri="{FF2B5EF4-FFF2-40B4-BE49-F238E27FC236}">
                    <a16:creationId xmlns:a16="http://schemas.microsoft.com/office/drawing/2014/main" id="{661B8E69-DD3B-47E5-8EA1-2BD2C74314AD}"/>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Hey Bryan, just checking to see if you still need help with your bill?</a:t>
                </a:r>
              </a:p>
            </p:txBody>
          </p:sp>
          <p:sp>
            <p:nvSpPr>
              <p:cNvPr id="85" name="Isosceles Triangle 84">
                <a:extLst>
                  <a:ext uri="{FF2B5EF4-FFF2-40B4-BE49-F238E27FC236}">
                    <a16:creationId xmlns:a16="http://schemas.microsoft.com/office/drawing/2014/main" id="{D24167CB-12F0-4DF3-94E4-AC0CAC3E807F}"/>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6" name="Group 84">
              <a:extLst>
                <a:ext uri="{FF2B5EF4-FFF2-40B4-BE49-F238E27FC236}">
                  <a16:creationId xmlns:a16="http://schemas.microsoft.com/office/drawing/2014/main" id="{BABBEDC6-2FF9-4AF1-96CB-15DF81199F0C}"/>
                </a:ext>
              </a:extLst>
            </p:cNvPr>
            <p:cNvGrpSpPr/>
            <p:nvPr/>
          </p:nvGrpSpPr>
          <p:grpSpPr>
            <a:xfrm>
              <a:off x="6354763" y="1770380"/>
              <a:ext cx="344143" cy="344143"/>
              <a:chOff x="12510166" y="1289683"/>
              <a:chExt cx="685799" cy="685799"/>
            </a:xfrm>
          </p:grpSpPr>
          <p:sp>
            <p:nvSpPr>
              <p:cNvPr id="87" name="Oval 42">
                <a:extLst>
                  <a:ext uri="{FF2B5EF4-FFF2-40B4-BE49-F238E27FC236}">
                    <a16:creationId xmlns:a16="http://schemas.microsoft.com/office/drawing/2014/main" id="{8A1B2887-F845-44DC-8D5C-358E2BE30C67}"/>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8" name="Group 61">
                <a:extLst>
                  <a:ext uri="{FF2B5EF4-FFF2-40B4-BE49-F238E27FC236}">
                    <a16:creationId xmlns:a16="http://schemas.microsoft.com/office/drawing/2014/main" id="{3C225AD4-17F4-464A-ACF4-D520542D8908}"/>
                  </a:ext>
                </a:extLst>
              </p:cNvPr>
              <p:cNvGrpSpPr/>
              <p:nvPr/>
            </p:nvGrpSpPr>
            <p:grpSpPr>
              <a:xfrm>
                <a:off x="12688064" y="1458670"/>
                <a:ext cx="330003" cy="347825"/>
                <a:chOff x="5084670" y="6673208"/>
                <a:chExt cx="2733675" cy="2881313"/>
              </a:xfrm>
            </p:grpSpPr>
            <p:sp>
              <p:nvSpPr>
                <p:cNvPr id="89" name="Freeform: Shape 88">
                  <a:extLst>
                    <a:ext uri="{FF2B5EF4-FFF2-40B4-BE49-F238E27FC236}">
                      <a16:creationId xmlns:a16="http://schemas.microsoft.com/office/drawing/2014/main" id="{B56F42C1-1ED4-48DB-B060-1066159956E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0" name="Freeform: Shape 89">
                  <a:extLst>
                    <a:ext uri="{FF2B5EF4-FFF2-40B4-BE49-F238E27FC236}">
                      <a16:creationId xmlns:a16="http://schemas.microsoft.com/office/drawing/2014/main" id="{6D7AF558-46D6-495D-9F14-40563105BDB2}"/>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pic>
          <p:nvPicPr>
            <p:cNvPr id="91" name="Picture 183">
              <a:extLst>
                <a:ext uri="{FF2B5EF4-FFF2-40B4-BE49-F238E27FC236}">
                  <a16:creationId xmlns:a16="http://schemas.microsoft.com/office/drawing/2014/main" id="{A426EE15-58D2-49F1-AD18-BEB0E31BC797}"/>
                </a:ext>
              </a:extLst>
            </p:cNvPr>
            <p:cNvPicPr>
              <a:picLocks noChangeAspect="1"/>
            </p:cNvPicPr>
            <p:nvPr/>
          </p:nvPicPr>
          <p:blipFill>
            <a:blip r:embed="rId3"/>
            <a:srcRect b="258"/>
            <a:stretch>
              <a:fillRect/>
            </a:stretch>
          </p:blipFill>
          <p:spPr>
            <a:xfrm>
              <a:off x="11076904" y="251499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92" name="Group 113">
              <a:extLst>
                <a:ext uri="{FF2B5EF4-FFF2-40B4-BE49-F238E27FC236}">
                  <a16:creationId xmlns:a16="http://schemas.microsoft.com/office/drawing/2014/main" id="{53EAA73C-2971-4F47-B2CA-DAF54C877036}"/>
                </a:ext>
              </a:extLst>
            </p:cNvPr>
            <p:cNvGrpSpPr/>
            <p:nvPr/>
          </p:nvGrpSpPr>
          <p:grpSpPr>
            <a:xfrm>
              <a:off x="10037763" y="2555375"/>
              <a:ext cx="995623" cy="291071"/>
              <a:chOff x="10000013" y="3961429"/>
              <a:chExt cx="995623" cy="291071"/>
            </a:xfrm>
          </p:grpSpPr>
          <p:sp>
            <p:nvSpPr>
              <p:cNvPr id="93" name="Rectangle: Rounded Corners 92">
                <a:extLst>
                  <a:ext uri="{FF2B5EF4-FFF2-40B4-BE49-F238E27FC236}">
                    <a16:creationId xmlns:a16="http://schemas.microsoft.com/office/drawing/2014/main" id="{F126997D-56FC-44A5-BC92-1191746194C6}"/>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Yes sorry</a:t>
                </a:r>
              </a:p>
            </p:txBody>
          </p:sp>
          <p:sp>
            <p:nvSpPr>
              <p:cNvPr id="94" name="Isosceles Triangle 93">
                <a:extLst>
                  <a:ext uri="{FF2B5EF4-FFF2-40B4-BE49-F238E27FC236}">
                    <a16:creationId xmlns:a16="http://schemas.microsoft.com/office/drawing/2014/main" id="{56EDC773-18AF-426E-AB66-5161150F8A1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95" name="Group 115">
              <a:extLst>
                <a:ext uri="{FF2B5EF4-FFF2-40B4-BE49-F238E27FC236}">
                  <a16:creationId xmlns:a16="http://schemas.microsoft.com/office/drawing/2014/main" id="{CAFA9B59-A307-4DD7-B7BE-A4D0FFDCDEBE}"/>
                </a:ext>
              </a:extLst>
            </p:cNvPr>
            <p:cNvGrpSpPr/>
            <p:nvPr/>
          </p:nvGrpSpPr>
          <p:grpSpPr>
            <a:xfrm>
              <a:off x="6805335" y="3144669"/>
              <a:ext cx="3461850" cy="469093"/>
              <a:chOff x="7156454" y="1900890"/>
              <a:chExt cx="3461850" cy="469093"/>
            </a:xfrm>
          </p:grpSpPr>
          <p:sp>
            <p:nvSpPr>
              <p:cNvPr id="96" name="Rectangle: Rounded Corners 95">
                <a:extLst>
                  <a:ext uri="{FF2B5EF4-FFF2-40B4-BE49-F238E27FC236}">
                    <a16:creationId xmlns:a16="http://schemas.microsoft.com/office/drawing/2014/main" id="{A7E56080-774C-4D34-95FF-0899505A3C34}"/>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No problem. Do you have your account number, or do you need help finding it?</a:t>
                </a:r>
              </a:p>
            </p:txBody>
          </p:sp>
          <p:sp>
            <p:nvSpPr>
              <p:cNvPr id="97" name="Isosceles Triangle 96">
                <a:extLst>
                  <a:ext uri="{FF2B5EF4-FFF2-40B4-BE49-F238E27FC236}">
                    <a16:creationId xmlns:a16="http://schemas.microsoft.com/office/drawing/2014/main" id="{85ECBE64-738C-4194-8F16-649E1068A057}"/>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84">
              <a:extLst>
                <a:ext uri="{FF2B5EF4-FFF2-40B4-BE49-F238E27FC236}">
                  <a16:creationId xmlns:a16="http://schemas.microsoft.com/office/drawing/2014/main" id="{F1D655DF-020E-4017-B889-EE4A28399EE2}"/>
                </a:ext>
              </a:extLst>
            </p:cNvPr>
            <p:cNvGrpSpPr/>
            <p:nvPr/>
          </p:nvGrpSpPr>
          <p:grpSpPr>
            <a:xfrm>
              <a:off x="6354763" y="3116616"/>
              <a:ext cx="344143" cy="344143"/>
              <a:chOff x="12510166" y="1289683"/>
              <a:chExt cx="685799" cy="685799"/>
            </a:xfrm>
          </p:grpSpPr>
          <p:sp>
            <p:nvSpPr>
              <p:cNvPr id="99" name="Oval 42">
                <a:extLst>
                  <a:ext uri="{FF2B5EF4-FFF2-40B4-BE49-F238E27FC236}">
                    <a16:creationId xmlns:a16="http://schemas.microsoft.com/office/drawing/2014/main" id="{4D4857F6-9031-48A5-B70A-1269DEDC4CE0}"/>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0" name="Group 61">
                <a:extLst>
                  <a:ext uri="{FF2B5EF4-FFF2-40B4-BE49-F238E27FC236}">
                    <a16:creationId xmlns:a16="http://schemas.microsoft.com/office/drawing/2014/main" id="{4BD411BB-CFE5-4094-8933-73EBF4639FFC}"/>
                  </a:ext>
                </a:extLst>
              </p:cNvPr>
              <p:cNvGrpSpPr/>
              <p:nvPr/>
            </p:nvGrpSpPr>
            <p:grpSpPr>
              <a:xfrm>
                <a:off x="12688064" y="1458670"/>
                <a:ext cx="330003" cy="347825"/>
                <a:chOff x="5084670" y="6673208"/>
                <a:chExt cx="2733675" cy="2881313"/>
              </a:xfrm>
            </p:grpSpPr>
            <p:sp>
              <p:nvSpPr>
                <p:cNvPr id="101" name="Freeform: Shape 100">
                  <a:extLst>
                    <a:ext uri="{FF2B5EF4-FFF2-40B4-BE49-F238E27FC236}">
                      <a16:creationId xmlns:a16="http://schemas.microsoft.com/office/drawing/2014/main" id="{92E15205-0823-44BC-BAE6-313969919BD5}"/>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2" name="Freeform: Shape 101">
                  <a:extLst>
                    <a:ext uri="{FF2B5EF4-FFF2-40B4-BE49-F238E27FC236}">
                      <a16:creationId xmlns:a16="http://schemas.microsoft.com/office/drawing/2014/main" id="{A2628F67-4340-4358-A54B-016B3D48826D}"/>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03" name="Group 113">
              <a:extLst>
                <a:ext uri="{FF2B5EF4-FFF2-40B4-BE49-F238E27FC236}">
                  <a16:creationId xmlns:a16="http://schemas.microsoft.com/office/drawing/2014/main" id="{4EE639A8-099C-4DC4-8F14-262F4910B7B5}"/>
                </a:ext>
              </a:extLst>
            </p:cNvPr>
            <p:cNvGrpSpPr/>
            <p:nvPr/>
          </p:nvGrpSpPr>
          <p:grpSpPr>
            <a:xfrm>
              <a:off x="8567876" y="3934702"/>
              <a:ext cx="2465510" cy="291071"/>
              <a:chOff x="8530126" y="3961429"/>
              <a:chExt cx="2465510" cy="291071"/>
            </a:xfrm>
          </p:grpSpPr>
          <p:sp>
            <p:nvSpPr>
              <p:cNvPr id="104" name="Rectangle: Rounded Corners 103">
                <a:extLst>
                  <a:ext uri="{FF2B5EF4-FFF2-40B4-BE49-F238E27FC236}">
                    <a16:creationId xmlns:a16="http://schemas.microsoft.com/office/drawing/2014/main" id="{2505AECE-B3B9-4E48-AD3A-6783F22E7F6F}"/>
                  </a:ext>
                </a:extLst>
              </p:cNvPr>
              <p:cNvSpPr/>
              <p:nvPr/>
            </p:nvSpPr>
            <p:spPr bwMode="auto">
              <a:xfrm>
                <a:off x="8530126" y="3961429"/>
                <a:ext cx="227953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My account number is 1234567</a:t>
                </a:r>
              </a:p>
            </p:txBody>
          </p:sp>
          <p:sp>
            <p:nvSpPr>
              <p:cNvPr id="105" name="Isosceles Triangle 104">
                <a:extLst>
                  <a:ext uri="{FF2B5EF4-FFF2-40B4-BE49-F238E27FC236}">
                    <a16:creationId xmlns:a16="http://schemas.microsoft.com/office/drawing/2014/main" id="{67627203-7831-40ED-8546-357C431E5A65}"/>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06" name="Picture 183">
              <a:extLst>
                <a:ext uri="{FF2B5EF4-FFF2-40B4-BE49-F238E27FC236}">
                  <a16:creationId xmlns:a16="http://schemas.microsoft.com/office/drawing/2014/main" id="{F328E334-AF95-44B8-93A5-A5CE469DB247}"/>
                </a:ext>
              </a:extLst>
            </p:cNvPr>
            <p:cNvPicPr>
              <a:picLocks noChangeAspect="1"/>
            </p:cNvPicPr>
            <p:nvPr/>
          </p:nvPicPr>
          <p:blipFill>
            <a:blip r:embed="rId3"/>
            <a:srcRect b="258"/>
            <a:stretch>
              <a:fillRect/>
            </a:stretch>
          </p:blipFill>
          <p:spPr>
            <a:xfrm>
              <a:off x="11087295" y="384497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107" name="Group 115">
              <a:extLst>
                <a:ext uri="{FF2B5EF4-FFF2-40B4-BE49-F238E27FC236}">
                  <a16:creationId xmlns:a16="http://schemas.microsoft.com/office/drawing/2014/main" id="{587D5A09-3297-419C-A9A7-E46B6774F890}"/>
                </a:ext>
              </a:extLst>
            </p:cNvPr>
            <p:cNvGrpSpPr/>
            <p:nvPr/>
          </p:nvGrpSpPr>
          <p:grpSpPr>
            <a:xfrm>
              <a:off x="6805335" y="4485040"/>
              <a:ext cx="3461850" cy="1265794"/>
              <a:chOff x="7156454" y="1900890"/>
              <a:chExt cx="3461850" cy="1265794"/>
            </a:xfrm>
          </p:grpSpPr>
          <p:sp>
            <p:nvSpPr>
              <p:cNvPr id="108" name="Rectangle: Rounded Corners 107">
                <a:extLst>
                  <a:ext uri="{FF2B5EF4-FFF2-40B4-BE49-F238E27FC236}">
                    <a16:creationId xmlns:a16="http://schemas.microsoft.com/office/drawing/2014/main" id="{D78D98BF-8FBA-4293-8044-1FB4C82CC3C3}"/>
                  </a:ext>
                </a:extLst>
              </p:cNvPr>
              <p:cNvSpPr/>
              <p:nvPr/>
            </p:nvSpPr>
            <p:spPr bwMode="auto">
              <a:xfrm>
                <a:off x="7369308" y="190089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Thanks! Please wait while I grab your</a:t>
                </a:r>
                <a:br>
                  <a:rPr lang="en-US" sz="1100">
                    <a:solidFill>
                      <a:schemeClr val="tx1"/>
                    </a:solidFill>
                    <a:cs typeface="Segoe UI" pitchFamily="34" charset="0"/>
                  </a:rPr>
                </a:br>
                <a:r>
                  <a:rPr lang="en-US" sz="1100">
                    <a:solidFill>
                      <a:schemeClr val="tx1"/>
                    </a:solidFill>
                    <a:cs typeface="Segoe UI" pitchFamily="34" charset="0"/>
                  </a:rPr>
                  <a:t>billing info.</a:t>
                </a:r>
              </a:p>
            </p:txBody>
          </p:sp>
          <p:sp>
            <p:nvSpPr>
              <p:cNvPr id="109" name="Isosceles Triangle 108">
                <a:extLst>
                  <a:ext uri="{FF2B5EF4-FFF2-40B4-BE49-F238E27FC236}">
                    <a16:creationId xmlns:a16="http://schemas.microsoft.com/office/drawing/2014/main" id="{54B6E0D9-3486-4745-A529-21272E5C4312}"/>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A3BAB902-20F7-4ECE-8C8B-1088E7AACBDF}"/>
                  </a:ext>
                </a:extLst>
              </p:cNvPr>
              <p:cNvSpPr/>
              <p:nvPr/>
            </p:nvSpPr>
            <p:spPr bwMode="auto">
              <a:xfrm>
                <a:off x="7369308" y="265273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endParaRPr lang="en-US" sz="1100">
                  <a:solidFill>
                    <a:schemeClr val="tx1"/>
                  </a:solidFill>
                  <a:cs typeface="Segoe UI" pitchFamily="34" charset="0"/>
                </a:endParaRPr>
              </a:p>
            </p:txBody>
          </p:sp>
        </p:grpSp>
        <p:grpSp>
          <p:nvGrpSpPr>
            <p:cNvPr id="110" name="Group 84">
              <a:extLst>
                <a:ext uri="{FF2B5EF4-FFF2-40B4-BE49-F238E27FC236}">
                  <a16:creationId xmlns:a16="http://schemas.microsoft.com/office/drawing/2014/main" id="{87B66E6F-7F60-422C-9377-821A69C1C34E}"/>
                </a:ext>
              </a:extLst>
            </p:cNvPr>
            <p:cNvGrpSpPr/>
            <p:nvPr/>
          </p:nvGrpSpPr>
          <p:grpSpPr>
            <a:xfrm>
              <a:off x="6354763" y="4456987"/>
              <a:ext cx="344143" cy="344143"/>
              <a:chOff x="12510166" y="1289683"/>
              <a:chExt cx="685799" cy="685799"/>
            </a:xfrm>
          </p:grpSpPr>
          <p:sp>
            <p:nvSpPr>
              <p:cNvPr id="111" name="Oval 42">
                <a:extLst>
                  <a:ext uri="{FF2B5EF4-FFF2-40B4-BE49-F238E27FC236}">
                    <a16:creationId xmlns:a16="http://schemas.microsoft.com/office/drawing/2014/main" id="{4E22CC24-DE71-4CBA-9E1E-FE6EB913F219}"/>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2" name="Group 61">
                <a:extLst>
                  <a:ext uri="{FF2B5EF4-FFF2-40B4-BE49-F238E27FC236}">
                    <a16:creationId xmlns:a16="http://schemas.microsoft.com/office/drawing/2014/main" id="{BFBAA79E-921B-497A-85F1-A2AC21040129}"/>
                  </a:ext>
                </a:extLst>
              </p:cNvPr>
              <p:cNvGrpSpPr/>
              <p:nvPr/>
            </p:nvGrpSpPr>
            <p:grpSpPr>
              <a:xfrm>
                <a:off x="12688064" y="1458670"/>
                <a:ext cx="330003" cy="347825"/>
                <a:chOff x="5084670" y="6673208"/>
                <a:chExt cx="2733675" cy="2881313"/>
              </a:xfrm>
            </p:grpSpPr>
            <p:sp>
              <p:nvSpPr>
                <p:cNvPr id="113" name="Freeform: Shape 112">
                  <a:extLst>
                    <a:ext uri="{FF2B5EF4-FFF2-40B4-BE49-F238E27FC236}">
                      <a16:creationId xmlns:a16="http://schemas.microsoft.com/office/drawing/2014/main" id="{2A9FF72E-1351-4B4A-8FD3-1D3CEA33FE55}"/>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4" name="Freeform: Shape 113">
                  <a:extLst>
                    <a:ext uri="{FF2B5EF4-FFF2-40B4-BE49-F238E27FC236}">
                      <a16:creationId xmlns:a16="http://schemas.microsoft.com/office/drawing/2014/main" id="{07179F4C-4B5F-45EA-8367-81E960314840}"/>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
          <p:nvSpPr>
            <p:cNvPr id="117" name="Isosceles Triangle 116">
              <a:extLst>
                <a:ext uri="{FF2B5EF4-FFF2-40B4-BE49-F238E27FC236}">
                  <a16:creationId xmlns:a16="http://schemas.microsoft.com/office/drawing/2014/main" id="{90D6B6E4-14F1-4424-AF96-B73862D332C4}"/>
                </a:ext>
              </a:extLst>
            </p:cNvPr>
            <p:cNvSpPr/>
            <p:nvPr/>
          </p:nvSpPr>
          <p:spPr bwMode="auto">
            <a:xfrm rot="16200000">
              <a:off x="6823746" y="5337147"/>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8" name="Group 84">
              <a:extLst>
                <a:ext uri="{FF2B5EF4-FFF2-40B4-BE49-F238E27FC236}">
                  <a16:creationId xmlns:a16="http://schemas.microsoft.com/office/drawing/2014/main" id="{A885E699-2B6E-4DC9-872F-FC9FC7604ABE}"/>
                </a:ext>
              </a:extLst>
            </p:cNvPr>
            <p:cNvGrpSpPr/>
            <p:nvPr/>
          </p:nvGrpSpPr>
          <p:grpSpPr>
            <a:xfrm>
              <a:off x="6354763" y="5230206"/>
              <a:ext cx="344143" cy="344143"/>
              <a:chOff x="12510166" y="1289683"/>
              <a:chExt cx="685799" cy="685799"/>
            </a:xfrm>
          </p:grpSpPr>
          <p:sp>
            <p:nvSpPr>
              <p:cNvPr id="119" name="Oval 42">
                <a:extLst>
                  <a:ext uri="{FF2B5EF4-FFF2-40B4-BE49-F238E27FC236}">
                    <a16:creationId xmlns:a16="http://schemas.microsoft.com/office/drawing/2014/main" id="{5DFBCA2B-F818-48A0-9101-3204474E2819}"/>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0" name="Group 61">
                <a:extLst>
                  <a:ext uri="{FF2B5EF4-FFF2-40B4-BE49-F238E27FC236}">
                    <a16:creationId xmlns:a16="http://schemas.microsoft.com/office/drawing/2014/main" id="{DADBDE9A-6F8A-474F-B8DD-590F9EE76651}"/>
                  </a:ext>
                </a:extLst>
              </p:cNvPr>
              <p:cNvGrpSpPr/>
              <p:nvPr/>
            </p:nvGrpSpPr>
            <p:grpSpPr>
              <a:xfrm>
                <a:off x="12688064" y="1458670"/>
                <a:ext cx="330003" cy="347825"/>
                <a:chOff x="5084670" y="6673208"/>
                <a:chExt cx="2733675" cy="2881313"/>
              </a:xfrm>
            </p:grpSpPr>
            <p:sp>
              <p:nvSpPr>
                <p:cNvPr id="121" name="Freeform: Shape 120">
                  <a:extLst>
                    <a:ext uri="{FF2B5EF4-FFF2-40B4-BE49-F238E27FC236}">
                      <a16:creationId xmlns:a16="http://schemas.microsoft.com/office/drawing/2014/main" id="{CA4DCA77-0E21-420A-8EE9-42CC0980F10A}"/>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2" name="Freeform: Shape 121">
                  <a:extLst>
                    <a:ext uri="{FF2B5EF4-FFF2-40B4-BE49-F238E27FC236}">
                      <a16:creationId xmlns:a16="http://schemas.microsoft.com/office/drawing/2014/main" id="{ECFE84B1-95DC-4CC3-950F-1EF3D8437ECC}"/>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 name="Group 1">
              <a:extLst>
                <a:ext uri="{FF2B5EF4-FFF2-40B4-BE49-F238E27FC236}">
                  <a16:creationId xmlns:a16="http://schemas.microsoft.com/office/drawing/2014/main" id="{E6359115-BB6A-4E33-9ED3-7F7E1BD5F362}"/>
                </a:ext>
              </a:extLst>
            </p:cNvPr>
            <p:cNvGrpSpPr/>
            <p:nvPr/>
          </p:nvGrpSpPr>
          <p:grpSpPr>
            <a:xfrm>
              <a:off x="7124841" y="5491552"/>
              <a:ext cx="184641" cy="45720"/>
              <a:chOff x="7407932" y="4739127"/>
              <a:chExt cx="184641" cy="45720"/>
            </a:xfrm>
            <a:solidFill>
              <a:schemeClr val="tx1"/>
            </a:solidFill>
          </p:grpSpPr>
          <p:sp>
            <p:nvSpPr>
              <p:cNvPr id="56" name="Oval 18">
                <a:extLst>
                  <a:ext uri="{FF2B5EF4-FFF2-40B4-BE49-F238E27FC236}">
                    <a16:creationId xmlns:a16="http://schemas.microsoft.com/office/drawing/2014/main" id="{FBF194D4-BDC8-45E0-AB0B-B70587526240}"/>
                  </a:ext>
                </a:extLst>
              </p:cNvPr>
              <p:cNvSpPr/>
              <p:nvPr/>
            </p:nvSpPr>
            <p:spPr>
              <a:xfrm>
                <a:off x="740793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9" name="Oval 19">
                <a:extLst>
                  <a:ext uri="{FF2B5EF4-FFF2-40B4-BE49-F238E27FC236}">
                    <a16:creationId xmlns:a16="http://schemas.microsoft.com/office/drawing/2014/main" id="{D65FFA6A-FD3F-4FA2-8080-4A60B625EC16}"/>
                  </a:ext>
                </a:extLst>
              </p:cNvPr>
              <p:cNvSpPr/>
              <p:nvPr/>
            </p:nvSpPr>
            <p:spPr>
              <a:xfrm>
                <a:off x="747739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 name="Oval 20">
                <a:extLst>
                  <a:ext uri="{FF2B5EF4-FFF2-40B4-BE49-F238E27FC236}">
                    <a16:creationId xmlns:a16="http://schemas.microsoft.com/office/drawing/2014/main" id="{6F364B83-DCCC-419B-BFF8-5DD028270F98}"/>
                  </a:ext>
                </a:extLst>
              </p:cNvPr>
              <p:cNvSpPr/>
              <p:nvPr/>
            </p:nvSpPr>
            <p:spPr>
              <a:xfrm>
                <a:off x="7546853"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grpSp>
        <p:nvGrpSpPr>
          <p:cNvPr id="132" name="Group 13">
            <a:extLst>
              <a:ext uri="{FF2B5EF4-FFF2-40B4-BE49-F238E27FC236}">
                <a16:creationId xmlns:a16="http://schemas.microsoft.com/office/drawing/2014/main" id="{25CB3F19-98BE-4E68-827D-CF8AA544A366}"/>
              </a:ext>
            </a:extLst>
          </p:cNvPr>
          <p:cNvGrpSpPr/>
          <p:nvPr/>
        </p:nvGrpSpPr>
        <p:grpSpPr>
          <a:xfrm>
            <a:off x="6134100" y="1398616"/>
            <a:ext cx="5600700" cy="4837176"/>
            <a:chOff x="6134100" y="1398616"/>
            <a:chExt cx="5600700" cy="5053134"/>
          </a:xfrm>
        </p:grpSpPr>
        <p:sp>
          <p:nvSpPr>
            <p:cNvPr id="133" name="Rectangle 7">
              <a:extLst>
                <a:ext uri="{FF2B5EF4-FFF2-40B4-BE49-F238E27FC236}">
                  <a16:creationId xmlns:a16="http://schemas.microsoft.com/office/drawing/2014/main" id="{812D41E7-1750-41E9-B876-7E69C79ADF8D}"/>
                </a:ext>
              </a:extLst>
            </p:cNvPr>
            <p:cNvSpPr/>
            <p:nvPr/>
          </p:nvSpPr>
          <p:spPr bwMode="auto">
            <a:xfrm>
              <a:off x="6134100" y="1398616"/>
              <a:ext cx="5600700" cy="5053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36">
              <a:extLst>
                <a:ext uri="{FF2B5EF4-FFF2-40B4-BE49-F238E27FC236}">
                  <a16:creationId xmlns:a16="http://schemas.microsoft.com/office/drawing/2014/main" id="{4501618B-81BE-4E4F-9724-F43FD56ABF5F}"/>
                </a:ext>
              </a:extLst>
            </p:cNvPr>
            <p:cNvSpPr/>
            <p:nvPr/>
          </p:nvSpPr>
          <p:spPr bwMode="auto">
            <a:xfrm>
              <a:off x="11432729" y="6047191"/>
              <a:ext cx="302071" cy="4045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91440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914400" y="0"/>
                  </a:moveTo>
                  <a:lnTo>
                    <a:pt x="914400" y="914400"/>
                  </a:lnTo>
                  <a:lnTo>
                    <a:pt x="0" y="91440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37">
              <a:extLst>
                <a:ext uri="{FF2B5EF4-FFF2-40B4-BE49-F238E27FC236}">
                  <a16:creationId xmlns:a16="http://schemas.microsoft.com/office/drawing/2014/main" id="{CD9C7320-415F-4DC5-9261-F3E991998694}"/>
                </a:ext>
              </a:extLst>
            </p:cNvPr>
            <p:cNvSpPr/>
            <p:nvPr/>
          </p:nvSpPr>
          <p:spPr bwMode="auto">
            <a:xfrm>
              <a:off x="6134100" y="1398616"/>
              <a:ext cx="308898" cy="41472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84430801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a:t>Style: How to sound conversational</a:t>
            </a:r>
          </a:p>
        </p:txBody>
      </p:sp>
      <p:sp>
        <p:nvSpPr>
          <p:cNvPr id="23" name="Content Placeholder 2">
            <a:extLst>
              <a:ext uri="{FF2B5EF4-FFF2-40B4-BE49-F238E27FC236}">
                <a16:creationId xmlns:a16="http://schemas.microsoft.com/office/drawing/2014/main" id="{56C674FA-BDC8-4D1F-8BC6-03FEC5006345}"/>
              </a:ext>
            </a:extLst>
          </p:cNvPr>
          <p:cNvSpPr txBox="1">
            <a:spLocks/>
          </p:cNvSpPr>
          <p:nvPr/>
        </p:nvSpPr>
        <p:spPr>
          <a:xfrm>
            <a:off x="477671" y="1398616"/>
            <a:ext cx="5248656" cy="2642031"/>
          </a:xfrm>
          <a:prstGeom prst="rect">
            <a:avLst/>
          </a:prstGeom>
        </p:spPr>
        <p:txBody>
          <a:bodyPr vert="horz" wrap="square" lIns="0" tIns="0" rIns="0" bIns="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spc="0">
                <a:latin typeface="Segoe UI"/>
                <a:cs typeface="Segoe UI"/>
              </a:rPr>
              <a:t>Customers abandon a chat when the prompts are lengthy, so keep them brief. To keep your writing simple and straightforward, </a:t>
            </a:r>
            <a:r>
              <a:rPr lang="en-US" sz="2000" u="sng" spc="0">
                <a:latin typeface="Segoe UI"/>
                <a:cs typeface="Segoe UI"/>
              </a:rPr>
              <a:t>use the Flesch-Kincaid Grade Level feature in Microsoft Word or an app like </a:t>
            </a:r>
            <a:r>
              <a:rPr lang="en-US" sz="2000" u="sng" spc="0">
                <a:latin typeface="Segoe UI"/>
                <a:cs typeface="Segoe UI"/>
                <a:hlinkClick r:id="rId3">
                  <a:extLst>
                    <a:ext uri="{A12FA001-AC4F-418D-AE19-62706E023703}">
                      <ahyp:hlinkClr xmlns:ahyp="http://schemas.microsoft.com/office/drawing/2018/hyperlinkcolor" val="tx"/>
                    </a:ext>
                  </a:extLst>
                </a:hlinkClick>
              </a:rPr>
              <a:t>Hemingwayapp.com</a:t>
            </a:r>
            <a:r>
              <a:rPr lang="en-US" sz="2000" spc="0">
                <a:latin typeface="Segoe UI"/>
                <a:cs typeface="Segoe UI"/>
              </a:rPr>
              <a:t> to figure out the grade level for your scripts. In general, the lower the grade level, the better.</a:t>
            </a:r>
          </a:p>
        </p:txBody>
      </p:sp>
      <p:grpSp>
        <p:nvGrpSpPr>
          <p:cNvPr id="2" name="Group 1">
            <a:extLst>
              <a:ext uri="{FF2B5EF4-FFF2-40B4-BE49-F238E27FC236}">
                <a16:creationId xmlns:a16="http://schemas.microsoft.com/office/drawing/2014/main" id="{543F4BB7-7CC3-4965-BD2B-0C824EE39C72}"/>
              </a:ext>
            </a:extLst>
          </p:cNvPr>
          <p:cNvGrpSpPr/>
          <p:nvPr/>
        </p:nvGrpSpPr>
        <p:grpSpPr>
          <a:xfrm>
            <a:off x="6382981" y="1770380"/>
            <a:ext cx="5102938" cy="4161866"/>
            <a:chOff x="6354763" y="1770380"/>
            <a:chExt cx="5102938" cy="4161866"/>
          </a:xfrm>
        </p:grpSpPr>
        <p:grpSp>
          <p:nvGrpSpPr>
            <p:cNvPr id="17" name="Group 16">
              <a:extLst>
                <a:ext uri="{FF2B5EF4-FFF2-40B4-BE49-F238E27FC236}">
                  <a16:creationId xmlns:a16="http://schemas.microsoft.com/office/drawing/2014/main" id="{EA4803AE-9803-48E9-B34C-C4747D6006BC}"/>
                </a:ext>
              </a:extLst>
            </p:cNvPr>
            <p:cNvGrpSpPr/>
            <p:nvPr/>
          </p:nvGrpSpPr>
          <p:grpSpPr>
            <a:xfrm>
              <a:off x="6354763" y="1770380"/>
              <a:ext cx="3912422" cy="423676"/>
              <a:chOff x="6354763" y="1437868"/>
              <a:chExt cx="3912422" cy="423676"/>
            </a:xfrm>
          </p:grpSpPr>
          <p:grpSp>
            <p:nvGrpSpPr>
              <p:cNvPr id="58" name="Group 115">
                <a:extLst>
                  <a:ext uri="{FF2B5EF4-FFF2-40B4-BE49-F238E27FC236}">
                    <a16:creationId xmlns:a16="http://schemas.microsoft.com/office/drawing/2014/main" id="{E4255D76-2D81-45FF-8CA4-7DBBF5C3B504}"/>
                  </a:ext>
                </a:extLst>
              </p:cNvPr>
              <p:cNvGrpSpPr/>
              <p:nvPr/>
            </p:nvGrpSpPr>
            <p:grpSpPr>
              <a:xfrm>
                <a:off x="6805335" y="1465921"/>
                <a:ext cx="3461850" cy="395623"/>
                <a:chOff x="7156454" y="1900890"/>
                <a:chExt cx="3461850" cy="395623"/>
              </a:xfrm>
            </p:grpSpPr>
            <p:sp>
              <p:nvSpPr>
                <p:cNvPr id="61" name="Rectangle: Rounded Corners 60">
                  <a:extLst>
                    <a:ext uri="{FF2B5EF4-FFF2-40B4-BE49-F238E27FC236}">
                      <a16:creationId xmlns:a16="http://schemas.microsoft.com/office/drawing/2014/main" id="{83703DD3-0014-4501-A762-FB5A86F3435A}"/>
                    </a:ext>
                  </a:extLst>
                </p:cNvPr>
                <p:cNvSpPr/>
                <p:nvPr/>
              </p:nvSpPr>
              <p:spPr bwMode="auto">
                <a:xfrm>
                  <a:off x="7369308" y="1900890"/>
                  <a:ext cx="3248996" cy="39562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What will it be primarily used for?</a:t>
                  </a:r>
                </a:p>
              </p:txBody>
            </p:sp>
            <p:sp>
              <p:nvSpPr>
                <p:cNvPr id="62" name="Isosceles Triangle 61">
                  <a:extLst>
                    <a:ext uri="{FF2B5EF4-FFF2-40B4-BE49-F238E27FC236}">
                      <a16:creationId xmlns:a16="http://schemas.microsoft.com/office/drawing/2014/main" id="{4B1AD817-2BB2-4DAD-810E-6980720EB207}"/>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84">
                <a:extLst>
                  <a:ext uri="{FF2B5EF4-FFF2-40B4-BE49-F238E27FC236}">
                    <a16:creationId xmlns:a16="http://schemas.microsoft.com/office/drawing/2014/main" id="{040A9B24-3428-4867-8D21-D99B0AFC4632}"/>
                  </a:ext>
                </a:extLst>
              </p:cNvPr>
              <p:cNvGrpSpPr/>
              <p:nvPr/>
            </p:nvGrpSpPr>
            <p:grpSpPr>
              <a:xfrm>
                <a:off x="6354763" y="1437868"/>
                <a:ext cx="344143" cy="344143"/>
                <a:chOff x="12510166" y="1289683"/>
                <a:chExt cx="685799" cy="685799"/>
              </a:xfrm>
            </p:grpSpPr>
            <p:sp>
              <p:nvSpPr>
                <p:cNvPr id="64" name="Oval 42">
                  <a:extLst>
                    <a:ext uri="{FF2B5EF4-FFF2-40B4-BE49-F238E27FC236}">
                      <a16:creationId xmlns:a16="http://schemas.microsoft.com/office/drawing/2014/main" id="{3DC4698B-8909-415D-A7D1-A2C86E1032B1}"/>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1">
                  <a:extLst>
                    <a:ext uri="{FF2B5EF4-FFF2-40B4-BE49-F238E27FC236}">
                      <a16:creationId xmlns:a16="http://schemas.microsoft.com/office/drawing/2014/main" id="{89BE6DD8-988A-4DC3-85A2-8ED296F6BAD7}"/>
                    </a:ext>
                  </a:extLst>
                </p:cNvPr>
                <p:cNvGrpSpPr/>
                <p:nvPr/>
              </p:nvGrpSpPr>
              <p:grpSpPr>
                <a:xfrm>
                  <a:off x="12688064" y="1458670"/>
                  <a:ext cx="330003" cy="347825"/>
                  <a:chOff x="5084670" y="6673208"/>
                  <a:chExt cx="2733675" cy="2881313"/>
                </a:xfrm>
              </p:grpSpPr>
              <p:sp>
                <p:nvSpPr>
                  <p:cNvPr id="66" name="Freeform: Shape 65">
                    <a:extLst>
                      <a:ext uri="{FF2B5EF4-FFF2-40B4-BE49-F238E27FC236}">
                        <a16:creationId xmlns:a16="http://schemas.microsoft.com/office/drawing/2014/main" id="{FAA78641-6C6C-4D5C-89F3-14120537F6F7}"/>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Freeform: Shape 66">
                    <a:extLst>
                      <a:ext uri="{FF2B5EF4-FFF2-40B4-BE49-F238E27FC236}">
                        <a16:creationId xmlns:a16="http://schemas.microsoft.com/office/drawing/2014/main" id="{E10CCE11-A8DF-4BC2-A613-FDBEEF5A624B}"/>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18" name="Group 17">
              <a:extLst>
                <a:ext uri="{FF2B5EF4-FFF2-40B4-BE49-F238E27FC236}">
                  <a16:creationId xmlns:a16="http://schemas.microsoft.com/office/drawing/2014/main" id="{0F32569F-C64F-4886-90AB-9BB6C1BF42A4}"/>
                </a:ext>
              </a:extLst>
            </p:cNvPr>
            <p:cNvGrpSpPr/>
            <p:nvPr/>
          </p:nvGrpSpPr>
          <p:grpSpPr>
            <a:xfrm>
              <a:off x="10164726" y="2383127"/>
              <a:ext cx="1282584" cy="370406"/>
              <a:chOff x="10164726" y="2182484"/>
              <a:chExt cx="1282584" cy="370406"/>
            </a:xfrm>
          </p:grpSpPr>
          <p:pic>
            <p:nvPicPr>
              <p:cNvPr id="68" name="Picture 183">
                <a:extLst>
                  <a:ext uri="{FF2B5EF4-FFF2-40B4-BE49-F238E27FC236}">
                    <a16:creationId xmlns:a16="http://schemas.microsoft.com/office/drawing/2014/main" id="{C7BE286F-4BB4-47E9-8204-F806625F15B3}"/>
                  </a:ext>
                </a:extLst>
              </p:cNvPr>
              <p:cNvPicPr>
                <a:picLocks noChangeAspect="1"/>
              </p:cNvPicPr>
              <p:nvPr/>
            </p:nvPicPr>
            <p:blipFill>
              <a:blip r:embed="rId4"/>
              <a:srcRect b="258"/>
              <a:stretch>
                <a:fillRect/>
              </a:stretch>
            </p:blipFill>
            <p:spPr>
              <a:xfrm>
                <a:off x="11076904" y="21824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69" name="Group 113">
                <a:extLst>
                  <a:ext uri="{FF2B5EF4-FFF2-40B4-BE49-F238E27FC236}">
                    <a16:creationId xmlns:a16="http://schemas.microsoft.com/office/drawing/2014/main" id="{2255CA44-AF10-4834-94E7-B8AE7D41AA53}"/>
                  </a:ext>
                </a:extLst>
              </p:cNvPr>
              <p:cNvGrpSpPr/>
              <p:nvPr/>
            </p:nvGrpSpPr>
            <p:grpSpPr>
              <a:xfrm>
                <a:off x="10164726" y="2222863"/>
                <a:ext cx="868660" cy="291071"/>
                <a:chOff x="10126976" y="3961429"/>
                <a:chExt cx="868660" cy="291071"/>
              </a:xfrm>
            </p:grpSpPr>
            <p:sp>
              <p:nvSpPr>
                <p:cNvPr id="70" name="Rectangle: Rounded Corners 69">
                  <a:extLst>
                    <a:ext uri="{FF2B5EF4-FFF2-40B4-BE49-F238E27FC236}">
                      <a16:creationId xmlns:a16="http://schemas.microsoft.com/office/drawing/2014/main" id="{4B2C049E-E933-49E6-8179-08B83C4A5803}"/>
                    </a:ext>
                  </a:extLst>
                </p:cNvPr>
                <p:cNvSpPr/>
                <p:nvPr/>
              </p:nvSpPr>
              <p:spPr bwMode="auto">
                <a:xfrm>
                  <a:off x="10126976" y="3961429"/>
                  <a:ext cx="68268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School</a:t>
                  </a:r>
                </a:p>
              </p:txBody>
            </p:sp>
            <p:sp>
              <p:nvSpPr>
                <p:cNvPr id="71" name="Isosceles Triangle 70">
                  <a:extLst>
                    <a:ext uri="{FF2B5EF4-FFF2-40B4-BE49-F238E27FC236}">
                      <a16:creationId xmlns:a16="http://schemas.microsoft.com/office/drawing/2014/main" id="{EF6F3E3D-3766-4A59-AB59-92B1F0D057A2}"/>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grpSp>
          <p:nvGrpSpPr>
            <p:cNvPr id="19" name="Group 18">
              <a:extLst>
                <a:ext uri="{FF2B5EF4-FFF2-40B4-BE49-F238E27FC236}">
                  <a16:creationId xmlns:a16="http://schemas.microsoft.com/office/drawing/2014/main" id="{4EF0C8B5-E8F9-4143-A661-4BE1FD0EAFB8}"/>
                </a:ext>
              </a:extLst>
            </p:cNvPr>
            <p:cNvGrpSpPr/>
            <p:nvPr/>
          </p:nvGrpSpPr>
          <p:grpSpPr>
            <a:xfrm>
              <a:off x="6354763" y="2942604"/>
              <a:ext cx="3912422" cy="497146"/>
              <a:chOff x="6354763" y="2784104"/>
              <a:chExt cx="3912422" cy="497146"/>
            </a:xfrm>
          </p:grpSpPr>
          <p:grpSp>
            <p:nvGrpSpPr>
              <p:cNvPr id="72" name="Group 115">
                <a:extLst>
                  <a:ext uri="{FF2B5EF4-FFF2-40B4-BE49-F238E27FC236}">
                    <a16:creationId xmlns:a16="http://schemas.microsoft.com/office/drawing/2014/main" id="{205D34C4-2438-4CDA-8D1A-ECB5F332EBDD}"/>
                  </a:ext>
                </a:extLst>
              </p:cNvPr>
              <p:cNvGrpSpPr/>
              <p:nvPr/>
            </p:nvGrpSpPr>
            <p:grpSpPr>
              <a:xfrm>
                <a:off x="6805335" y="2812157"/>
                <a:ext cx="3461850" cy="469093"/>
                <a:chOff x="7156454" y="1900890"/>
                <a:chExt cx="3461850" cy="469093"/>
              </a:xfrm>
            </p:grpSpPr>
            <p:sp>
              <p:nvSpPr>
                <p:cNvPr id="73" name="Rectangle: Rounded Corners 72">
                  <a:extLst>
                    <a:ext uri="{FF2B5EF4-FFF2-40B4-BE49-F238E27FC236}">
                      <a16:creationId xmlns:a16="http://schemas.microsoft.com/office/drawing/2014/main" id="{815C8541-F047-4318-AF1A-E5BB99A9EA75}"/>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OK. What type of activities will you be using it for?</a:t>
                  </a:r>
                </a:p>
              </p:txBody>
            </p:sp>
            <p:sp>
              <p:nvSpPr>
                <p:cNvPr id="74" name="Isosceles Triangle 73">
                  <a:extLst>
                    <a:ext uri="{FF2B5EF4-FFF2-40B4-BE49-F238E27FC236}">
                      <a16:creationId xmlns:a16="http://schemas.microsoft.com/office/drawing/2014/main" id="{3DEFBA1A-DA1C-4147-ACC2-D70A011377D2}"/>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5" name="Group 84">
                <a:extLst>
                  <a:ext uri="{FF2B5EF4-FFF2-40B4-BE49-F238E27FC236}">
                    <a16:creationId xmlns:a16="http://schemas.microsoft.com/office/drawing/2014/main" id="{20C4CD8F-FA1F-4833-81F9-64E5BB9511EC}"/>
                  </a:ext>
                </a:extLst>
              </p:cNvPr>
              <p:cNvGrpSpPr/>
              <p:nvPr/>
            </p:nvGrpSpPr>
            <p:grpSpPr>
              <a:xfrm>
                <a:off x="6354763" y="2784104"/>
                <a:ext cx="344143" cy="344143"/>
                <a:chOff x="12510166" y="1289683"/>
                <a:chExt cx="685799" cy="685799"/>
              </a:xfrm>
            </p:grpSpPr>
            <p:sp>
              <p:nvSpPr>
                <p:cNvPr id="76" name="Oval 42">
                  <a:extLst>
                    <a:ext uri="{FF2B5EF4-FFF2-40B4-BE49-F238E27FC236}">
                      <a16:creationId xmlns:a16="http://schemas.microsoft.com/office/drawing/2014/main" id="{9A0BB36E-CF5B-4DCA-B6C3-F364ED5DC1AA}"/>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61">
                  <a:extLst>
                    <a:ext uri="{FF2B5EF4-FFF2-40B4-BE49-F238E27FC236}">
                      <a16:creationId xmlns:a16="http://schemas.microsoft.com/office/drawing/2014/main" id="{03AA1D5F-4DC6-4FC4-B922-B7EF44C2F03C}"/>
                    </a:ext>
                  </a:extLst>
                </p:cNvPr>
                <p:cNvGrpSpPr/>
                <p:nvPr/>
              </p:nvGrpSpPr>
              <p:grpSpPr>
                <a:xfrm>
                  <a:off x="12688064" y="1458670"/>
                  <a:ext cx="330003" cy="347825"/>
                  <a:chOff x="5084670" y="6673208"/>
                  <a:chExt cx="2733675" cy="2881313"/>
                </a:xfrm>
              </p:grpSpPr>
              <p:sp>
                <p:nvSpPr>
                  <p:cNvPr id="78" name="Freeform: Shape 77">
                    <a:extLst>
                      <a:ext uri="{FF2B5EF4-FFF2-40B4-BE49-F238E27FC236}">
                        <a16:creationId xmlns:a16="http://schemas.microsoft.com/office/drawing/2014/main" id="{F71DC81A-09BC-4124-B814-3C98236AEF3C}"/>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9" name="Freeform: Shape 78">
                    <a:extLst>
                      <a:ext uri="{FF2B5EF4-FFF2-40B4-BE49-F238E27FC236}">
                        <a16:creationId xmlns:a16="http://schemas.microsoft.com/office/drawing/2014/main" id="{F104CA04-2B62-43B1-9647-1867301DDF37}"/>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20" name="Group 19">
              <a:extLst>
                <a:ext uri="{FF2B5EF4-FFF2-40B4-BE49-F238E27FC236}">
                  <a16:creationId xmlns:a16="http://schemas.microsoft.com/office/drawing/2014/main" id="{BB2E836C-886A-4B60-91FD-D4DDE3716247}"/>
                </a:ext>
              </a:extLst>
            </p:cNvPr>
            <p:cNvGrpSpPr/>
            <p:nvPr/>
          </p:nvGrpSpPr>
          <p:grpSpPr>
            <a:xfrm>
              <a:off x="9829800" y="3628821"/>
              <a:ext cx="1627901" cy="380797"/>
              <a:chOff x="9829800" y="3512464"/>
              <a:chExt cx="1627901" cy="380797"/>
            </a:xfrm>
          </p:grpSpPr>
          <p:grpSp>
            <p:nvGrpSpPr>
              <p:cNvPr id="80" name="Group 113">
                <a:extLst>
                  <a:ext uri="{FF2B5EF4-FFF2-40B4-BE49-F238E27FC236}">
                    <a16:creationId xmlns:a16="http://schemas.microsoft.com/office/drawing/2014/main" id="{E872ECE0-5664-4C38-ABE3-1BAC8AF27D35}"/>
                  </a:ext>
                </a:extLst>
              </p:cNvPr>
              <p:cNvGrpSpPr/>
              <p:nvPr/>
            </p:nvGrpSpPr>
            <p:grpSpPr>
              <a:xfrm>
                <a:off x="9829800" y="3602190"/>
                <a:ext cx="1203586" cy="291071"/>
                <a:chOff x="9792050" y="3961429"/>
                <a:chExt cx="1203586" cy="291071"/>
              </a:xfrm>
            </p:grpSpPr>
            <p:sp>
              <p:nvSpPr>
                <p:cNvPr id="81" name="Rectangle: Rounded Corners 80">
                  <a:extLst>
                    <a:ext uri="{FF2B5EF4-FFF2-40B4-BE49-F238E27FC236}">
                      <a16:creationId xmlns:a16="http://schemas.microsoft.com/office/drawing/2014/main" id="{8A728E39-4F8D-438A-A8CB-F79D6670AFB1}"/>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Homework</a:t>
                  </a:r>
                </a:p>
              </p:txBody>
            </p:sp>
            <p:sp>
              <p:nvSpPr>
                <p:cNvPr id="82" name="Isosceles Triangle 81">
                  <a:extLst>
                    <a:ext uri="{FF2B5EF4-FFF2-40B4-BE49-F238E27FC236}">
                      <a16:creationId xmlns:a16="http://schemas.microsoft.com/office/drawing/2014/main" id="{168028DA-8AFC-4DBA-884D-6A1B5BD68D56}"/>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83" name="Picture 183">
                <a:extLst>
                  <a:ext uri="{FF2B5EF4-FFF2-40B4-BE49-F238E27FC236}">
                    <a16:creationId xmlns:a16="http://schemas.microsoft.com/office/drawing/2014/main" id="{8F32479E-E8C8-4E61-A9E0-3A605D21BB8D}"/>
                  </a:ext>
                </a:extLst>
              </p:cNvPr>
              <p:cNvPicPr>
                <a:picLocks noChangeAspect="1"/>
              </p:cNvPicPr>
              <p:nvPr/>
            </p:nvPicPr>
            <p:blipFill>
              <a:blip r:embed="rId4"/>
              <a:srcRect b="258"/>
              <a:stretch>
                <a:fillRect/>
              </a:stretch>
            </p:blipFill>
            <p:spPr>
              <a:xfrm>
                <a:off x="11087295" y="35124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grpSp>
          <p:nvGrpSpPr>
            <p:cNvPr id="21" name="Group 20">
              <a:extLst>
                <a:ext uri="{FF2B5EF4-FFF2-40B4-BE49-F238E27FC236}">
                  <a16:creationId xmlns:a16="http://schemas.microsoft.com/office/drawing/2014/main" id="{3AA7E8C2-D806-4D2C-90B4-1B0D6507638E}"/>
                </a:ext>
              </a:extLst>
            </p:cNvPr>
            <p:cNvGrpSpPr/>
            <p:nvPr/>
          </p:nvGrpSpPr>
          <p:grpSpPr>
            <a:xfrm>
              <a:off x="6354763" y="4198689"/>
              <a:ext cx="3912422" cy="542007"/>
              <a:chOff x="6354763" y="4124475"/>
              <a:chExt cx="3912422" cy="542007"/>
            </a:xfrm>
          </p:grpSpPr>
          <p:grpSp>
            <p:nvGrpSpPr>
              <p:cNvPr id="84" name="Group 115">
                <a:extLst>
                  <a:ext uri="{FF2B5EF4-FFF2-40B4-BE49-F238E27FC236}">
                    <a16:creationId xmlns:a16="http://schemas.microsoft.com/office/drawing/2014/main" id="{75032C52-351B-4FED-A76B-A767C3A1A9E5}"/>
                  </a:ext>
                </a:extLst>
              </p:cNvPr>
              <p:cNvGrpSpPr/>
              <p:nvPr/>
            </p:nvGrpSpPr>
            <p:grpSpPr>
              <a:xfrm>
                <a:off x="6805335" y="4152528"/>
                <a:ext cx="3461850" cy="513954"/>
                <a:chOff x="7156454" y="1900890"/>
                <a:chExt cx="3461850" cy="513954"/>
              </a:xfrm>
            </p:grpSpPr>
            <p:sp>
              <p:nvSpPr>
                <p:cNvPr id="85" name="Rectangle: Rounded Corners 84">
                  <a:extLst>
                    <a:ext uri="{FF2B5EF4-FFF2-40B4-BE49-F238E27FC236}">
                      <a16:creationId xmlns:a16="http://schemas.microsoft.com/office/drawing/2014/main" id="{20AC5082-BA38-4959-BF7A-4C826CA5B04D}"/>
                    </a:ext>
                  </a:extLst>
                </p:cNvPr>
                <p:cNvSpPr/>
                <p:nvPr/>
              </p:nvSpPr>
              <p:spPr bwMode="auto">
                <a:xfrm>
                  <a:off x="7369308" y="190089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Which of these features is most important</a:t>
                  </a:r>
                  <a:b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to you?</a:t>
                  </a:r>
                </a:p>
              </p:txBody>
            </p:sp>
            <p:sp>
              <p:nvSpPr>
                <p:cNvPr id="86" name="Isosceles Triangle 85">
                  <a:extLst>
                    <a:ext uri="{FF2B5EF4-FFF2-40B4-BE49-F238E27FC236}">
                      <a16:creationId xmlns:a16="http://schemas.microsoft.com/office/drawing/2014/main" id="{43C8EBA2-6818-4AEF-B006-C675DEED0DE2}"/>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4">
                <a:extLst>
                  <a:ext uri="{FF2B5EF4-FFF2-40B4-BE49-F238E27FC236}">
                    <a16:creationId xmlns:a16="http://schemas.microsoft.com/office/drawing/2014/main" id="{AD2CE93E-FCB7-49E1-9EE0-782605DF29FF}"/>
                  </a:ext>
                </a:extLst>
              </p:cNvPr>
              <p:cNvGrpSpPr/>
              <p:nvPr/>
            </p:nvGrpSpPr>
            <p:grpSpPr>
              <a:xfrm>
                <a:off x="6354763" y="4124475"/>
                <a:ext cx="344143" cy="344143"/>
                <a:chOff x="12510166" y="1289683"/>
                <a:chExt cx="685799" cy="685799"/>
              </a:xfrm>
            </p:grpSpPr>
            <p:sp>
              <p:nvSpPr>
                <p:cNvPr id="88" name="Oval 42">
                  <a:extLst>
                    <a:ext uri="{FF2B5EF4-FFF2-40B4-BE49-F238E27FC236}">
                      <a16:creationId xmlns:a16="http://schemas.microsoft.com/office/drawing/2014/main" id="{7F188429-C4A9-4BAF-B4BD-AA42D98B60D1}"/>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61">
                  <a:extLst>
                    <a:ext uri="{FF2B5EF4-FFF2-40B4-BE49-F238E27FC236}">
                      <a16:creationId xmlns:a16="http://schemas.microsoft.com/office/drawing/2014/main" id="{F4B2825F-BB8E-4A38-ACEB-3DD3ACFD5CAD}"/>
                    </a:ext>
                  </a:extLst>
                </p:cNvPr>
                <p:cNvGrpSpPr/>
                <p:nvPr/>
              </p:nvGrpSpPr>
              <p:grpSpPr>
                <a:xfrm>
                  <a:off x="12688064" y="1458670"/>
                  <a:ext cx="330003" cy="347825"/>
                  <a:chOff x="5084670" y="6673208"/>
                  <a:chExt cx="2733675" cy="2881313"/>
                </a:xfrm>
              </p:grpSpPr>
              <p:sp>
                <p:nvSpPr>
                  <p:cNvPr id="90" name="Freeform: Shape 89">
                    <a:extLst>
                      <a:ext uri="{FF2B5EF4-FFF2-40B4-BE49-F238E27FC236}">
                        <a16:creationId xmlns:a16="http://schemas.microsoft.com/office/drawing/2014/main" id="{E44EDBE9-895B-4D65-B3C2-07BEE9AC201D}"/>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1" name="Freeform: Shape 90">
                    <a:extLst>
                      <a:ext uri="{FF2B5EF4-FFF2-40B4-BE49-F238E27FC236}">
                        <a16:creationId xmlns:a16="http://schemas.microsoft.com/office/drawing/2014/main" id="{1FADAF19-958D-4F40-A1D4-2AAD46BBB398}"/>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22" name="Group 21">
              <a:extLst>
                <a:ext uri="{FF2B5EF4-FFF2-40B4-BE49-F238E27FC236}">
                  <a16:creationId xmlns:a16="http://schemas.microsoft.com/office/drawing/2014/main" id="{0402ED9E-CAEE-4232-80C0-18DAA4549A92}"/>
                </a:ext>
              </a:extLst>
            </p:cNvPr>
            <p:cNvGrpSpPr/>
            <p:nvPr/>
          </p:nvGrpSpPr>
          <p:grpSpPr>
            <a:xfrm>
              <a:off x="9829800" y="4929767"/>
              <a:ext cx="1627901" cy="380797"/>
              <a:chOff x="9829800" y="4754148"/>
              <a:chExt cx="1627901" cy="380797"/>
            </a:xfrm>
          </p:grpSpPr>
          <p:grpSp>
            <p:nvGrpSpPr>
              <p:cNvPr id="92" name="Group 113">
                <a:extLst>
                  <a:ext uri="{FF2B5EF4-FFF2-40B4-BE49-F238E27FC236}">
                    <a16:creationId xmlns:a16="http://schemas.microsoft.com/office/drawing/2014/main" id="{7BDA5642-1D8A-4593-998F-37EAC50698E2}"/>
                  </a:ext>
                </a:extLst>
              </p:cNvPr>
              <p:cNvGrpSpPr/>
              <p:nvPr/>
            </p:nvGrpSpPr>
            <p:grpSpPr>
              <a:xfrm>
                <a:off x="9829800" y="4843874"/>
                <a:ext cx="1203586" cy="291071"/>
                <a:chOff x="9792050" y="3961429"/>
                <a:chExt cx="1203586" cy="291071"/>
              </a:xfrm>
            </p:grpSpPr>
            <p:sp>
              <p:nvSpPr>
                <p:cNvPr id="93" name="Rectangle: Rounded Corners 92">
                  <a:extLst>
                    <a:ext uri="{FF2B5EF4-FFF2-40B4-BE49-F238E27FC236}">
                      <a16:creationId xmlns:a16="http://schemas.microsoft.com/office/drawing/2014/main" id="{74770945-F487-48EE-BADF-7A028341219A}"/>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Memory</a:t>
                  </a:r>
                </a:p>
              </p:txBody>
            </p:sp>
            <p:sp>
              <p:nvSpPr>
                <p:cNvPr id="94" name="Isosceles Triangle 93">
                  <a:extLst>
                    <a:ext uri="{FF2B5EF4-FFF2-40B4-BE49-F238E27FC236}">
                      <a16:creationId xmlns:a16="http://schemas.microsoft.com/office/drawing/2014/main" id="{1930023C-39F2-4A19-BF68-12F0552EE19D}"/>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95" name="Picture 183">
                <a:extLst>
                  <a:ext uri="{FF2B5EF4-FFF2-40B4-BE49-F238E27FC236}">
                    <a16:creationId xmlns:a16="http://schemas.microsoft.com/office/drawing/2014/main" id="{04C37135-91CB-4E5A-9E32-AA4B7D654D90}"/>
                  </a:ext>
                </a:extLst>
              </p:cNvPr>
              <p:cNvPicPr>
                <a:picLocks noChangeAspect="1"/>
              </p:cNvPicPr>
              <p:nvPr/>
            </p:nvPicPr>
            <p:blipFill>
              <a:blip r:embed="rId4"/>
              <a:srcRect b="258"/>
              <a:stretch>
                <a:fillRect/>
              </a:stretch>
            </p:blipFill>
            <p:spPr>
              <a:xfrm>
                <a:off x="11087295" y="475414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grpSp>
          <p:nvGrpSpPr>
            <p:cNvPr id="27" name="Group 26">
              <a:extLst>
                <a:ext uri="{FF2B5EF4-FFF2-40B4-BE49-F238E27FC236}">
                  <a16:creationId xmlns:a16="http://schemas.microsoft.com/office/drawing/2014/main" id="{D7A10DA4-A9AD-4F23-939C-5C4F397E3985}"/>
                </a:ext>
              </a:extLst>
            </p:cNvPr>
            <p:cNvGrpSpPr/>
            <p:nvPr/>
          </p:nvGrpSpPr>
          <p:grpSpPr>
            <a:xfrm>
              <a:off x="6354763" y="5499634"/>
              <a:ext cx="3912422" cy="432612"/>
              <a:chOff x="6354763" y="5167122"/>
              <a:chExt cx="3912422" cy="432612"/>
            </a:xfrm>
          </p:grpSpPr>
          <p:grpSp>
            <p:nvGrpSpPr>
              <p:cNvPr id="96" name="Group 115">
                <a:extLst>
                  <a:ext uri="{FF2B5EF4-FFF2-40B4-BE49-F238E27FC236}">
                    <a16:creationId xmlns:a16="http://schemas.microsoft.com/office/drawing/2014/main" id="{047F5CD1-C689-4667-8FBD-F8D1F97AC7AF}"/>
                  </a:ext>
                </a:extLst>
              </p:cNvPr>
              <p:cNvGrpSpPr/>
              <p:nvPr/>
            </p:nvGrpSpPr>
            <p:grpSpPr>
              <a:xfrm>
                <a:off x="6805335" y="5195175"/>
                <a:ext cx="3461850" cy="404559"/>
                <a:chOff x="7156454" y="1900890"/>
                <a:chExt cx="3461850" cy="404559"/>
              </a:xfrm>
            </p:grpSpPr>
            <p:sp>
              <p:nvSpPr>
                <p:cNvPr id="97" name="Rectangle: Rounded Corners 96">
                  <a:extLst>
                    <a:ext uri="{FF2B5EF4-FFF2-40B4-BE49-F238E27FC236}">
                      <a16:creationId xmlns:a16="http://schemas.microsoft.com/office/drawing/2014/main" id="{1E615341-35A3-40B6-9CDE-B6B8065C7501}"/>
                    </a:ext>
                  </a:extLst>
                </p:cNvPr>
                <p:cNvSpPr/>
                <p:nvPr/>
              </p:nvSpPr>
              <p:spPr bwMode="auto">
                <a:xfrm>
                  <a:off x="7369308" y="1900890"/>
                  <a:ext cx="3248996" cy="40455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Alright. Here are some options for you…</a:t>
                  </a:r>
                </a:p>
              </p:txBody>
            </p:sp>
            <p:sp>
              <p:nvSpPr>
                <p:cNvPr id="98" name="Isosceles Triangle 97">
                  <a:extLst>
                    <a:ext uri="{FF2B5EF4-FFF2-40B4-BE49-F238E27FC236}">
                      <a16:creationId xmlns:a16="http://schemas.microsoft.com/office/drawing/2014/main" id="{D86680B1-A8DF-4A71-B2E4-C8CCB4FE0677}"/>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9" name="Group 84">
                <a:extLst>
                  <a:ext uri="{FF2B5EF4-FFF2-40B4-BE49-F238E27FC236}">
                    <a16:creationId xmlns:a16="http://schemas.microsoft.com/office/drawing/2014/main" id="{69887E4A-2462-4530-9138-4BC6EFEDE3CF}"/>
                  </a:ext>
                </a:extLst>
              </p:cNvPr>
              <p:cNvGrpSpPr/>
              <p:nvPr/>
            </p:nvGrpSpPr>
            <p:grpSpPr>
              <a:xfrm>
                <a:off x="6354763" y="5167122"/>
                <a:ext cx="344143" cy="344143"/>
                <a:chOff x="12510166" y="1289683"/>
                <a:chExt cx="685799" cy="685799"/>
              </a:xfrm>
            </p:grpSpPr>
            <p:sp>
              <p:nvSpPr>
                <p:cNvPr id="100" name="Oval 42">
                  <a:extLst>
                    <a:ext uri="{FF2B5EF4-FFF2-40B4-BE49-F238E27FC236}">
                      <a16:creationId xmlns:a16="http://schemas.microsoft.com/office/drawing/2014/main" id="{955C9D46-168E-4C8C-AD62-A539E4620AC4}"/>
                    </a:ext>
                  </a:extLst>
                </p:cNvPr>
                <p:cNvSpPr/>
                <p:nvPr/>
              </p:nvSpPr>
              <p:spPr bwMode="auto">
                <a:xfrm>
                  <a:off x="12510166" y="1289683"/>
                  <a:ext cx="685799" cy="68579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61">
                  <a:extLst>
                    <a:ext uri="{FF2B5EF4-FFF2-40B4-BE49-F238E27FC236}">
                      <a16:creationId xmlns:a16="http://schemas.microsoft.com/office/drawing/2014/main" id="{78713230-3A9F-4EFC-8766-6109D9236B88}"/>
                    </a:ext>
                  </a:extLst>
                </p:cNvPr>
                <p:cNvGrpSpPr/>
                <p:nvPr/>
              </p:nvGrpSpPr>
              <p:grpSpPr>
                <a:xfrm>
                  <a:off x="12688064" y="1458670"/>
                  <a:ext cx="330003" cy="347825"/>
                  <a:chOff x="5084670" y="6673208"/>
                  <a:chExt cx="2733675" cy="2881313"/>
                </a:xfrm>
              </p:grpSpPr>
              <p:sp>
                <p:nvSpPr>
                  <p:cNvPr id="102" name="Freeform: Shape 101">
                    <a:extLst>
                      <a:ext uri="{FF2B5EF4-FFF2-40B4-BE49-F238E27FC236}">
                        <a16:creationId xmlns:a16="http://schemas.microsoft.com/office/drawing/2014/main" id="{B10B0559-F160-469C-81F0-2CDF97EB0F3F}"/>
                      </a:ext>
                    </a:extLst>
                  </p:cNvPr>
                  <p:cNvSpPr/>
                  <p:nvPr/>
                </p:nvSpPr>
                <p:spPr>
                  <a:xfrm>
                    <a:off x="5774280" y="6673208"/>
                    <a:ext cx="1352550" cy="1362075"/>
                  </a:xfrm>
                  <a:custGeom>
                    <a:avLst/>
                    <a:gdLst>
                      <a:gd name="connsiteX0" fmla="*/ 676751 w 1352550"/>
                      <a:gd name="connsiteY0" fmla="*/ 1363504 h 1362075"/>
                      <a:gd name="connsiteX1" fmla="*/ 7144 w 1352550"/>
                      <a:gd name="connsiteY1" fmla="*/ 685324 h 1362075"/>
                      <a:gd name="connsiteX2" fmla="*/ 676751 w 1352550"/>
                      <a:gd name="connsiteY2" fmla="*/ 7144 h 1362075"/>
                      <a:gd name="connsiteX3" fmla="*/ 1346359 w 1352550"/>
                      <a:gd name="connsiteY3" fmla="*/ 685324 h 1362075"/>
                      <a:gd name="connsiteX4" fmla="*/ 676751 w 1352550"/>
                      <a:gd name="connsiteY4" fmla="*/ 1363504 h 1362075"/>
                      <a:gd name="connsiteX5" fmla="*/ 676751 w 1352550"/>
                      <a:gd name="connsiteY5" fmla="*/ 1363504 h 1362075"/>
                      <a:gd name="connsiteX6" fmla="*/ 676751 w 1352550"/>
                      <a:gd name="connsiteY6" fmla="*/ 1363504 h 1362075"/>
                      <a:gd name="connsiteX7" fmla="*/ 676751 w 1352550"/>
                      <a:gd name="connsiteY7" fmla="*/ 1363504 h 1362075"/>
                      <a:gd name="connsiteX8" fmla="*/ 676751 w 1352550"/>
                      <a:gd name="connsiteY8" fmla="*/ 1363504 h 1362075"/>
                      <a:gd name="connsiteX9" fmla="*/ 676751 w 1352550"/>
                      <a:gd name="connsiteY9" fmla="*/ 1363504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2550" h="1362075">
                        <a:moveTo>
                          <a:pt x="676751" y="1363504"/>
                        </a:moveTo>
                        <a:cubicBezTo>
                          <a:pt x="307181" y="1363504"/>
                          <a:pt x="7144" y="1059656"/>
                          <a:pt x="7144" y="685324"/>
                        </a:cubicBezTo>
                        <a:cubicBezTo>
                          <a:pt x="7144" y="310991"/>
                          <a:pt x="307181" y="7144"/>
                          <a:pt x="676751" y="7144"/>
                        </a:cubicBezTo>
                        <a:cubicBezTo>
                          <a:pt x="1046321" y="7144"/>
                          <a:pt x="1346359" y="310991"/>
                          <a:pt x="1346359" y="685324"/>
                        </a:cubicBezTo>
                        <a:cubicBezTo>
                          <a:pt x="1346359" y="1059656"/>
                          <a:pt x="1046321" y="1363504"/>
                          <a:pt x="676751" y="1363504"/>
                        </a:cubicBezTo>
                        <a:lnTo>
                          <a:pt x="676751" y="1363504"/>
                        </a:lnTo>
                        <a:lnTo>
                          <a:pt x="676751" y="1363504"/>
                        </a:lnTo>
                        <a:lnTo>
                          <a:pt x="676751" y="1363504"/>
                        </a:lnTo>
                        <a:lnTo>
                          <a:pt x="676751" y="1363504"/>
                        </a:lnTo>
                        <a:lnTo>
                          <a:pt x="676751" y="1363504"/>
                        </a:lnTo>
                        <a:close/>
                      </a:path>
                    </a:pathLst>
                  </a:custGeom>
                  <a:solidFill>
                    <a:schemeClr val="accent3"/>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3" name="Freeform: Shape 102">
                    <a:extLst>
                      <a:ext uri="{FF2B5EF4-FFF2-40B4-BE49-F238E27FC236}">
                        <a16:creationId xmlns:a16="http://schemas.microsoft.com/office/drawing/2014/main" id="{0B77E7AA-FB93-4130-9E66-6435379AF6C9}"/>
                      </a:ext>
                    </a:extLst>
                  </p:cNvPr>
                  <p:cNvSpPr/>
                  <p:nvPr/>
                </p:nvSpPr>
                <p:spPr>
                  <a:xfrm>
                    <a:off x="5084670" y="8040046"/>
                    <a:ext cx="2733675" cy="1514475"/>
                  </a:xfrm>
                  <a:custGeom>
                    <a:avLst/>
                    <a:gdLst>
                      <a:gd name="connsiteX0" fmla="*/ 2616042 w 2733675"/>
                      <a:gd name="connsiteY0" fmla="*/ 591979 h 1514475"/>
                      <a:gd name="connsiteX1" fmla="*/ 2338864 w 2733675"/>
                      <a:gd name="connsiteY1" fmla="*/ 135731 h 1514475"/>
                      <a:gd name="connsiteX2" fmla="*/ 2015967 w 2733675"/>
                      <a:gd name="connsiteY2" fmla="*/ 7144 h 1514475"/>
                      <a:gd name="connsiteX3" fmla="*/ 1889284 w 2733675"/>
                      <a:gd name="connsiteY3" fmla="*/ 65246 h 1514475"/>
                      <a:gd name="connsiteX4" fmla="*/ 1866424 w 2733675"/>
                      <a:gd name="connsiteY4" fmla="*/ 89059 h 1514475"/>
                      <a:gd name="connsiteX5" fmla="*/ 1370171 w 2733675"/>
                      <a:gd name="connsiteY5" fmla="*/ 275749 h 1514475"/>
                      <a:gd name="connsiteX6" fmla="*/ 1370171 w 2733675"/>
                      <a:gd name="connsiteY6" fmla="*/ 275749 h 1514475"/>
                      <a:gd name="connsiteX7" fmla="*/ 1369219 w 2733675"/>
                      <a:gd name="connsiteY7" fmla="*/ 275749 h 1514475"/>
                      <a:gd name="connsiteX8" fmla="*/ 1368267 w 2733675"/>
                      <a:gd name="connsiteY8" fmla="*/ 275749 h 1514475"/>
                      <a:gd name="connsiteX9" fmla="*/ 1368267 w 2733675"/>
                      <a:gd name="connsiteY9" fmla="*/ 275749 h 1514475"/>
                      <a:gd name="connsiteX10" fmla="*/ 872014 w 2733675"/>
                      <a:gd name="connsiteY10" fmla="*/ 89059 h 1514475"/>
                      <a:gd name="connsiteX11" fmla="*/ 849154 w 2733675"/>
                      <a:gd name="connsiteY11" fmla="*/ 65246 h 1514475"/>
                      <a:gd name="connsiteX12" fmla="*/ 722471 w 2733675"/>
                      <a:gd name="connsiteY12" fmla="*/ 7144 h 1514475"/>
                      <a:gd name="connsiteX13" fmla="*/ 399574 w 2733675"/>
                      <a:gd name="connsiteY13" fmla="*/ 135731 h 1514475"/>
                      <a:gd name="connsiteX14" fmla="*/ 122396 w 2733675"/>
                      <a:gd name="connsiteY14" fmla="*/ 591979 h 1514475"/>
                      <a:gd name="connsiteX15" fmla="*/ 7144 w 2733675"/>
                      <a:gd name="connsiteY15" fmla="*/ 1514951 h 1514475"/>
                      <a:gd name="connsiteX16" fmla="*/ 1369219 w 2733675"/>
                      <a:gd name="connsiteY16" fmla="*/ 1514951 h 1514475"/>
                      <a:gd name="connsiteX17" fmla="*/ 1372076 w 2733675"/>
                      <a:gd name="connsiteY17" fmla="*/ 1514951 h 1514475"/>
                      <a:gd name="connsiteX18" fmla="*/ 2734151 w 2733675"/>
                      <a:gd name="connsiteY18" fmla="*/ 1514951 h 1514475"/>
                      <a:gd name="connsiteX19" fmla="*/ 2616042 w 2733675"/>
                      <a:gd name="connsiteY19" fmla="*/ 59197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3675" h="1514475">
                        <a:moveTo>
                          <a:pt x="2616042" y="591979"/>
                        </a:moveTo>
                        <a:cubicBezTo>
                          <a:pt x="2557939" y="358616"/>
                          <a:pt x="2512219" y="217646"/>
                          <a:pt x="2338864" y="135731"/>
                        </a:cubicBezTo>
                        <a:cubicBezTo>
                          <a:pt x="2165509" y="42386"/>
                          <a:pt x="2073117" y="7144"/>
                          <a:pt x="2015967" y="7144"/>
                        </a:cubicBezTo>
                        <a:cubicBezTo>
                          <a:pt x="1957864" y="7144"/>
                          <a:pt x="1923574" y="30956"/>
                          <a:pt x="1889284" y="65246"/>
                        </a:cubicBezTo>
                        <a:cubicBezTo>
                          <a:pt x="1877854" y="65246"/>
                          <a:pt x="1877854" y="76676"/>
                          <a:pt x="1866424" y="89059"/>
                        </a:cubicBezTo>
                        <a:cubicBezTo>
                          <a:pt x="1704499" y="241459"/>
                          <a:pt x="1532096" y="275749"/>
                          <a:pt x="1370171" y="275749"/>
                        </a:cubicBezTo>
                        <a:lnTo>
                          <a:pt x="1370171" y="275749"/>
                        </a:lnTo>
                        <a:cubicBezTo>
                          <a:pt x="1370171" y="275749"/>
                          <a:pt x="1369219" y="275749"/>
                          <a:pt x="1369219" y="275749"/>
                        </a:cubicBezTo>
                        <a:cubicBezTo>
                          <a:pt x="1369219" y="275749"/>
                          <a:pt x="1368267" y="275749"/>
                          <a:pt x="1368267" y="275749"/>
                        </a:cubicBezTo>
                        <a:lnTo>
                          <a:pt x="1368267" y="275749"/>
                        </a:lnTo>
                        <a:cubicBezTo>
                          <a:pt x="1206341" y="275749"/>
                          <a:pt x="1033939" y="240506"/>
                          <a:pt x="872014" y="89059"/>
                        </a:cubicBezTo>
                        <a:cubicBezTo>
                          <a:pt x="860584" y="77629"/>
                          <a:pt x="860584" y="65246"/>
                          <a:pt x="849154" y="65246"/>
                        </a:cubicBezTo>
                        <a:cubicBezTo>
                          <a:pt x="814864" y="30004"/>
                          <a:pt x="779621" y="7144"/>
                          <a:pt x="722471" y="7144"/>
                        </a:cubicBezTo>
                        <a:cubicBezTo>
                          <a:pt x="664369" y="7144"/>
                          <a:pt x="571976" y="42386"/>
                          <a:pt x="399574" y="135731"/>
                        </a:cubicBezTo>
                        <a:cubicBezTo>
                          <a:pt x="226219" y="217646"/>
                          <a:pt x="180499" y="357664"/>
                          <a:pt x="122396" y="591979"/>
                        </a:cubicBezTo>
                        <a:cubicBezTo>
                          <a:pt x="76676" y="802481"/>
                          <a:pt x="30004" y="1281589"/>
                          <a:pt x="7144" y="1514951"/>
                        </a:cubicBezTo>
                        <a:lnTo>
                          <a:pt x="1369219" y="1514951"/>
                        </a:lnTo>
                        <a:lnTo>
                          <a:pt x="1372076" y="1514951"/>
                        </a:lnTo>
                        <a:lnTo>
                          <a:pt x="2734151" y="1514951"/>
                        </a:lnTo>
                        <a:cubicBezTo>
                          <a:pt x="2708434" y="1281589"/>
                          <a:pt x="2661761" y="801529"/>
                          <a:pt x="2616042" y="591979"/>
                        </a:cubicBezTo>
                        <a:close/>
                      </a:path>
                    </a:pathLst>
                  </a:custGeom>
                  <a:solidFill>
                    <a:srgbClr val="00E7C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grpSp>
        <p:nvGrpSpPr>
          <p:cNvPr id="108" name="Group 13">
            <a:extLst>
              <a:ext uri="{FF2B5EF4-FFF2-40B4-BE49-F238E27FC236}">
                <a16:creationId xmlns:a16="http://schemas.microsoft.com/office/drawing/2014/main" id="{752BEC5B-AEB9-4819-BB10-90971687E391}"/>
              </a:ext>
            </a:extLst>
          </p:cNvPr>
          <p:cNvGrpSpPr/>
          <p:nvPr/>
        </p:nvGrpSpPr>
        <p:grpSpPr>
          <a:xfrm>
            <a:off x="6134100" y="1398616"/>
            <a:ext cx="5600700" cy="4837176"/>
            <a:chOff x="6134100" y="1398616"/>
            <a:chExt cx="5600700" cy="5053134"/>
          </a:xfrm>
        </p:grpSpPr>
        <p:sp>
          <p:nvSpPr>
            <p:cNvPr id="109" name="Rectangle 7">
              <a:extLst>
                <a:ext uri="{FF2B5EF4-FFF2-40B4-BE49-F238E27FC236}">
                  <a16:creationId xmlns:a16="http://schemas.microsoft.com/office/drawing/2014/main" id="{19CB2824-5C03-431D-AA73-0CB2E7BC1312}"/>
                </a:ext>
              </a:extLst>
            </p:cNvPr>
            <p:cNvSpPr/>
            <p:nvPr/>
          </p:nvSpPr>
          <p:spPr bwMode="auto">
            <a:xfrm>
              <a:off x="6134100" y="1398616"/>
              <a:ext cx="5600700" cy="505313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36">
              <a:extLst>
                <a:ext uri="{FF2B5EF4-FFF2-40B4-BE49-F238E27FC236}">
                  <a16:creationId xmlns:a16="http://schemas.microsoft.com/office/drawing/2014/main" id="{9ED85A0D-3876-48AF-B652-5A801DD72119}"/>
                </a:ext>
              </a:extLst>
            </p:cNvPr>
            <p:cNvSpPr/>
            <p:nvPr/>
          </p:nvSpPr>
          <p:spPr bwMode="auto">
            <a:xfrm>
              <a:off x="11432729" y="6047191"/>
              <a:ext cx="302071" cy="4045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91440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914400" y="0"/>
                  </a:moveTo>
                  <a:lnTo>
                    <a:pt x="914400" y="914400"/>
                  </a:lnTo>
                  <a:lnTo>
                    <a:pt x="0" y="91440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37">
              <a:extLst>
                <a:ext uri="{FF2B5EF4-FFF2-40B4-BE49-F238E27FC236}">
                  <a16:creationId xmlns:a16="http://schemas.microsoft.com/office/drawing/2014/main" id="{14ADF17D-080E-4FE3-92D8-B65BD4B50D9D}"/>
                </a:ext>
              </a:extLst>
            </p:cNvPr>
            <p:cNvSpPr/>
            <p:nvPr/>
          </p:nvSpPr>
          <p:spPr bwMode="auto">
            <a:xfrm>
              <a:off x="6134100" y="1398616"/>
              <a:ext cx="308898" cy="41472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254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124312217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br>
              <a:rPr lang="en-US" sz="2800" dirty="0">
                <a:cs typeface="Segoe UI"/>
              </a:rPr>
            </a:br>
            <a:r>
              <a:rPr lang="en-US" sz="2800" dirty="0">
                <a:cs typeface="Segoe UI"/>
              </a:rPr>
              <a:t>Lab 10: Style &amp; the sound of conversation</a:t>
            </a:r>
          </a:p>
        </p:txBody>
      </p:sp>
    </p:spTree>
    <p:extLst>
      <p:ext uri="{BB962C8B-B14F-4D97-AF65-F5344CB8AC3E}">
        <p14:creationId xmlns:p14="http://schemas.microsoft.com/office/powerpoint/2010/main" val="282351483"/>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E135-7B00-40AC-87DB-F157B2A298F1}"/>
              </a:ext>
            </a:extLst>
          </p:cNvPr>
          <p:cNvSpPr>
            <a:spLocks noGrp="1"/>
          </p:cNvSpPr>
          <p:nvPr>
            <p:ph type="title"/>
          </p:nvPr>
        </p:nvSpPr>
        <p:spPr/>
        <p:txBody>
          <a:bodyPr/>
          <a:lstStyle/>
          <a:p>
            <a:r>
              <a:rPr lang="en-US"/>
              <a:t>Instructions</a:t>
            </a:r>
            <a:endParaRPr lang="en-IN"/>
          </a:p>
        </p:txBody>
      </p:sp>
      <p:sp>
        <p:nvSpPr>
          <p:cNvPr id="6" name="Text Placeholder 5">
            <a:extLst>
              <a:ext uri="{FF2B5EF4-FFF2-40B4-BE49-F238E27FC236}">
                <a16:creationId xmlns:a16="http://schemas.microsoft.com/office/drawing/2014/main" id="{9E84C885-3693-483F-AEB4-86A01F8099F5}"/>
              </a:ext>
            </a:extLst>
          </p:cNvPr>
          <p:cNvSpPr>
            <a:spLocks noGrp="1"/>
          </p:cNvSpPr>
          <p:nvPr>
            <p:ph type="body" sz="quarter" idx="4294967295"/>
          </p:nvPr>
        </p:nvSpPr>
        <p:spPr>
          <a:xfrm>
            <a:off x="509154" y="1746250"/>
            <a:ext cx="3898900" cy="2031325"/>
          </a:xfrm>
        </p:spPr>
        <p:txBody>
          <a:bodyPr vert="horz" wrap="square" lIns="0" tIns="91440" rIns="146304" bIns="91440" rtlCol="0" anchor="t">
            <a:spAutoFit/>
          </a:bodyPr>
          <a:lstStyle/>
          <a:p>
            <a:r>
              <a:rPr lang="en-US" sz="2000" spc="0"/>
              <a:t>In this session, go through the writing tips and see how the example for each was revised using conversation design principles that you just learned</a:t>
            </a:r>
          </a:p>
          <a:p>
            <a:endParaRPr lang="en-US" sz="2000" spc="0"/>
          </a:p>
        </p:txBody>
      </p:sp>
    </p:spTree>
    <p:extLst>
      <p:ext uri="{BB962C8B-B14F-4D97-AF65-F5344CB8AC3E}">
        <p14:creationId xmlns:p14="http://schemas.microsoft.com/office/powerpoint/2010/main" val="1618929033"/>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a:t>Tips</a:t>
            </a:r>
          </a:p>
        </p:txBody>
      </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extLst>
              <p:ext uri="{D42A27DB-BD31-4B8C-83A1-F6EECF244321}">
                <p14:modId xmlns:p14="http://schemas.microsoft.com/office/powerpoint/2010/main" val="2585290108"/>
              </p:ext>
            </p:extLst>
          </p:nvPr>
        </p:nvGraphicFramePr>
        <p:xfrm>
          <a:off x="457200" y="3429000"/>
          <a:ext cx="11277600" cy="1081356"/>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r>
                        <a:rPr lang="en-US" sz="1800" kern="1200">
                          <a:solidFill>
                            <a:schemeClr val="tx1"/>
                          </a:solidFill>
                          <a:latin typeface="Segoe UI"/>
                          <a:ea typeface="+mn-ea"/>
                          <a:cs typeface="Segoe UI"/>
                        </a:rPr>
                        <a:t>Invalid ID</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u="sng">
                        <a:solidFill>
                          <a:srgbClr val="0076FF"/>
                        </a:solidFill>
                        <a:latin typeface="Segoe UI"/>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a:latin typeface="Segoe UI Semibold" panose="020B0702040204020203" pitchFamily="34" charset="0"/>
                <a:cs typeface="Segoe UI Semibold" panose="020B0702040204020203" pitchFamily="34" charset="0"/>
              </a:rPr>
              <a:t>Write like you speak</a:t>
            </a:r>
          </a:p>
          <a:p>
            <a:pPr>
              <a:spcAft>
                <a:spcPts val="600"/>
              </a:spcAft>
            </a:pPr>
            <a:r>
              <a:rPr lang="en-US" sz="1800" spc="0">
                <a:latin typeface="Segoe UI" panose="020B0502040204020203" pitchFamily="34" charset="0"/>
                <a:cs typeface="Segoe UI" panose="020B0502040204020203" pitchFamily="34" charset="0"/>
              </a:rPr>
              <a:t>Read your text aloud. Does it sound like something a real person would say? Be friendly and conversational. No. Robot. Words</a:t>
            </a:r>
          </a:p>
        </p:txBody>
      </p:sp>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1</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3" name="TextBox 2">
            <a:extLst>
              <a:ext uri="{FF2B5EF4-FFF2-40B4-BE49-F238E27FC236}">
                <a16:creationId xmlns:a16="http://schemas.microsoft.com/office/drawing/2014/main" id="{297CCD2F-4FFC-4862-93FF-E902150B6111}"/>
              </a:ext>
            </a:extLst>
          </p:cNvPr>
          <p:cNvSpPr txBox="1"/>
          <p:nvPr/>
        </p:nvSpPr>
        <p:spPr>
          <a:xfrm>
            <a:off x="5996803" y="3794092"/>
            <a:ext cx="5262282" cy="849463"/>
          </a:xfrm>
          <a:prstGeom prst="rect">
            <a:avLst/>
          </a:prstGeom>
          <a:noFill/>
        </p:spPr>
        <p:txBody>
          <a:bodyPr wrap="square" lIns="182880" tIns="146304" rIns="182880" bIns="146304" rtlCol="0">
            <a:spAutoFit/>
          </a:bodyPr>
          <a:lstStyle/>
          <a:p>
            <a:r>
              <a:rPr lang="en-US" sz="1800">
                <a:cs typeface="Segoe UI"/>
              </a:rPr>
              <a:t>You need an ID that looks like this: </a:t>
            </a:r>
            <a:r>
              <a:rPr lang="en-US" sz="1800" u="sng">
                <a:solidFill>
                  <a:schemeClr val="tx2"/>
                </a:solidFill>
                <a:cs typeface="Segoe UI"/>
              </a:rPr>
              <a:t>someone@example.com</a:t>
            </a:r>
          </a:p>
        </p:txBody>
      </p:sp>
    </p:spTree>
    <p:extLst>
      <p:ext uri="{BB962C8B-B14F-4D97-AF65-F5344CB8AC3E}">
        <p14:creationId xmlns:p14="http://schemas.microsoft.com/office/powerpoint/2010/main" val="2331720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a:t>Tips</a:t>
            </a:r>
          </a:p>
        </p:txBody>
      </p:sp>
      <p:graphicFrame>
        <p:nvGraphicFramePr>
          <p:cNvPr id="11" name="Table 11">
            <a:extLst>
              <a:ext uri="{FF2B5EF4-FFF2-40B4-BE49-F238E27FC236}">
                <a16:creationId xmlns:a16="http://schemas.microsoft.com/office/drawing/2014/main" id="{3C4C1771-1F05-4986-B904-ACA4CE58868B}"/>
              </a:ext>
            </a:extLst>
          </p:cNvPr>
          <p:cNvGraphicFramePr>
            <a:graphicFrameLocks noGrp="1"/>
          </p:cNvGraphicFramePr>
          <p:nvPr>
            <p:extLst>
              <p:ext uri="{D42A27DB-BD31-4B8C-83A1-F6EECF244321}">
                <p14:modId xmlns:p14="http://schemas.microsoft.com/office/powerpoint/2010/main" val="198556217"/>
              </p:ext>
            </p:extLst>
          </p:nvPr>
        </p:nvGraphicFramePr>
        <p:xfrm>
          <a:off x="457200" y="3231118"/>
          <a:ext cx="11277600" cy="1276564"/>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348722">
                <a:tc>
                  <a:txBody>
                    <a:bodyPr/>
                    <a:lstStyle/>
                    <a:p>
                      <a:r>
                        <a:rPr lang="en-US" sz="1800" b="0">
                          <a:solidFill>
                            <a:schemeClr val="bg1"/>
                          </a:solidFill>
                          <a:latin typeface="Segoe UI Semibold" panose="020B0702040204020203" pitchFamily="34" charset="0"/>
                          <a:cs typeface="Segoe UI Semibold" panose="020B0702040204020203" pitchFamily="34" charset="0"/>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panose="020B0702040204020203" pitchFamily="34" charset="0"/>
                          <a:cs typeface="Segoe UI Semibold" panose="020B0702040204020203" pitchFamily="34" charset="0"/>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348722">
                <a:tc>
                  <a:txBody>
                    <a:bodyPr/>
                    <a:lstStyle/>
                    <a:p>
                      <a:r>
                        <a:rPr lang="en-US" sz="1800" kern="1200">
                          <a:solidFill>
                            <a:schemeClr val="tx1"/>
                          </a:solidFill>
                          <a:effectLst/>
                          <a:latin typeface="Segoe UI" panose="020B0502040204020203" pitchFamily="34" charset="0"/>
                          <a:ea typeface="+mn-ea"/>
                          <a:cs typeface="Segoe UI" panose="020B0502040204020203" pitchFamily="34" charset="0"/>
                        </a:rPr>
                        <a:t>If you're ready to purchase Office 365 for your organization, contact your Microsoft account representative</a:t>
                      </a:r>
                      <a:endParaRPr lang="en-US" sz="1800" kern="1200">
                        <a:solidFill>
                          <a:schemeClr val="tx1"/>
                        </a:solidFill>
                        <a:latin typeface="Segoe UI" panose="020B0502040204020203" pitchFamily="34" charset="0"/>
                        <a:ea typeface="+mn-ea"/>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a:solidFill>
                          <a:schemeClr val="tx1"/>
                        </a:solidFill>
                        <a:latin typeface="Segoe UI" panose="020B0502040204020203" pitchFamily="34" charset="0"/>
                        <a:cs typeface="Segoe UI" panose="020B0502040204020203" pitchFamily="34" charset="0"/>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grpSp>
        <p:nvGrpSpPr>
          <p:cNvPr id="23" name="Group 55">
            <a:extLst>
              <a:ext uri="{FF2B5EF4-FFF2-40B4-BE49-F238E27FC236}">
                <a16:creationId xmlns:a16="http://schemas.microsoft.com/office/drawing/2014/main" id="{53BE09A8-F3FD-43ED-B2C6-53C33B3F4C86}"/>
              </a:ext>
            </a:extLst>
          </p:cNvPr>
          <p:cNvGrpSpPr/>
          <p:nvPr/>
        </p:nvGrpSpPr>
        <p:grpSpPr>
          <a:xfrm>
            <a:off x="455995" y="1312525"/>
            <a:ext cx="753701" cy="1405275"/>
            <a:chOff x="1002528" y="4091826"/>
            <a:chExt cx="1007246" cy="1878011"/>
          </a:xfrm>
        </p:grpSpPr>
        <p:sp>
          <p:nvSpPr>
            <p:cNvPr id="24" name="Oval 39">
              <a:extLst>
                <a:ext uri="{FF2B5EF4-FFF2-40B4-BE49-F238E27FC236}">
                  <a16:creationId xmlns:a16="http://schemas.microsoft.com/office/drawing/2014/main" id="{67459FD9-830D-4F5A-85E0-C8611DECFE5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2</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25" name="Group 24">
              <a:extLst>
                <a:ext uri="{FF2B5EF4-FFF2-40B4-BE49-F238E27FC236}">
                  <a16:creationId xmlns:a16="http://schemas.microsoft.com/office/drawing/2014/main" id="{F01D1A55-F20B-4F51-82AF-64453D9B669D}"/>
                </a:ext>
              </a:extLst>
            </p:cNvPr>
            <p:cNvGrpSpPr/>
            <p:nvPr/>
          </p:nvGrpSpPr>
          <p:grpSpPr>
            <a:xfrm>
              <a:off x="1002528" y="4091826"/>
              <a:ext cx="1007246" cy="1878011"/>
              <a:chOff x="2998563" y="3863657"/>
              <a:chExt cx="1007246" cy="1878011"/>
            </a:xfrm>
          </p:grpSpPr>
          <p:sp>
            <p:nvSpPr>
              <p:cNvPr id="26" name="Partial Circle 20">
                <a:extLst>
                  <a:ext uri="{FF2B5EF4-FFF2-40B4-BE49-F238E27FC236}">
                    <a16:creationId xmlns:a16="http://schemas.microsoft.com/office/drawing/2014/main" id="{BCE33930-4B3E-4146-ABC1-DFD2A28761FE}"/>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93566F73-C224-4EBD-9B36-8C898BEB2F3D}"/>
                  </a:ext>
                </a:extLst>
              </p:cNvPr>
              <p:cNvCxnSpPr>
                <a:cxnSpLocks/>
                <a:stCxn id="2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29" name="Text Placeholder 7">
            <a:extLst>
              <a:ext uri="{FF2B5EF4-FFF2-40B4-BE49-F238E27FC236}">
                <a16:creationId xmlns:a16="http://schemas.microsoft.com/office/drawing/2014/main" id="{51A4A978-DB94-4252-A2CB-B0674A4A102C}"/>
              </a:ext>
            </a:extLst>
          </p:cNvPr>
          <p:cNvSpPr txBox="1">
            <a:spLocks/>
          </p:cNvSpPr>
          <p:nvPr/>
        </p:nvSpPr>
        <p:spPr>
          <a:xfrm>
            <a:off x="1401619" y="1337685"/>
            <a:ext cx="9985663" cy="1426297"/>
          </a:xfrm>
          <a:prstGeom prst="rect">
            <a:avLst/>
          </a:prstGeom>
        </p:spPr>
        <p:txBody>
          <a:bodyPr vert="horz" wrap="square" lIns="0" tIns="91440" rIns="0" bIns="91440" rtlCol="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Aft>
                <a:spcPts val="600"/>
              </a:spcAft>
              <a:buSzTx/>
            </a:pPr>
            <a:r>
              <a:rPr lang="en-US" sz="2000" spc="0">
                <a:solidFill>
                  <a:srgbClr val="3C3C41"/>
                </a:solidFill>
                <a:latin typeface="Segoe UI Semibold"/>
                <a:cs typeface="Segoe UI Semibold"/>
              </a:rPr>
              <a:t>Use bigger words, fewer ideas</a:t>
            </a:r>
          </a:p>
          <a:p>
            <a:pPr lvl="0">
              <a:spcAft>
                <a:spcPts val="600"/>
              </a:spcAft>
              <a:buSzTx/>
            </a:pPr>
            <a:r>
              <a:rPr lang="en-US" sz="1800" spc="0">
                <a:solidFill>
                  <a:srgbClr val="3C3C41"/>
                </a:solidFill>
                <a:latin typeface="Segoe UI"/>
                <a:cs typeface="Segoe UI"/>
              </a:rPr>
              <a:t>Our modern design hinges on crisp minimalism. Shorter is always better.</a:t>
            </a:r>
            <a:endParaRPr lang="en-US" sz="1800" spc="0">
              <a:solidFill>
                <a:srgbClr val="3C3C41"/>
              </a:solidFill>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D7F13684-4C6A-47EE-ACB9-FD9B3338E348}"/>
              </a:ext>
            </a:extLst>
          </p:cNvPr>
          <p:cNvSpPr txBox="1"/>
          <p:nvPr/>
        </p:nvSpPr>
        <p:spPr>
          <a:xfrm>
            <a:off x="6007100" y="3583168"/>
            <a:ext cx="4322233" cy="572464"/>
          </a:xfrm>
          <a:prstGeom prst="rect">
            <a:avLst/>
          </a:prstGeom>
          <a:noFill/>
        </p:spPr>
        <p:txBody>
          <a:bodyPr wrap="square" lIns="182880" tIns="146304" rIns="182880" bIns="146304" rtlCol="0">
            <a:spAutoFit/>
          </a:bodyPr>
          <a:lstStyle/>
          <a:p>
            <a:r>
              <a:rPr lang="en-US" sz="1800">
                <a:latin typeface="Segoe UI" panose="020B0502040204020203" pitchFamily="34" charset="0"/>
                <a:cs typeface="Segoe UI" panose="020B0502040204020203" pitchFamily="34" charset="0"/>
              </a:rPr>
              <a:t>Ready to buy? Contact us</a:t>
            </a:r>
          </a:p>
        </p:txBody>
      </p:sp>
    </p:spTree>
    <p:extLst>
      <p:ext uri="{BB962C8B-B14F-4D97-AF65-F5344CB8AC3E}">
        <p14:creationId xmlns:p14="http://schemas.microsoft.com/office/powerpoint/2010/main" val="13805958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BJVQBnBhYB1T8fx820eg"/>
</p:tagLst>
</file>

<file path=ppt/theme/theme1.xml><?xml version="1.0" encoding="utf-8"?>
<a:theme xmlns:a="http://schemas.openxmlformats.org/drawingml/2006/main" name="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670f2bc3-833b-4a76-b13f-f7d6db0b8f4d" xsi:nil="true"/>
    <SharedWithUsers xmlns="80b0474e-37b4-4751-81bc-12d5121181de">
      <UserInfo>
        <DisplayName/>
        <AccountId xsi:nil="true"/>
        <AccountType/>
      </UserInfo>
    </SharedWithUsers>
    <_Flow_SignoffStatus xmlns="670f2bc3-833b-4a76-b13f-f7d6db0b8f4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23F0DE61C01647AADD57BC023588A4" ma:contentTypeVersion="17" ma:contentTypeDescription="Create a new document." ma:contentTypeScope="" ma:versionID="38df2116981f44046ab73e9e5ad83409">
  <xsd:schema xmlns:xsd="http://www.w3.org/2001/XMLSchema" xmlns:xs="http://www.w3.org/2001/XMLSchema" xmlns:p="http://schemas.microsoft.com/office/2006/metadata/properties" xmlns:ns1="http://schemas.microsoft.com/sharepoint/v3" xmlns:ns2="80b0474e-37b4-4751-81bc-12d5121181de" xmlns:ns3="670f2bc3-833b-4a76-b13f-f7d6db0b8f4d" targetNamespace="http://schemas.microsoft.com/office/2006/metadata/properties" ma:root="true" ma:fieldsID="9da459cfe8bc12436f1cd88c83132d06" ns1:_="" ns2:_="" ns3:_="">
    <xsd:import namespace="http://schemas.microsoft.com/sharepoint/v3"/>
    <xsd:import namespace="80b0474e-37b4-4751-81bc-12d5121181de"/>
    <xsd:import namespace="670f2bc3-833b-4a76-b13f-f7d6db0b8f4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3:_Flow_SignoffStatus" minOccurs="0"/>
                <xsd:element ref="ns3:MediaServiceEventHashCode" minOccurs="0"/>
                <xsd:element ref="ns3:MediaServiceGenerationTim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b0474e-37b4-4751-81bc-12d5121181d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70f2bc3-833b-4a76-b13f-f7d6db0b8f4d"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_Flow_SignoffStatus" ma:index="18" nillable="true" ma:displayName="Sign-off status" ma:internalName="_x0024_Resources_x003a_core_x002c_Signoff_Status_x003b_">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670f2bc3-833b-4a76-b13f-f7d6db0b8f4d"/>
    <ds:schemaRef ds:uri="80b0474e-37b4-4751-81bc-12d5121181de"/>
  </ds:schemaRefs>
</ds:datastoreItem>
</file>

<file path=customXml/itemProps3.xml><?xml version="1.0" encoding="utf-8"?>
<ds:datastoreItem xmlns:ds="http://schemas.openxmlformats.org/officeDocument/2006/customXml" ds:itemID="{375E5DC8-E260-4D78-A064-E1BE357806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0b0474e-37b4-4751-81bc-12d5121181de"/>
    <ds:schemaRef ds:uri="670f2bc3-833b-4a76-b13f-f7d6db0b8f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55</TotalTime>
  <Words>9189</Words>
  <Application>Microsoft Office PowerPoint</Application>
  <PresentationFormat>Widescreen</PresentationFormat>
  <Paragraphs>1391</Paragraphs>
  <Slides>122</Slides>
  <Notes>88</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2</vt:i4>
      </vt:variant>
    </vt:vector>
  </HeadingPairs>
  <TitlesOfParts>
    <vt:vector size="133" baseType="lpstr">
      <vt:lpstr>Full MDL2 Assets</vt:lpstr>
      <vt:lpstr>Segoe</vt:lpstr>
      <vt:lpstr>Arial</vt:lpstr>
      <vt:lpstr>Calibri</vt:lpstr>
      <vt:lpstr>Segoe UI</vt:lpstr>
      <vt:lpstr>Segoe UI Light</vt:lpstr>
      <vt:lpstr>Segoe UI Semibold</vt:lpstr>
      <vt:lpstr>Segoe UI Semilight</vt:lpstr>
      <vt:lpstr>Wingdings</vt:lpstr>
      <vt:lpstr>Dynamics 365</vt:lpstr>
      <vt:lpstr>think-cell Slide</vt:lpstr>
      <vt:lpstr>Power Virtual Agents in a Day </vt:lpstr>
      <vt:lpstr>Agenda</vt:lpstr>
      <vt:lpstr>PowerPoint Presentation</vt:lpstr>
      <vt:lpstr>Empower your people to drive more business value through easy to create natural, conversational AI</vt:lpstr>
      <vt:lpstr>Microsoft Power Platform</vt:lpstr>
      <vt:lpstr>Complex challenges</vt:lpstr>
      <vt:lpstr>Chat bots can help, but…</vt:lpstr>
      <vt:lpstr>OUR VISION Power Virtual Agents</vt:lpstr>
      <vt:lpstr>Power Virtual Agents is designed for everyone</vt:lpstr>
      <vt:lpstr>Built on Power Platform &amp; Bot Framework</vt:lpstr>
      <vt:lpstr>SECTION SUMMARY</vt:lpstr>
      <vt:lpstr>       Lab 01: Prerequisites – Create environment and import solution package    </vt:lpstr>
      <vt:lpstr>Build your first virtual agent</vt:lpstr>
      <vt:lpstr>Agenda</vt:lpstr>
      <vt:lpstr>PVA Information Architecture</vt:lpstr>
      <vt:lpstr>Bot Creation Process overview</vt:lpstr>
      <vt:lpstr>Create a New Virtual Agent</vt:lpstr>
      <vt:lpstr>View Topics </vt:lpstr>
      <vt:lpstr>Add Conversational trigger phrases</vt:lpstr>
      <vt:lpstr>Open the authoring canvas and begin editing a topic</vt:lpstr>
      <vt:lpstr>Test your topic as you construct it</vt:lpstr>
      <vt:lpstr>Publish to demo website</vt:lpstr>
      <vt:lpstr>Enhance Your Virtual Agent From Analytics</vt:lpstr>
      <vt:lpstr>SECTION SUMMARY</vt:lpstr>
      <vt:lpstr>       Lab 02: Build your first Virtual Agent </vt:lpstr>
      <vt:lpstr>Create topics from existing webpages</vt:lpstr>
      <vt:lpstr>Agenda</vt:lpstr>
      <vt:lpstr>Let Microsoft AI Offer you Suggested FAQ Chatbot Topics </vt:lpstr>
      <vt:lpstr>       Lab 03: Create topics from existing webpages      </vt:lpstr>
      <vt:lpstr>Enhance Virtual Agent using variables, topic redirections and entities</vt:lpstr>
      <vt:lpstr>Agenda</vt:lpstr>
      <vt:lpstr>Easily create an Intelligent Virtual Agent</vt:lpstr>
      <vt:lpstr>Use variables to navigate customers to tailored content</vt:lpstr>
      <vt:lpstr>Slot-filling capabilities</vt:lpstr>
      <vt:lpstr>Easily re-direct users to related topics</vt:lpstr>
      <vt:lpstr>       Lab 04: Use variables, topic redirections and entities    </vt:lpstr>
      <vt:lpstr>Power Virtual Agents + Power Automate</vt:lpstr>
      <vt:lpstr>Agenda</vt:lpstr>
      <vt:lpstr>Power Automate is an online workflow service that automates actions across apps and services</vt:lpstr>
      <vt:lpstr>A service for automating workflows across apps and services</vt:lpstr>
      <vt:lpstr>Get started with a growing library of templates</vt:lpstr>
      <vt:lpstr>Connectivity &amp; integration </vt:lpstr>
      <vt:lpstr>Efficient and secure data integration and storage</vt:lpstr>
      <vt:lpstr>Unlock your imagination with Power Automate + PVA</vt:lpstr>
      <vt:lpstr>        Lab 05: Add a Power Automate flow     </vt:lpstr>
      <vt:lpstr>Virtual Agent Authentication</vt:lpstr>
      <vt:lpstr>Agenda</vt:lpstr>
      <vt:lpstr>Easily add end-user authentication to your virtual agent</vt:lpstr>
      <vt:lpstr>Configure end-user authentication</vt:lpstr>
      <vt:lpstr>Hand off to support agent– no l Hand off to support agent </vt:lpstr>
      <vt:lpstr>Agenda</vt:lpstr>
      <vt:lpstr>Virtual Agents and Human Agents Enhance Each Other</vt:lpstr>
      <vt:lpstr>Configure and connect a bot to a human</vt:lpstr>
      <vt:lpstr>PowerPoint Presentation</vt:lpstr>
      <vt:lpstr>Virtual agent topic design</vt:lpstr>
      <vt:lpstr>Agenda</vt:lpstr>
      <vt:lpstr>What makes a virtual agent successful?</vt:lpstr>
      <vt:lpstr>Types of conversation topics </vt:lpstr>
      <vt:lpstr>Designing a topic</vt:lpstr>
      <vt:lpstr>        Lab 08: Virtual agent topic design</vt:lpstr>
      <vt:lpstr>Best practices for writing topic trigger phrases</vt:lpstr>
      <vt:lpstr>Agenda</vt:lpstr>
      <vt:lpstr>Trigger phrases – Definition</vt:lpstr>
      <vt:lpstr>Guidelines for better trigger phrase design</vt:lpstr>
      <vt:lpstr>Step 1: Pick a topic</vt:lpstr>
      <vt:lpstr>Step 2: Define the goal for the topic</vt:lpstr>
      <vt:lpstr>Step 3: Create trigger phrases</vt:lpstr>
      <vt:lpstr>Step 4: Review trigger phrases</vt:lpstr>
      <vt:lpstr>PowerPoint Presentation</vt:lpstr>
      <vt:lpstr>PowerPoint Presentation</vt:lpstr>
      <vt:lpstr>Quiz time…  </vt:lpstr>
      <vt:lpstr>Q1: For the topic “Return an item,” please select the best trigger phrase from below:</vt:lpstr>
      <vt:lpstr>Answer: A</vt:lpstr>
      <vt:lpstr>Q2: For the topic “Return an item,” please select the good trigger phrases from below:</vt:lpstr>
      <vt:lpstr>Answer: A, B, C, D</vt:lpstr>
      <vt:lpstr>Q3: For the topic “Return an item,” here is a sentence from real customer chatlogs.</vt:lpstr>
      <vt:lpstr>Answer:</vt:lpstr>
      <vt:lpstr>Q4: For the “Return an item” topic, which trigger phrases below should you include as a start?</vt:lpstr>
      <vt:lpstr>Answer: Any ONE of those trigger phrases works</vt:lpstr>
      <vt:lpstr>Q5: For the topic “My appliance doesn’t work”, please select the best trigger phrase from below:</vt:lpstr>
      <vt:lpstr>Answer: D</vt:lpstr>
      <vt:lpstr>Q6: Below is a sentence from real customer chatlogs. Which topic should we add this trigger phrase to?</vt:lpstr>
      <vt:lpstr>Answer: C</vt:lpstr>
      <vt:lpstr>Virtual Agent conversation styles</vt:lpstr>
      <vt:lpstr>Agenda</vt:lpstr>
      <vt:lpstr>Qualities of a good conversation</vt:lpstr>
      <vt:lpstr>Style: How to sound conversational</vt:lpstr>
      <vt:lpstr>Style: How to sound conversational </vt:lpstr>
      <vt:lpstr>Style: How to sound conversational</vt:lpstr>
      <vt:lpstr>Style: How to sound conversational</vt:lpstr>
      <vt:lpstr>Style: How to sound conversational </vt:lpstr>
      <vt:lpstr>Style: How to sound conversational</vt:lpstr>
      <vt:lpstr>Style: How to sound conversational</vt:lpstr>
      <vt:lpstr>Style: How to sound conversational</vt:lpstr>
      <vt:lpstr>Style: How to sound conversational</vt:lpstr>
      <vt:lpstr>        Lab 10: Style &amp; the sound of conversation</vt:lpstr>
      <vt:lpstr>Instructions</vt:lpstr>
      <vt:lpstr>Tips</vt:lpstr>
      <vt:lpstr>Tips</vt:lpstr>
      <vt:lpstr>Tips</vt:lpstr>
      <vt:lpstr>Tips</vt:lpstr>
      <vt:lpstr>Tips</vt:lpstr>
      <vt:lpstr>Analytics, monitoring and VA performance improvements</vt:lpstr>
      <vt:lpstr>Agenda</vt:lpstr>
      <vt:lpstr>Understanding the Analytics dashboard</vt:lpstr>
      <vt:lpstr>Monitor the ‘Session outcomes over time’ chart for trend changes</vt:lpstr>
      <vt:lpstr>Pay attention to the purple line – Abandon rate is increasing!</vt:lpstr>
      <vt:lpstr>PowerPoint Presentation</vt:lpstr>
      <vt:lpstr>Quiz time…</vt:lpstr>
      <vt:lpstr>Q1: Which of the following answers is correct?</vt:lpstr>
      <vt:lpstr>Answer:</vt:lpstr>
      <vt:lpstr>Q2: How would you improve this session?</vt:lpstr>
      <vt:lpstr>Answer:</vt:lpstr>
      <vt:lpstr>Q3: Which of the following statements is correct?</vt:lpstr>
      <vt:lpstr>Answer:</vt:lpstr>
      <vt:lpstr>Wrap up and next steps</vt:lpstr>
      <vt:lpstr>The Road Ahead</vt:lpstr>
      <vt:lpstr>Coming</vt:lpstr>
      <vt:lpstr>Learn more about  Microsoft Power Virtual Agents </vt:lpstr>
      <vt:lpstr>Lab Survey</vt:lpstr>
      <vt:lpstr>DISCLAIMER</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2019 MVP Summit</dc:subject>
  <dc:creator>Marissa Price</dc:creator>
  <cp:keywords/>
  <dc:description/>
  <cp:lastModifiedBy>Sally Shi</cp:lastModifiedBy>
  <cp:revision>1</cp:revision>
  <cp:lastPrinted>2019-03-21T04:47:18Z</cp:lastPrinted>
  <dcterms:created xsi:type="dcterms:W3CDTF">2019-01-24T21:52:48Z</dcterms:created>
  <dcterms:modified xsi:type="dcterms:W3CDTF">2020-03-28T02: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23F0DE61C01647AADD57BC023588A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xd_Signature">
    <vt:bool>false</vt:bool>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y fmtid="{D5CDD505-2E9C-101B-9397-08002B2CF9AE}" pid="24" name="AuthorIds_UIVersion_1536">
    <vt:lpwstr>6</vt:lpwstr>
  </property>
  <property fmtid="{D5CDD505-2E9C-101B-9397-08002B2CF9AE}" pid="25" name="AuthorIds_UIVersion_265728">
    <vt:lpwstr>26</vt:lpwstr>
  </property>
  <property fmtid="{D5CDD505-2E9C-101B-9397-08002B2CF9AE}" pid="26" name="AuthorIds_UIVersion_1024">
    <vt:lpwstr>26</vt:lpwstr>
  </property>
  <property fmtid="{D5CDD505-2E9C-101B-9397-08002B2CF9AE}" pid="27" name="Order">
    <vt:r8>4026700</vt:r8>
  </property>
</Properties>
</file>